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charts/chartEx1.xml" ContentType="application/vnd.ms-office.chartex+xml"/>
  <Override PartName="/ppt/charts/style1.xml" ContentType="application/vnd.ms-office.chartstyle+xml"/>
  <Override PartName="/ppt/charts/colors1.xml" ContentType="application/vnd.ms-office.chartcolorstyl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2.xml" ContentType="application/vnd.openxmlformats-officedocument.presentationml.notesSlide+xml"/>
  <Override PartName="/ppt/tags/tag19.xml" ContentType="application/vnd.openxmlformats-officedocument.presentationml.tags+xml"/>
  <Override PartName="/ppt/notesSlides/notesSlide3.xml" ContentType="application/vnd.openxmlformats-officedocument.presentationml.notesSlide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ppt/tags/tag21.xml" ContentType="application/vnd.openxmlformats-officedocument.presentationml.tags+xml"/>
  <Override PartName="/ppt/notesSlides/notesSlide5.xml" ContentType="application/vnd.openxmlformats-officedocument.presentationml.notesSlide+xml"/>
  <Override PartName="/ppt/tags/tag22.xml" ContentType="application/vnd.openxmlformats-officedocument.presentationml.tags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8"/>
  </p:notesMasterIdLst>
  <p:sldIdLst>
    <p:sldId id="256" r:id="rId5"/>
    <p:sldId id="257" r:id="rId6"/>
    <p:sldId id="265" r:id="rId7"/>
    <p:sldId id="264" r:id="rId8"/>
    <p:sldId id="267" r:id="rId9"/>
    <p:sldId id="262" r:id="rId10"/>
    <p:sldId id="266" r:id="rId11"/>
    <p:sldId id="276" r:id="rId12"/>
    <p:sldId id="271" r:id="rId13"/>
    <p:sldId id="272" r:id="rId14"/>
    <p:sldId id="273" r:id="rId15"/>
    <p:sldId id="274" r:id="rId16"/>
    <p:sldId id="275" r:id="rId17"/>
  </p:sldIdLst>
  <p:sldSz cx="12192000" cy="6858000"/>
  <p:notesSz cx="6858000" cy="9144000"/>
  <p:custDataLst>
    <p:tags r:id="rId19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9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ABA5207-4E4C-A5D9-2265-BF031E3CC55B}" name="Hilebrand, Lukas" initials="HL" userId="S::lukas.hilebrand@student.reutlingen-university.de::267c311b-e648-45c2-ae1e-8896b1574396" providerId="AD"/>
  <p188:author id="{A8488165-0931-29C7-E32A-0E4EE8884082}" name="Ziegler, Caroline" initials="CZ" userId="S::caroline.ziegler@student.reutlingen-university.de::7a2ac3d3-4568-4cfb-9daa-cf03b385e139" providerId="AD"/>
  <p188:author id="{0CE57187-8EEB-CA54-7449-D6C66D2F68EB}" name="Stefan, Chantal" initials="SC" userId="S::chantal.stefan@student.reutlingen-university.de::32a90bb8-83ff-4b15-9e26-b584e5277353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A6C7E6"/>
    <a:srgbClr val="083979"/>
    <a:srgbClr val="AAAEBE"/>
    <a:srgbClr val="008000"/>
    <a:srgbClr val="A6A6A6"/>
    <a:srgbClr val="E6E6E6"/>
    <a:srgbClr val="0000FF"/>
    <a:srgbClr val="808080"/>
    <a:srgbClr val="BFBF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6CF80B5-EF6B-8E40-A4C3-5DFD2641AB46}" v="2" dt="2024-03-20T17:55:37.083"/>
    <p1510:client id="{616466A6-D144-0E43-BCDD-38DEFCC9A9A8}" v="1" dt="2024-03-20T17:04:11.902"/>
    <p1510:client id="{C71D7432-EF57-4B15-B80D-A8F7FEBEAE83}" v="75" dt="2024-03-20T17:46:36.95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orient="horz" pos="890"/>
        <p:guide pos="3840"/>
      </p:guideLst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26" Type="http://schemas.microsoft.com/office/2018/10/relationships/authors" Target="authors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tefan, Chantal" userId="32a90bb8-83ff-4b15-9e26-b584e5277353" providerId="ADAL" clId="{26CF80B5-EF6B-8E40-A4C3-5DFD2641AB46}"/>
    <pc:docChg chg="custSel modSld">
      <pc:chgData name="Stefan, Chantal" userId="32a90bb8-83ff-4b15-9e26-b584e5277353" providerId="ADAL" clId="{26CF80B5-EF6B-8E40-A4C3-5DFD2641AB46}" dt="2024-03-20T17:55:37.079" v="1"/>
      <pc:docMkLst>
        <pc:docMk/>
      </pc:docMkLst>
      <pc:sldChg chg="modSp mod">
        <pc:chgData name="Stefan, Chantal" userId="32a90bb8-83ff-4b15-9e26-b584e5277353" providerId="ADAL" clId="{26CF80B5-EF6B-8E40-A4C3-5DFD2641AB46}" dt="2024-03-20T17:55:37.079" v="1"/>
        <pc:sldMkLst>
          <pc:docMk/>
          <pc:sldMk cId="2280494226" sldId="262"/>
        </pc:sldMkLst>
        <pc:graphicFrameChg chg="mod">
          <ac:chgData name="Stefan, Chantal" userId="32a90bb8-83ff-4b15-9e26-b584e5277353" providerId="ADAL" clId="{26CF80B5-EF6B-8E40-A4C3-5DFD2641AB46}" dt="2024-03-20T17:55:37.079" v="1"/>
          <ac:graphicFrameMkLst>
            <pc:docMk/>
            <pc:sldMk cId="2280494226" sldId="262"/>
            <ac:graphicFrameMk id="8" creationId="{623FBC6D-3652-1BE9-62E2-15BB5E16B90A}"/>
          </ac:graphicFrameMkLst>
        </pc:graphicFrameChg>
      </pc:sldChg>
    </pc:docChg>
  </pc:docChgLst>
  <pc:docChgLst>
    <pc:chgData name="Lehr, Linus Caspar" userId="53576e29-02d4-4d0a-81f8-38c61b68bb05" providerId="ADAL" clId="{616466A6-D144-0E43-BCDD-38DEFCC9A9A8}"/>
    <pc:docChg chg="undo custSel modSld">
      <pc:chgData name="Lehr, Linus Caspar" userId="53576e29-02d4-4d0a-81f8-38c61b68bb05" providerId="ADAL" clId="{616466A6-D144-0E43-BCDD-38DEFCC9A9A8}" dt="2024-03-20T17:04:11.902" v="1382" actId="1076"/>
      <pc:docMkLst>
        <pc:docMk/>
      </pc:docMkLst>
      <pc:sldChg chg="modSp mod">
        <pc:chgData name="Lehr, Linus Caspar" userId="53576e29-02d4-4d0a-81f8-38c61b68bb05" providerId="ADAL" clId="{616466A6-D144-0E43-BCDD-38DEFCC9A9A8}" dt="2024-03-20T17:04:11.902" v="1382" actId="1076"/>
        <pc:sldMkLst>
          <pc:docMk/>
          <pc:sldMk cId="3387421209" sldId="264"/>
        </pc:sldMkLst>
        <pc:spChg chg="mod">
          <ac:chgData name="Lehr, Linus Caspar" userId="53576e29-02d4-4d0a-81f8-38c61b68bb05" providerId="ADAL" clId="{616466A6-D144-0E43-BCDD-38DEFCC9A9A8}" dt="2024-03-20T17:04:11.902" v="1382" actId="1076"/>
          <ac:spMkLst>
            <pc:docMk/>
            <pc:sldMk cId="3387421209" sldId="264"/>
            <ac:spMk id="6" creationId="{F06B46B5-870E-1280-9F25-B6094EB9105F}"/>
          </ac:spMkLst>
        </pc:spChg>
      </pc:sldChg>
      <pc:sldChg chg="addSp delSp modSp mod">
        <pc:chgData name="Lehr, Linus Caspar" userId="53576e29-02d4-4d0a-81f8-38c61b68bb05" providerId="ADAL" clId="{616466A6-D144-0E43-BCDD-38DEFCC9A9A8}" dt="2024-03-16T14:55:54.346" v="1381" actId="113"/>
        <pc:sldMkLst>
          <pc:docMk/>
          <pc:sldMk cId="4051930809" sldId="267"/>
        </pc:sldMkLst>
        <pc:spChg chg="add mod">
          <ac:chgData name="Lehr, Linus Caspar" userId="53576e29-02d4-4d0a-81f8-38c61b68bb05" providerId="ADAL" clId="{616466A6-D144-0E43-BCDD-38DEFCC9A9A8}" dt="2024-03-16T14:55:29.121" v="1379" actId="113"/>
          <ac:spMkLst>
            <pc:docMk/>
            <pc:sldMk cId="4051930809" sldId="267"/>
            <ac:spMk id="3" creationId="{FC5629B0-2FC0-753A-C1CB-A0A4786033C8}"/>
          </ac:spMkLst>
        </pc:spChg>
        <pc:spChg chg="mod">
          <ac:chgData name="Lehr, Linus Caspar" userId="53576e29-02d4-4d0a-81f8-38c61b68bb05" providerId="ADAL" clId="{616466A6-D144-0E43-BCDD-38DEFCC9A9A8}" dt="2024-03-15T20:06:38.649" v="1137" actId="20577"/>
          <ac:spMkLst>
            <pc:docMk/>
            <pc:sldMk cId="4051930809" sldId="267"/>
            <ac:spMk id="6" creationId="{1D5D9469-6180-5735-9166-22E48B1FA2C6}"/>
          </ac:spMkLst>
        </pc:spChg>
        <pc:spChg chg="mod topLvl">
          <ac:chgData name="Lehr, Linus Caspar" userId="53576e29-02d4-4d0a-81f8-38c61b68bb05" providerId="ADAL" clId="{616466A6-D144-0E43-BCDD-38DEFCC9A9A8}" dt="2024-03-15T17:31:43.156" v="657" actId="165"/>
          <ac:spMkLst>
            <pc:docMk/>
            <pc:sldMk cId="4051930809" sldId="267"/>
            <ac:spMk id="9" creationId="{1BD951FE-CD8A-7822-DAC6-5EEC88EEC1E1}"/>
          </ac:spMkLst>
        </pc:spChg>
        <pc:spChg chg="add mod">
          <ac:chgData name="Lehr, Linus Caspar" userId="53576e29-02d4-4d0a-81f8-38c61b68bb05" providerId="ADAL" clId="{616466A6-D144-0E43-BCDD-38DEFCC9A9A8}" dt="2024-03-16T14:55:38.445" v="1380" actId="554"/>
          <ac:spMkLst>
            <pc:docMk/>
            <pc:sldMk cId="4051930809" sldId="267"/>
            <ac:spMk id="10" creationId="{0C716443-7B6A-ABB9-F621-D593F96CABDB}"/>
          </ac:spMkLst>
        </pc:spChg>
        <pc:spChg chg="add mod">
          <ac:chgData name="Lehr, Linus Caspar" userId="53576e29-02d4-4d0a-81f8-38c61b68bb05" providerId="ADAL" clId="{616466A6-D144-0E43-BCDD-38DEFCC9A9A8}" dt="2024-03-16T14:55:29.121" v="1379" actId="113"/>
          <ac:spMkLst>
            <pc:docMk/>
            <pc:sldMk cId="4051930809" sldId="267"/>
            <ac:spMk id="11" creationId="{8705AED9-A006-9F75-AA77-7A59B54CE4F4}"/>
          </ac:spMkLst>
        </pc:spChg>
        <pc:spChg chg="add mod">
          <ac:chgData name="Lehr, Linus Caspar" userId="53576e29-02d4-4d0a-81f8-38c61b68bb05" providerId="ADAL" clId="{616466A6-D144-0E43-BCDD-38DEFCC9A9A8}" dt="2024-03-16T14:55:38.445" v="1380" actId="554"/>
          <ac:spMkLst>
            <pc:docMk/>
            <pc:sldMk cId="4051930809" sldId="267"/>
            <ac:spMk id="12" creationId="{DB5FD6F9-6199-F4CE-6493-5E9EEDD2651A}"/>
          </ac:spMkLst>
        </pc:spChg>
        <pc:spChg chg="add mod">
          <ac:chgData name="Lehr, Linus Caspar" userId="53576e29-02d4-4d0a-81f8-38c61b68bb05" providerId="ADAL" clId="{616466A6-D144-0E43-BCDD-38DEFCC9A9A8}" dt="2024-03-16T14:55:29.121" v="1379" actId="113"/>
          <ac:spMkLst>
            <pc:docMk/>
            <pc:sldMk cId="4051930809" sldId="267"/>
            <ac:spMk id="13" creationId="{C985C973-C37D-7778-810A-E1D9A826C561}"/>
          </ac:spMkLst>
        </pc:spChg>
        <pc:spChg chg="add mod">
          <ac:chgData name="Lehr, Linus Caspar" userId="53576e29-02d4-4d0a-81f8-38c61b68bb05" providerId="ADAL" clId="{616466A6-D144-0E43-BCDD-38DEFCC9A9A8}" dt="2024-03-15T17:49:23.435" v="1128" actId="1036"/>
          <ac:spMkLst>
            <pc:docMk/>
            <pc:sldMk cId="4051930809" sldId="267"/>
            <ac:spMk id="14" creationId="{5531761B-BFA2-FB5B-AE25-CBA68AC59981}"/>
          </ac:spMkLst>
        </pc:spChg>
        <pc:spChg chg="add mod">
          <ac:chgData name="Lehr, Linus Caspar" userId="53576e29-02d4-4d0a-81f8-38c61b68bb05" providerId="ADAL" clId="{616466A6-D144-0E43-BCDD-38DEFCC9A9A8}" dt="2024-03-16T14:55:29.121" v="1379" actId="113"/>
          <ac:spMkLst>
            <pc:docMk/>
            <pc:sldMk cId="4051930809" sldId="267"/>
            <ac:spMk id="15" creationId="{9A05F18A-D151-CF95-A91C-50EDEAA95994}"/>
          </ac:spMkLst>
        </pc:spChg>
        <pc:spChg chg="add mod">
          <ac:chgData name="Lehr, Linus Caspar" userId="53576e29-02d4-4d0a-81f8-38c61b68bb05" providerId="ADAL" clId="{616466A6-D144-0E43-BCDD-38DEFCC9A9A8}" dt="2024-03-15T17:49:23.435" v="1128" actId="1036"/>
          <ac:spMkLst>
            <pc:docMk/>
            <pc:sldMk cId="4051930809" sldId="267"/>
            <ac:spMk id="16" creationId="{9839A41A-C41D-FC5D-9512-3AC70C79376A}"/>
          </ac:spMkLst>
        </pc:spChg>
        <pc:spChg chg="add mod">
          <ac:chgData name="Lehr, Linus Caspar" userId="53576e29-02d4-4d0a-81f8-38c61b68bb05" providerId="ADAL" clId="{616466A6-D144-0E43-BCDD-38DEFCC9A9A8}" dt="2024-03-16T14:55:29.121" v="1379" actId="113"/>
          <ac:spMkLst>
            <pc:docMk/>
            <pc:sldMk cId="4051930809" sldId="267"/>
            <ac:spMk id="18" creationId="{C7114788-A0D5-F658-4967-EB49AFC5469C}"/>
          </ac:spMkLst>
        </pc:spChg>
        <pc:spChg chg="add mod">
          <ac:chgData name="Lehr, Linus Caspar" userId="53576e29-02d4-4d0a-81f8-38c61b68bb05" providerId="ADAL" clId="{616466A6-D144-0E43-BCDD-38DEFCC9A9A8}" dt="2024-03-15T17:49:23.435" v="1128" actId="1036"/>
          <ac:spMkLst>
            <pc:docMk/>
            <pc:sldMk cId="4051930809" sldId="267"/>
            <ac:spMk id="19" creationId="{BE52B094-299F-D49E-E230-A1E037A2F60E}"/>
          </ac:spMkLst>
        </pc:spChg>
        <pc:spChg chg="add mod">
          <ac:chgData name="Lehr, Linus Caspar" userId="53576e29-02d4-4d0a-81f8-38c61b68bb05" providerId="ADAL" clId="{616466A6-D144-0E43-BCDD-38DEFCC9A9A8}" dt="2024-03-16T14:55:54.346" v="1381" actId="113"/>
          <ac:spMkLst>
            <pc:docMk/>
            <pc:sldMk cId="4051930809" sldId="267"/>
            <ac:spMk id="20" creationId="{9A57019D-7CFA-2D74-D4B1-E5D754118464}"/>
          </ac:spMkLst>
        </pc:spChg>
        <pc:spChg chg="add mod">
          <ac:chgData name="Lehr, Linus Caspar" userId="53576e29-02d4-4d0a-81f8-38c61b68bb05" providerId="ADAL" clId="{616466A6-D144-0E43-BCDD-38DEFCC9A9A8}" dt="2024-03-15T17:49:23.435" v="1128" actId="1036"/>
          <ac:spMkLst>
            <pc:docMk/>
            <pc:sldMk cId="4051930809" sldId="267"/>
            <ac:spMk id="21" creationId="{072183BD-8D2F-CF78-117D-36647121DFF8}"/>
          </ac:spMkLst>
        </pc:spChg>
        <pc:spChg chg="add mod">
          <ac:chgData name="Lehr, Linus Caspar" userId="53576e29-02d4-4d0a-81f8-38c61b68bb05" providerId="ADAL" clId="{616466A6-D144-0E43-BCDD-38DEFCC9A9A8}" dt="2024-03-15T17:32:29.503" v="662" actId="571"/>
          <ac:spMkLst>
            <pc:docMk/>
            <pc:sldMk cId="4051930809" sldId="267"/>
            <ac:spMk id="24" creationId="{EBB49A8E-7ADF-D2A1-CCA4-D76544DFF742}"/>
          </ac:spMkLst>
        </pc:spChg>
        <pc:spChg chg="del mod topLvl">
          <ac:chgData name="Lehr, Linus Caspar" userId="53576e29-02d4-4d0a-81f8-38c61b68bb05" providerId="ADAL" clId="{616466A6-D144-0E43-BCDD-38DEFCC9A9A8}" dt="2024-03-15T17:32:37.132" v="663" actId="478"/>
          <ac:spMkLst>
            <pc:docMk/>
            <pc:sldMk cId="4051930809" sldId="267"/>
            <ac:spMk id="34" creationId="{CD73C595-0A8B-1814-9CF5-0F108CC27A76}"/>
          </ac:spMkLst>
        </pc:spChg>
        <pc:spChg chg="mod topLvl">
          <ac:chgData name="Lehr, Linus Caspar" userId="53576e29-02d4-4d0a-81f8-38c61b68bb05" providerId="ADAL" clId="{616466A6-D144-0E43-BCDD-38DEFCC9A9A8}" dt="2024-03-15T17:31:43.156" v="657" actId="165"/>
          <ac:spMkLst>
            <pc:docMk/>
            <pc:sldMk cId="4051930809" sldId="267"/>
            <ac:spMk id="56" creationId="{D5033E61-2959-EB11-F26E-F370EF56CE6E}"/>
          </ac:spMkLst>
        </pc:spChg>
        <pc:spChg chg="del mod topLvl">
          <ac:chgData name="Lehr, Linus Caspar" userId="53576e29-02d4-4d0a-81f8-38c61b68bb05" providerId="ADAL" clId="{616466A6-D144-0E43-BCDD-38DEFCC9A9A8}" dt="2024-03-15T17:34:58.751" v="781" actId="478"/>
          <ac:spMkLst>
            <pc:docMk/>
            <pc:sldMk cId="4051930809" sldId="267"/>
            <ac:spMk id="58" creationId="{2FEFC866-E16F-255E-C00E-59B551BF1AA6}"/>
          </ac:spMkLst>
        </pc:spChg>
        <pc:spChg chg="mod topLvl">
          <ac:chgData name="Lehr, Linus Caspar" userId="53576e29-02d4-4d0a-81f8-38c61b68bb05" providerId="ADAL" clId="{616466A6-D144-0E43-BCDD-38DEFCC9A9A8}" dt="2024-03-15T17:34:28.441" v="699" actId="1076"/>
          <ac:spMkLst>
            <pc:docMk/>
            <pc:sldMk cId="4051930809" sldId="267"/>
            <ac:spMk id="60" creationId="{AF7E10F1-631F-BD2A-8554-FA04C292332A}"/>
          </ac:spMkLst>
        </pc:spChg>
        <pc:spChg chg="del mod topLvl">
          <ac:chgData name="Lehr, Linus Caspar" userId="53576e29-02d4-4d0a-81f8-38c61b68bb05" providerId="ADAL" clId="{616466A6-D144-0E43-BCDD-38DEFCC9A9A8}" dt="2024-03-15T17:35:59.032" v="784" actId="478"/>
          <ac:spMkLst>
            <pc:docMk/>
            <pc:sldMk cId="4051930809" sldId="267"/>
            <ac:spMk id="62" creationId="{7E2C72A4-CE47-67A9-83C7-9E66C616CDB8}"/>
          </ac:spMkLst>
        </pc:spChg>
        <pc:spChg chg="mod topLvl">
          <ac:chgData name="Lehr, Linus Caspar" userId="53576e29-02d4-4d0a-81f8-38c61b68bb05" providerId="ADAL" clId="{616466A6-D144-0E43-BCDD-38DEFCC9A9A8}" dt="2024-03-15T17:40:12.127" v="830" actId="1076"/>
          <ac:spMkLst>
            <pc:docMk/>
            <pc:sldMk cId="4051930809" sldId="267"/>
            <ac:spMk id="64" creationId="{C69A96A1-1FC3-9710-2458-07E66CD6035F}"/>
          </ac:spMkLst>
        </pc:spChg>
        <pc:spChg chg="del mod topLvl">
          <ac:chgData name="Lehr, Linus Caspar" userId="53576e29-02d4-4d0a-81f8-38c61b68bb05" providerId="ADAL" clId="{616466A6-D144-0E43-BCDD-38DEFCC9A9A8}" dt="2024-03-15T17:37:12.967" v="790" actId="478"/>
          <ac:spMkLst>
            <pc:docMk/>
            <pc:sldMk cId="4051930809" sldId="267"/>
            <ac:spMk id="66" creationId="{5E4D0A44-DFBF-BD76-EE1A-BA4922851A8F}"/>
          </ac:spMkLst>
        </pc:spChg>
        <pc:spChg chg="mod topLvl">
          <ac:chgData name="Lehr, Linus Caspar" userId="53576e29-02d4-4d0a-81f8-38c61b68bb05" providerId="ADAL" clId="{616466A6-D144-0E43-BCDD-38DEFCC9A9A8}" dt="2024-03-15T17:31:43.156" v="657" actId="165"/>
          <ac:spMkLst>
            <pc:docMk/>
            <pc:sldMk cId="4051930809" sldId="267"/>
            <ac:spMk id="68" creationId="{C24D24BE-071F-71FC-3EEB-746A9175E993}"/>
          </ac:spMkLst>
        </pc:spChg>
        <pc:spChg chg="del mod topLvl">
          <ac:chgData name="Lehr, Linus Caspar" userId="53576e29-02d4-4d0a-81f8-38c61b68bb05" providerId="ADAL" clId="{616466A6-D144-0E43-BCDD-38DEFCC9A9A8}" dt="2024-03-15T17:40:08.343" v="828" actId="478"/>
          <ac:spMkLst>
            <pc:docMk/>
            <pc:sldMk cId="4051930809" sldId="267"/>
            <ac:spMk id="70" creationId="{3E4CB657-38CE-594D-344F-F2183B877DA2}"/>
          </ac:spMkLst>
        </pc:spChg>
        <pc:spChg chg="mod topLvl">
          <ac:chgData name="Lehr, Linus Caspar" userId="53576e29-02d4-4d0a-81f8-38c61b68bb05" providerId="ADAL" clId="{616466A6-D144-0E43-BCDD-38DEFCC9A9A8}" dt="2024-03-15T17:31:43.156" v="657" actId="165"/>
          <ac:spMkLst>
            <pc:docMk/>
            <pc:sldMk cId="4051930809" sldId="267"/>
            <ac:spMk id="72" creationId="{51CED8AF-D957-49B9-0995-BEC6E967C822}"/>
          </ac:spMkLst>
        </pc:spChg>
        <pc:spChg chg="del mod topLvl">
          <ac:chgData name="Lehr, Linus Caspar" userId="53576e29-02d4-4d0a-81f8-38c61b68bb05" providerId="ADAL" clId="{616466A6-D144-0E43-BCDD-38DEFCC9A9A8}" dt="2024-03-15T17:41:03.677" v="933" actId="478"/>
          <ac:spMkLst>
            <pc:docMk/>
            <pc:sldMk cId="4051930809" sldId="267"/>
            <ac:spMk id="74" creationId="{64AC40E7-0B0D-FD4B-DA10-DA22CD35CC8A}"/>
          </ac:spMkLst>
        </pc:spChg>
        <pc:grpChg chg="del mod topLvl">
          <ac:chgData name="Lehr, Linus Caspar" userId="53576e29-02d4-4d0a-81f8-38c61b68bb05" providerId="ADAL" clId="{616466A6-D144-0E43-BCDD-38DEFCC9A9A8}" dt="2024-03-15T17:31:43.156" v="657" actId="165"/>
          <ac:grpSpMkLst>
            <pc:docMk/>
            <pc:sldMk cId="4051930809" sldId="267"/>
            <ac:grpSpMk id="54" creationId="{822C1CBE-06E2-136E-282E-B62BD21B1C03}"/>
          </ac:grpSpMkLst>
        </pc:grpChg>
        <pc:grpChg chg="del mod topLvl">
          <ac:chgData name="Lehr, Linus Caspar" userId="53576e29-02d4-4d0a-81f8-38c61b68bb05" providerId="ADAL" clId="{616466A6-D144-0E43-BCDD-38DEFCC9A9A8}" dt="2024-03-15T17:31:43.156" v="657" actId="165"/>
          <ac:grpSpMkLst>
            <pc:docMk/>
            <pc:sldMk cId="4051930809" sldId="267"/>
            <ac:grpSpMk id="55" creationId="{3E076D43-F252-9203-55BA-91C8D63DDF59}"/>
          </ac:grpSpMkLst>
        </pc:grpChg>
        <pc:grpChg chg="del mod topLvl">
          <ac:chgData name="Lehr, Linus Caspar" userId="53576e29-02d4-4d0a-81f8-38c61b68bb05" providerId="ADAL" clId="{616466A6-D144-0E43-BCDD-38DEFCC9A9A8}" dt="2024-03-15T17:31:43.156" v="657" actId="165"/>
          <ac:grpSpMkLst>
            <pc:docMk/>
            <pc:sldMk cId="4051930809" sldId="267"/>
            <ac:grpSpMk id="59" creationId="{125612B9-887A-0AC6-D876-BE3111AFB31A}"/>
          </ac:grpSpMkLst>
        </pc:grpChg>
        <pc:grpChg chg="del mod topLvl">
          <ac:chgData name="Lehr, Linus Caspar" userId="53576e29-02d4-4d0a-81f8-38c61b68bb05" providerId="ADAL" clId="{616466A6-D144-0E43-BCDD-38DEFCC9A9A8}" dt="2024-03-15T17:31:43.156" v="657" actId="165"/>
          <ac:grpSpMkLst>
            <pc:docMk/>
            <pc:sldMk cId="4051930809" sldId="267"/>
            <ac:grpSpMk id="63" creationId="{02A56167-C0B2-B8C1-DCC7-9125FB68DED0}"/>
          </ac:grpSpMkLst>
        </pc:grpChg>
        <pc:grpChg chg="del mod topLvl">
          <ac:chgData name="Lehr, Linus Caspar" userId="53576e29-02d4-4d0a-81f8-38c61b68bb05" providerId="ADAL" clId="{616466A6-D144-0E43-BCDD-38DEFCC9A9A8}" dt="2024-03-15T17:31:43.156" v="657" actId="165"/>
          <ac:grpSpMkLst>
            <pc:docMk/>
            <pc:sldMk cId="4051930809" sldId="267"/>
            <ac:grpSpMk id="67" creationId="{A48B3285-BB4F-8B24-C5BC-91C6580563D0}"/>
          </ac:grpSpMkLst>
        </pc:grpChg>
        <pc:grpChg chg="del mod topLvl">
          <ac:chgData name="Lehr, Linus Caspar" userId="53576e29-02d4-4d0a-81f8-38c61b68bb05" providerId="ADAL" clId="{616466A6-D144-0E43-BCDD-38DEFCC9A9A8}" dt="2024-03-15T17:31:43.156" v="657" actId="165"/>
          <ac:grpSpMkLst>
            <pc:docMk/>
            <pc:sldMk cId="4051930809" sldId="267"/>
            <ac:grpSpMk id="71" creationId="{0508F0DC-0D86-0F78-F34B-81ADD85B104A}"/>
          </ac:grpSpMkLst>
        </pc:grpChg>
        <pc:grpChg chg="del">
          <ac:chgData name="Lehr, Linus Caspar" userId="53576e29-02d4-4d0a-81f8-38c61b68bb05" providerId="ADAL" clId="{616466A6-D144-0E43-BCDD-38DEFCC9A9A8}" dt="2024-03-15T17:30:19.900" v="634" actId="165"/>
          <ac:grpSpMkLst>
            <pc:docMk/>
            <pc:sldMk cId="4051930809" sldId="267"/>
            <ac:grpSpMk id="75" creationId="{C290015C-D6DF-1431-AFF1-7A0F0FEEE643}"/>
          </ac:grpSpMkLst>
        </pc:grpChg>
        <pc:picChg chg="add del mod">
          <ac:chgData name="Lehr, Linus Caspar" userId="53576e29-02d4-4d0a-81f8-38c61b68bb05" providerId="ADAL" clId="{616466A6-D144-0E43-BCDD-38DEFCC9A9A8}" dt="2024-03-15T17:33:16.630" v="665" actId="478"/>
          <ac:picMkLst>
            <pc:docMk/>
            <pc:sldMk cId="4051930809" sldId="267"/>
            <ac:picMk id="23" creationId="{352FE1C2-F256-8F1F-B134-8803FA628935}"/>
          </ac:picMkLst>
        </pc:picChg>
        <pc:picChg chg="add del mod">
          <ac:chgData name="Lehr, Linus Caspar" userId="53576e29-02d4-4d0a-81f8-38c61b68bb05" providerId="ADAL" clId="{616466A6-D144-0E43-BCDD-38DEFCC9A9A8}" dt="2024-03-15T20:52:43.131" v="1363" actId="478"/>
          <ac:picMkLst>
            <pc:docMk/>
            <pc:sldMk cId="4051930809" sldId="267"/>
            <ac:picMk id="26" creationId="{43740645-E85F-0D33-9EF7-EB8D05DB2A5F}"/>
          </ac:picMkLst>
        </pc:picChg>
        <pc:picChg chg="add mod">
          <ac:chgData name="Lehr, Linus Caspar" userId="53576e29-02d4-4d0a-81f8-38c61b68bb05" providerId="ADAL" clId="{616466A6-D144-0E43-BCDD-38DEFCC9A9A8}" dt="2024-03-15T17:49:02.123" v="1123" actId="408"/>
          <ac:picMkLst>
            <pc:docMk/>
            <pc:sldMk cId="4051930809" sldId="267"/>
            <ac:picMk id="28" creationId="{19757C03-50BF-DB3E-5F42-F91027F20FC1}"/>
          </ac:picMkLst>
        </pc:picChg>
        <pc:picChg chg="add mod">
          <ac:chgData name="Lehr, Linus Caspar" userId="53576e29-02d4-4d0a-81f8-38c61b68bb05" providerId="ADAL" clId="{616466A6-D144-0E43-BCDD-38DEFCC9A9A8}" dt="2024-03-15T17:49:02.123" v="1123" actId="408"/>
          <ac:picMkLst>
            <pc:docMk/>
            <pc:sldMk cId="4051930809" sldId="267"/>
            <ac:picMk id="30" creationId="{AC65165C-280F-448A-E742-5669D8D29C0B}"/>
          </ac:picMkLst>
        </pc:picChg>
        <pc:picChg chg="add mod">
          <ac:chgData name="Lehr, Linus Caspar" userId="53576e29-02d4-4d0a-81f8-38c61b68bb05" providerId="ADAL" clId="{616466A6-D144-0E43-BCDD-38DEFCC9A9A8}" dt="2024-03-15T17:49:02.123" v="1123" actId="408"/>
          <ac:picMkLst>
            <pc:docMk/>
            <pc:sldMk cId="4051930809" sldId="267"/>
            <ac:picMk id="32" creationId="{EA002C3D-F578-48F2-C255-27CFE1DAD6AE}"/>
          </ac:picMkLst>
        </pc:picChg>
        <pc:picChg chg="add mod">
          <ac:chgData name="Lehr, Linus Caspar" userId="53576e29-02d4-4d0a-81f8-38c61b68bb05" providerId="ADAL" clId="{616466A6-D144-0E43-BCDD-38DEFCC9A9A8}" dt="2024-03-15T17:49:02.123" v="1123" actId="408"/>
          <ac:picMkLst>
            <pc:docMk/>
            <pc:sldMk cId="4051930809" sldId="267"/>
            <ac:picMk id="35" creationId="{89F7A4D2-67B5-26CB-1CDB-40FEC5333CC1}"/>
          </ac:picMkLst>
        </pc:picChg>
        <pc:picChg chg="add del mod">
          <ac:chgData name="Lehr, Linus Caspar" userId="53576e29-02d4-4d0a-81f8-38c61b68bb05" providerId="ADAL" clId="{616466A6-D144-0E43-BCDD-38DEFCC9A9A8}" dt="2024-03-15T17:44:36.571" v="955" actId="478"/>
          <ac:picMkLst>
            <pc:docMk/>
            <pc:sldMk cId="4051930809" sldId="267"/>
            <ac:picMk id="37" creationId="{87E8B751-D5DB-A93C-EE64-862E4492322C}"/>
          </ac:picMkLst>
        </pc:picChg>
        <pc:picChg chg="add mod">
          <ac:chgData name="Lehr, Linus Caspar" userId="53576e29-02d4-4d0a-81f8-38c61b68bb05" providerId="ADAL" clId="{616466A6-D144-0E43-BCDD-38DEFCC9A9A8}" dt="2024-03-15T17:49:02.123" v="1123" actId="408"/>
          <ac:picMkLst>
            <pc:docMk/>
            <pc:sldMk cId="4051930809" sldId="267"/>
            <ac:picMk id="39" creationId="{D4F77719-0D0D-64FB-DB63-AAB191BA48AA}"/>
          </ac:picMkLst>
        </pc:picChg>
        <pc:picChg chg="add del mod">
          <ac:chgData name="Lehr, Linus Caspar" userId="53576e29-02d4-4d0a-81f8-38c61b68bb05" providerId="ADAL" clId="{616466A6-D144-0E43-BCDD-38DEFCC9A9A8}" dt="2024-03-15T20:53:39.926" v="1365" actId="478"/>
          <ac:picMkLst>
            <pc:docMk/>
            <pc:sldMk cId="4051930809" sldId="267"/>
            <ac:picMk id="41" creationId="{3922D2A3-3CB5-35B5-5377-EB0634721940}"/>
          </ac:picMkLst>
        </pc:picChg>
        <pc:picChg chg="add mod">
          <ac:chgData name="Lehr, Linus Caspar" userId="53576e29-02d4-4d0a-81f8-38c61b68bb05" providerId="ADAL" clId="{616466A6-D144-0E43-BCDD-38DEFCC9A9A8}" dt="2024-03-15T20:54:16.913" v="1378" actId="1076"/>
          <ac:picMkLst>
            <pc:docMk/>
            <pc:sldMk cId="4051930809" sldId="267"/>
            <ac:picMk id="43" creationId="{3A403FE5-3D81-FD60-FE64-0ABB1409B58E}"/>
          </ac:picMkLst>
        </pc:picChg>
        <pc:cxnChg chg="mod topLvl">
          <ac:chgData name="Lehr, Linus Caspar" userId="53576e29-02d4-4d0a-81f8-38c61b68bb05" providerId="ADAL" clId="{616466A6-D144-0E43-BCDD-38DEFCC9A9A8}" dt="2024-03-15T17:31:43.156" v="657" actId="165"/>
          <ac:cxnSpMkLst>
            <pc:docMk/>
            <pc:sldMk cId="4051930809" sldId="267"/>
            <ac:cxnSpMk id="17" creationId="{E360D291-5A2B-2CE5-A64F-3A7C9983823C}"/>
          </ac:cxnSpMkLst>
        </pc:cxnChg>
        <pc:cxnChg chg="mod topLvl">
          <ac:chgData name="Lehr, Linus Caspar" userId="53576e29-02d4-4d0a-81f8-38c61b68bb05" providerId="ADAL" clId="{616466A6-D144-0E43-BCDD-38DEFCC9A9A8}" dt="2024-03-15T17:31:43.156" v="657" actId="165"/>
          <ac:cxnSpMkLst>
            <pc:docMk/>
            <pc:sldMk cId="4051930809" sldId="267"/>
            <ac:cxnSpMk id="57" creationId="{C278D78F-594E-6D5C-BE41-EC63DF23B0B9}"/>
          </ac:cxnSpMkLst>
        </pc:cxnChg>
        <pc:cxnChg chg="mod topLvl">
          <ac:chgData name="Lehr, Linus Caspar" userId="53576e29-02d4-4d0a-81f8-38c61b68bb05" providerId="ADAL" clId="{616466A6-D144-0E43-BCDD-38DEFCC9A9A8}" dt="2024-03-15T17:31:43.156" v="657" actId="165"/>
          <ac:cxnSpMkLst>
            <pc:docMk/>
            <pc:sldMk cId="4051930809" sldId="267"/>
            <ac:cxnSpMk id="61" creationId="{716035E8-8EB7-3671-2672-F7DDB1638468}"/>
          </ac:cxnSpMkLst>
        </pc:cxnChg>
        <pc:cxnChg chg="mod topLvl">
          <ac:chgData name="Lehr, Linus Caspar" userId="53576e29-02d4-4d0a-81f8-38c61b68bb05" providerId="ADAL" clId="{616466A6-D144-0E43-BCDD-38DEFCC9A9A8}" dt="2024-03-15T17:31:43.156" v="657" actId="165"/>
          <ac:cxnSpMkLst>
            <pc:docMk/>
            <pc:sldMk cId="4051930809" sldId="267"/>
            <ac:cxnSpMk id="65" creationId="{67944D4B-E56C-2054-2FF9-C60D82AAE8C4}"/>
          </ac:cxnSpMkLst>
        </pc:cxnChg>
        <pc:cxnChg chg="mod topLvl">
          <ac:chgData name="Lehr, Linus Caspar" userId="53576e29-02d4-4d0a-81f8-38c61b68bb05" providerId="ADAL" clId="{616466A6-D144-0E43-BCDD-38DEFCC9A9A8}" dt="2024-03-15T17:31:43.156" v="657" actId="165"/>
          <ac:cxnSpMkLst>
            <pc:docMk/>
            <pc:sldMk cId="4051930809" sldId="267"/>
            <ac:cxnSpMk id="69" creationId="{8CA220C5-79D3-1120-E90B-DDAE564A5292}"/>
          </ac:cxnSpMkLst>
        </pc:cxnChg>
        <pc:cxnChg chg="mod topLvl">
          <ac:chgData name="Lehr, Linus Caspar" userId="53576e29-02d4-4d0a-81f8-38c61b68bb05" providerId="ADAL" clId="{616466A6-D144-0E43-BCDD-38DEFCC9A9A8}" dt="2024-03-15T17:31:43.156" v="657" actId="165"/>
          <ac:cxnSpMkLst>
            <pc:docMk/>
            <pc:sldMk cId="4051930809" sldId="267"/>
            <ac:cxnSpMk id="73" creationId="{E24FDD74-83CA-EE25-8E99-FE886ABFA3C3}"/>
          </ac:cxnSpMkLst>
        </pc:cxnChg>
      </pc:sldChg>
    </pc:docChg>
  </pc:docChgLst>
  <pc:docChgLst>
    <pc:chgData name="Ziegler, Caroline" userId="7a2ac3d3-4568-4cfb-9daa-cf03b385e139" providerId="ADAL" clId="{60EAE1D3-E42C-497A-AADD-8D5694D00A9E}"/>
    <pc:docChg chg="undo custSel addSld delSld modSld sldOrd modMainMaster replTag">
      <pc:chgData name="Ziegler, Caroline" userId="7a2ac3d3-4568-4cfb-9daa-cf03b385e139" providerId="ADAL" clId="{60EAE1D3-E42C-497A-AADD-8D5694D00A9E}" dt="2024-03-18T12:32:53.629" v="1508" actId="2696"/>
      <pc:docMkLst>
        <pc:docMk/>
      </pc:docMkLst>
      <pc:sldChg chg="addSp delSp modSp mod">
        <pc:chgData name="Ziegler, Caroline" userId="7a2ac3d3-4568-4cfb-9daa-cf03b385e139" providerId="ADAL" clId="{60EAE1D3-E42C-497A-AADD-8D5694D00A9E}" dt="2024-03-12T16:51:43.254" v="900" actId="478"/>
        <pc:sldMkLst>
          <pc:docMk/>
          <pc:sldMk cId="1947253614" sldId="256"/>
        </pc:sldMkLst>
        <pc:spChg chg="mod ord">
          <ac:chgData name="Ziegler, Caroline" userId="7a2ac3d3-4568-4cfb-9daa-cf03b385e139" providerId="ADAL" clId="{60EAE1D3-E42C-497A-AADD-8D5694D00A9E}" dt="2024-03-12T16:49:27.137" v="813"/>
          <ac:spMkLst>
            <pc:docMk/>
            <pc:sldMk cId="1947253614" sldId="256"/>
            <ac:spMk id="2" creationId="{74503522-EE1A-B9B5-E02D-86D469B59F27}"/>
          </ac:spMkLst>
        </pc:spChg>
        <pc:spChg chg="mod ord">
          <ac:chgData name="Ziegler, Caroline" userId="7a2ac3d3-4568-4cfb-9daa-cf03b385e139" providerId="ADAL" clId="{60EAE1D3-E42C-497A-AADD-8D5694D00A9E}" dt="2024-03-12T16:49:27.137" v="815"/>
          <ac:spMkLst>
            <pc:docMk/>
            <pc:sldMk cId="1947253614" sldId="256"/>
            <ac:spMk id="3" creationId="{1146861C-B53D-199D-976D-2AABDB755077}"/>
          </ac:spMkLst>
        </pc:spChg>
        <pc:spChg chg="mod ord">
          <ac:chgData name="Ziegler, Caroline" userId="7a2ac3d3-4568-4cfb-9daa-cf03b385e139" providerId="ADAL" clId="{60EAE1D3-E42C-497A-AADD-8D5694D00A9E}" dt="2024-03-12T16:49:27.137" v="817"/>
          <ac:spMkLst>
            <pc:docMk/>
            <pc:sldMk cId="1947253614" sldId="256"/>
            <ac:spMk id="4" creationId="{6CBF1B2E-0675-CA48-F89F-A757C646A145}"/>
          </ac:spMkLst>
        </pc:spChg>
        <pc:spChg chg="mod ord">
          <ac:chgData name="Ziegler, Caroline" userId="7a2ac3d3-4568-4cfb-9daa-cf03b385e139" providerId="ADAL" clId="{60EAE1D3-E42C-497A-AADD-8D5694D00A9E}" dt="2024-03-12T16:51:29.552" v="873" actId="948"/>
          <ac:spMkLst>
            <pc:docMk/>
            <pc:sldMk cId="1947253614" sldId="256"/>
            <ac:spMk id="5" creationId="{95C395FB-6FCA-4534-136D-AC6B83BE6296}"/>
          </ac:spMkLst>
        </pc:spChg>
        <pc:spChg chg="add del mod modVis">
          <ac:chgData name="Ziegler, Caroline" userId="7a2ac3d3-4568-4cfb-9daa-cf03b385e139" providerId="ADAL" clId="{60EAE1D3-E42C-497A-AADD-8D5694D00A9E}" dt="2024-03-12T16:49:27.137" v="829"/>
          <ac:spMkLst>
            <pc:docMk/>
            <pc:sldMk cId="1947253614" sldId="256"/>
            <ac:spMk id="7" creationId="{29BD1034-0C1A-F647-008F-4E274540529E}"/>
          </ac:spMkLst>
        </pc:spChg>
        <pc:spChg chg="add del mod modVis">
          <ac:chgData name="Ziegler, Caroline" userId="7a2ac3d3-4568-4cfb-9daa-cf03b385e139" providerId="ADAL" clId="{60EAE1D3-E42C-497A-AADD-8D5694D00A9E}" dt="2024-03-12T16:51:29.584" v="897"/>
          <ac:spMkLst>
            <pc:docMk/>
            <pc:sldMk cId="1947253614" sldId="256"/>
            <ac:spMk id="9" creationId="{A60E7380-61A9-9F88-E8BB-BF6E7ADD4FBF}"/>
          </ac:spMkLst>
        </pc:spChg>
        <pc:spChg chg="mod ord">
          <ac:chgData name="Ziegler, Caroline" userId="7a2ac3d3-4568-4cfb-9daa-cf03b385e139" providerId="ADAL" clId="{60EAE1D3-E42C-497A-AADD-8D5694D00A9E}" dt="2024-03-12T16:51:22.948" v="864" actId="790"/>
          <ac:spMkLst>
            <pc:docMk/>
            <pc:sldMk cId="1947253614" sldId="256"/>
            <ac:spMk id="10" creationId="{98CA5515-13D4-022F-DA36-47875537AEB0}"/>
          </ac:spMkLst>
        </pc:spChg>
        <pc:spChg chg="mod ord">
          <ac:chgData name="Ziegler, Caroline" userId="7a2ac3d3-4568-4cfb-9daa-cf03b385e139" providerId="ADAL" clId="{60EAE1D3-E42C-497A-AADD-8D5694D00A9E}" dt="2024-03-12T16:49:27.137" v="823"/>
          <ac:spMkLst>
            <pc:docMk/>
            <pc:sldMk cId="1947253614" sldId="256"/>
            <ac:spMk id="12" creationId="{4D008A0F-4092-2D16-0AF6-75628C09D6D1}"/>
          </ac:spMkLst>
        </pc:spChg>
        <pc:spChg chg="mod ord">
          <ac:chgData name="Ziegler, Caroline" userId="7a2ac3d3-4568-4cfb-9daa-cf03b385e139" providerId="ADAL" clId="{60EAE1D3-E42C-497A-AADD-8D5694D00A9E}" dt="2024-03-12T16:49:27.137" v="825"/>
          <ac:spMkLst>
            <pc:docMk/>
            <pc:sldMk cId="1947253614" sldId="256"/>
            <ac:spMk id="13" creationId="{8B14BC07-5437-0513-72E9-7E5C40C83527}"/>
          </ac:spMkLst>
        </pc:spChg>
        <pc:graphicFrameChg chg="mod">
          <ac:chgData name="Ziegler, Caroline" userId="7a2ac3d3-4568-4cfb-9daa-cf03b385e139" providerId="ADAL" clId="{60EAE1D3-E42C-497A-AADD-8D5694D00A9E}" dt="2024-03-12T16:51:29.588" v="899"/>
          <ac:graphicFrameMkLst>
            <pc:docMk/>
            <pc:sldMk cId="1947253614" sldId="256"/>
            <ac:graphicFrameMk id="6" creationId="{7B652A4C-C7C8-4239-7280-FFA58DAE8FC8}"/>
          </ac:graphicFrameMkLst>
        </pc:graphicFrameChg>
        <pc:picChg chg="del mod ord modCrop">
          <ac:chgData name="Ziegler, Caroline" userId="7a2ac3d3-4568-4cfb-9daa-cf03b385e139" providerId="ADAL" clId="{60EAE1D3-E42C-497A-AADD-8D5694D00A9E}" dt="2024-03-12T16:50:38.464" v="861" actId="478"/>
          <ac:picMkLst>
            <pc:docMk/>
            <pc:sldMk cId="1947253614" sldId="256"/>
            <ac:picMk id="8" creationId="{97241ADF-71C0-AEA0-7CD2-EA2B309A14FE}"/>
          </ac:picMkLst>
        </pc:picChg>
        <pc:picChg chg="del">
          <ac:chgData name="Ziegler, Caroline" userId="7a2ac3d3-4568-4cfb-9daa-cf03b385e139" providerId="ADAL" clId="{60EAE1D3-E42C-497A-AADD-8D5694D00A9E}" dt="2024-03-12T16:51:43.254" v="900" actId="478"/>
          <ac:picMkLst>
            <pc:docMk/>
            <pc:sldMk cId="1947253614" sldId="256"/>
            <ac:picMk id="19" creationId="{20A63A43-B5DF-EF72-10B0-54306D167005}"/>
          </ac:picMkLst>
        </pc:picChg>
      </pc:sldChg>
      <pc:sldChg chg="modSp add del mod">
        <pc:chgData name="Ziegler, Caroline" userId="7a2ac3d3-4568-4cfb-9daa-cf03b385e139" providerId="ADAL" clId="{60EAE1D3-E42C-497A-AADD-8D5694D00A9E}" dt="2024-03-12T16:16:57.268" v="639" actId="2696"/>
        <pc:sldMkLst>
          <pc:docMk/>
          <pc:sldMk cId="1082155410" sldId="257"/>
        </pc:sldMkLst>
        <pc:spChg chg="mod">
          <ac:chgData name="Ziegler, Caroline" userId="7a2ac3d3-4568-4cfb-9daa-cf03b385e139" providerId="ADAL" clId="{60EAE1D3-E42C-497A-AADD-8D5694D00A9E}" dt="2024-03-12T16:07:37.692" v="342" actId="1076"/>
          <ac:spMkLst>
            <pc:docMk/>
            <pc:sldMk cId="1082155410" sldId="257"/>
            <ac:spMk id="56" creationId="{5D4C6473-7B1D-4CCD-F15D-76E93B1851FD}"/>
          </ac:spMkLst>
        </pc:spChg>
        <pc:spChg chg="mod">
          <ac:chgData name="Ziegler, Caroline" userId="7a2ac3d3-4568-4cfb-9daa-cf03b385e139" providerId="ADAL" clId="{60EAE1D3-E42C-497A-AADD-8D5694D00A9E}" dt="2024-03-12T16:07:37.692" v="342" actId="1076"/>
          <ac:spMkLst>
            <pc:docMk/>
            <pc:sldMk cId="1082155410" sldId="257"/>
            <ac:spMk id="57" creationId="{E25A8CD9-BD41-1562-5DD7-52A2C836C16B}"/>
          </ac:spMkLst>
        </pc:spChg>
        <pc:grpChg chg="mod">
          <ac:chgData name="Ziegler, Caroline" userId="7a2ac3d3-4568-4cfb-9daa-cf03b385e139" providerId="ADAL" clId="{60EAE1D3-E42C-497A-AADD-8D5694D00A9E}" dt="2024-03-12T16:07:37.692" v="342" actId="1076"/>
          <ac:grpSpMkLst>
            <pc:docMk/>
            <pc:sldMk cId="1082155410" sldId="257"/>
            <ac:grpSpMk id="60" creationId="{DEDDD0EE-DDC9-C287-E923-7BA995529A27}"/>
          </ac:grpSpMkLst>
        </pc:grpChg>
        <pc:graphicFrameChg chg="mod">
          <ac:chgData name="Ziegler, Caroline" userId="7a2ac3d3-4568-4cfb-9daa-cf03b385e139" providerId="ADAL" clId="{60EAE1D3-E42C-497A-AADD-8D5694D00A9E}" dt="2024-03-12T16:10:53.875" v="555"/>
          <ac:graphicFrameMkLst>
            <pc:docMk/>
            <pc:sldMk cId="1082155410" sldId="257"/>
            <ac:graphicFrameMk id="38" creationId="{616570B3-AD72-2B9E-CF79-0986F9B567A4}"/>
          </ac:graphicFrameMkLst>
        </pc:graphicFrameChg>
      </pc:sldChg>
      <pc:sldChg chg="addSp delSp modSp add del mod">
        <pc:chgData name="Ziegler, Caroline" userId="7a2ac3d3-4568-4cfb-9daa-cf03b385e139" providerId="ADAL" clId="{60EAE1D3-E42C-497A-AADD-8D5694D00A9E}" dt="2024-03-12T19:25:05.382" v="1433" actId="20577"/>
        <pc:sldMkLst>
          <pc:docMk/>
          <pc:sldMk cId="3810020212" sldId="257"/>
        </pc:sldMkLst>
        <pc:spChg chg="mod">
          <ac:chgData name="Ziegler, Caroline" userId="7a2ac3d3-4568-4cfb-9daa-cf03b385e139" providerId="ADAL" clId="{60EAE1D3-E42C-497A-AADD-8D5694D00A9E}" dt="2024-03-12T16:23:29.012" v="709" actId="948"/>
          <ac:spMkLst>
            <pc:docMk/>
            <pc:sldMk cId="3810020212" sldId="257"/>
            <ac:spMk id="2" creationId="{6EBE7D5A-8264-6333-A8F4-9072F68C4F3C}"/>
          </ac:spMkLst>
        </pc:spChg>
        <pc:spChg chg="mod">
          <ac:chgData name="Ziegler, Caroline" userId="7a2ac3d3-4568-4cfb-9daa-cf03b385e139" providerId="ADAL" clId="{60EAE1D3-E42C-497A-AADD-8D5694D00A9E}" dt="2024-03-12T19:25:01.918" v="1431" actId="20577"/>
          <ac:spMkLst>
            <pc:docMk/>
            <pc:sldMk cId="3810020212" sldId="257"/>
            <ac:spMk id="3" creationId="{70608CA7-CC47-15C4-001C-82ED5A54F876}"/>
          </ac:spMkLst>
        </pc:spChg>
        <pc:spChg chg="mod">
          <ac:chgData name="Ziegler, Caroline" userId="7a2ac3d3-4568-4cfb-9daa-cf03b385e139" providerId="ADAL" clId="{60EAE1D3-E42C-497A-AADD-8D5694D00A9E}" dt="2024-03-12T19:24:57.606" v="1429" actId="20577"/>
          <ac:spMkLst>
            <pc:docMk/>
            <pc:sldMk cId="3810020212" sldId="257"/>
            <ac:spMk id="10" creationId="{1F8F6472-69D6-5E3E-5834-26D772E99C1D}"/>
          </ac:spMkLst>
        </pc:spChg>
        <pc:spChg chg="mod">
          <ac:chgData name="Ziegler, Caroline" userId="7a2ac3d3-4568-4cfb-9daa-cf03b385e139" providerId="ADAL" clId="{60EAE1D3-E42C-497A-AADD-8D5694D00A9E}" dt="2024-03-12T19:25:05.382" v="1433" actId="20577"/>
          <ac:spMkLst>
            <pc:docMk/>
            <pc:sldMk cId="3810020212" sldId="257"/>
            <ac:spMk id="11" creationId="{CCFC4D5E-6281-AE75-4290-7F8E7E22D2FE}"/>
          </ac:spMkLst>
        </pc:spChg>
        <pc:graphicFrameChg chg="mod">
          <ac:chgData name="Ziegler, Caroline" userId="7a2ac3d3-4568-4cfb-9daa-cf03b385e139" providerId="ADAL" clId="{60EAE1D3-E42C-497A-AADD-8D5694D00A9E}" dt="2024-03-12T16:23:29.028" v="713"/>
          <ac:graphicFrameMkLst>
            <pc:docMk/>
            <pc:sldMk cId="3810020212" sldId="257"/>
            <ac:graphicFrameMk id="5" creationId="{C21F2C7A-F4CB-0FF4-62FD-ED4BB96DB776}"/>
          </ac:graphicFrameMkLst>
        </pc:graphicFrameChg>
        <pc:graphicFrameChg chg="mod">
          <ac:chgData name="Ziegler, Caroline" userId="7a2ac3d3-4568-4cfb-9daa-cf03b385e139" providerId="ADAL" clId="{60EAE1D3-E42C-497A-AADD-8D5694D00A9E}" dt="2024-03-12T16:55:13.583" v="1110" actId="20577"/>
          <ac:graphicFrameMkLst>
            <pc:docMk/>
            <pc:sldMk cId="3810020212" sldId="257"/>
            <ac:graphicFrameMk id="8" creationId="{B7C7AF3F-BD9F-0B75-26A1-87340749A6F0}"/>
          </ac:graphicFrameMkLst>
        </pc:graphicFrameChg>
        <pc:picChg chg="add mod">
          <ac:chgData name="Ziegler, Caroline" userId="7a2ac3d3-4568-4cfb-9daa-cf03b385e139" providerId="ADAL" clId="{60EAE1D3-E42C-497A-AADD-8D5694D00A9E}" dt="2024-03-12T16:57:24.114" v="1120" actId="1076"/>
          <ac:picMkLst>
            <pc:docMk/>
            <pc:sldMk cId="3810020212" sldId="257"/>
            <ac:picMk id="9" creationId="{F46AFCFE-1DB8-8B95-EBC1-015010636F99}"/>
          </ac:picMkLst>
        </pc:picChg>
        <pc:picChg chg="del">
          <ac:chgData name="Ziegler, Caroline" userId="7a2ac3d3-4568-4cfb-9daa-cf03b385e139" providerId="ADAL" clId="{60EAE1D3-E42C-497A-AADD-8D5694D00A9E}" dt="2024-03-12T16:23:49.381" v="730" actId="478"/>
          <ac:picMkLst>
            <pc:docMk/>
            <pc:sldMk cId="3810020212" sldId="257"/>
            <ac:picMk id="10" creationId="{AC307B08-15CE-9BE9-34C3-B51F8D80C163}"/>
          </ac:picMkLst>
        </pc:picChg>
        <pc:picChg chg="del">
          <ac:chgData name="Ziegler, Caroline" userId="7a2ac3d3-4568-4cfb-9daa-cf03b385e139" providerId="ADAL" clId="{60EAE1D3-E42C-497A-AADD-8D5694D00A9E}" dt="2024-03-12T16:55:58.762" v="1114" actId="478"/>
          <ac:picMkLst>
            <pc:docMk/>
            <pc:sldMk cId="3810020212" sldId="257"/>
            <ac:picMk id="12" creationId="{D6FB22F7-13D6-416A-54FD-4E21695F9EBC}"/>
          </ac:picMkLst>
        </pc:picChg>
        <pc:picChg chg="add mod">
          <ac:chgData name="Ziegler, Caroline" userId="7a2ac3d3-4568-4cfb-9daa-cf03b385e139" providerId="ADAL" clId="{60EAE1D3-E42C-497A-AADD-8D5694D00A9E}" dt="2024-03-12T16:57:15.541" v="1119" actId="1076"/>
          <ac:picMkLst>
            <pc:docMk/>
            <pc:sldMk cId="3810020212" sldId="257"/>
            <ac:picMk id="13" creationId="{EEDA4C34-E6A6-784E-2F61-E6D55D345365}"/>
          </ac:picMkLst>
        </pc:picChg>
        <pc:picChg chg="mod">
          <ac:chgData name="Ziegler, Caroline" userId="7a2ac3d3-4568-4cfb-9daa-cf03b385e139" providerId="ADAL" clId="{60EAE1D3-E42C-497A-AADD-8D5694D00A9E}" dt="2024-03-12T16:55:32.550" v="1112" actId="1076"/>
          <ac:picMkLst>
            <pc:docMk/>
            <pc:sldMk cId="3810020212" sldId="257"/>
            <ac:picMk id="14" creationId="{8C02F4D1-8A9A-E6AC-9B7B-C8E069F28EA3}"/>
          </ac:picMkLst>
        </pc:picChg>
        <pc:picChg chg="mod">
          <ac:chgData name="Ziegler, Caroline" userId="7a2ac3d3-4568-4cfb-9daa-cf03b385e139" providerId="ADAL" clId="{60EAE1D3-E42C-497A-AADD-8D5694D00A9E}" dt="2024-03-12T16:55:36.831" v="1113" actId="1076"/>
          <ac:picMkLst>
            <pc:docMk/>
            <pc:sldMk cId="3810020212" sldId="257"/>
            <ac:picMk id="16" creationId="{68D37F68-A8E2-1BF2-9FCD-19024A26F773}"/>
          </ac:picMkLst>
        </pc:picChg>
      </pc:sldChg>
      <pc:sldChg chg="del">
        <pc:chgData name="Ziegler, Caroline" userId="7a2ac3d3-4568-4cfb-9daa-cf03b385e139" providerId="ADAL" clId="{60EAE1D3-E42C-497A-AADD-8D5694D00A9E}" dt="2024-03-12T16:16:02.673" v="627" actId="2696"/>
        <pc:sldMkLst>
          <pc:docMk/>
          <pc:sldMk cId="281733507" sldId="258"/>
        </pc:sldMkLst>
      </pc:sldChg>
      <pc:sldChg chg="del">
        <pc:chgData name="Ziegler, Caroline" userId="7a2ac3d3-4568-4cfb-9daa-cf03b385e139" providerId="ADAL" clId="{60EAE1D3-E42C-497A-AADD-8D5694D00A9E}" dt="2024-03-06T18:55:03.531" v="31" actId="2696"/>
        <pc:sldMkLst>
          <pc:docMk/>
          <pc:sldMk cId="3988892795" sldId="258"/>
        </pc:sldMkLst>
      </pc:sldChg>
      <pc:sldChg chg="ord">
        <pc:chgData name="Ziegler, Caroline" userId="7a2ac3d3-4568-4cfb-9daa-cf03b385e139" providerId="ADAL" clId="{60EAE1D3-E42C-497A-AADD-8D5694D00A9E}" dt="2024-03-12T16:25:00.490" v="780"/>
        <pc:sldMkLst>
          <pc:docMk/>
          <pc:sldMk cId="365164293" sldId="259"/>
        </pc:sldMkLst>
      </pc:sldChg>
      <pc:sldChg chg="del">
        <pc:chgData name="Ziegler, Caroline" userId="7a2ac3d3-4568-4cfb-9daa-cf03b385e139" providerId="ADAL" clId="{60EAE1D3-E42C-497A-AADD-8D5694D00A9E}" dt="2024-03-06T18:55:03.531" v="31" actId="2696"/>
        <pc:sldMkLst>
          <pc:docMk/>
          <pc:sldMk cId="2621820820" sldId="259"/>
        </pc:sldMkLst>
      </pc:sldChg>
      <pc:sldChg chg="del">
        <pc:chgData name="Ziegler, Caroline" userId="7a2ac3d3-4568-4cfb-9daa-cf03b385e139" providerId="ADAL" clId="{60EAE1D3-E42C-497A-AADD-8D5694D00A9E}" dt="2024-03-06T18:55:03.531" v="31" actId="2696"/>
        <pc:sldMkLst>
          <pc:docMk/>
          <pc:sldMk cId="2021386920" sldId="260"/>
        </pc:sldMkLst>
      </pc:sldChg>
      <pc:sldChg chg="ord">
        <pc:chgData name="Ziegler, Caroline" userId="7a2ac3d3-4568-4cfb-9daa-cf03b385e139" providerId="ADAL" clId="{60EAE1D3-E42C-497A-AADD-8D5694D00A9E}" dt="2024-03-12T16:25:00.490" v="780"/>
        <pc:sldMkLst>
          <pc:docMk/>
          <pc:sldMk cId="2317613253" sldId="260"/>
        </pc:sldMkLst>
      </pc:sldChg>
      <pc:sldChg chg="del">
        <pc:chgData name="Ziegler, Caroline" userId="7a2ac3d3-4568-4cfb-9daa-cf03b385e139" providerId="ADAL" clId="{60EAE1D3-E42C-497A-AADD-8D5694D00A9E}" dt="2024-03-06T18:55:03.531" v="31" actId="2696"/>
        <pc:sldMkLst>
          <pc:docMk/>
          <pc:sldMk cId="2440932417" sldId="261"/>
        </pc:sldMkLst>
      </pc:sldChg>
      <pc:sldChg chg="ord">
        <pc:chgData name="Ziegler, Caroline" userId="7a2ac3d3-4568-4cfb-9daa-cf03b385e139" providerId="ADAL" clId="{60EAE1D3-E42C-497A-AADD-8D5694D00A9E}" dt="2024-03-12T16:25:00.490" v="780"/>
        <pc:sldMkLst>
          <pc:docMk/>
          <pc:sldMk cId="3953730481" sldId="261"/>
        </pc:sldMkLst>
      </pc:sldChg>
      <pc:sldChg chg="del">
        <pc:chgData name="Ziegler, Caroline" userId="7a2ac3d3-4568-4cfb-9daa-cf03b385e139" providerId="ADAL" clId="{60EAE1D3-E42C-497A-AADD-8D5694D00A9E}" dt="2024-03-06T18:55:03.531" v="31" actId="2696"/>
        <pc:sldMkLst>
          <pc:docMk/>
          <pc:sldMk cId="1707678876" sldId="262"/>
        </pc:sldMkLst>
      </pc:sldChg>
      <pc:sldChg chg="addSp delSp modSp mod">
        <pc:chgData name="Ziegler, Caroline" userId="7a2ac3d3-4568-4cfb-9daa-cf03b385e139" providerId="ADAL" clId="{60EAE1D3-E42C-497A-AADD-8D5694D00A9E}" dt="2024-03-16T16:55:30.187" v="1477" actId="1076"/>
        <pc:sldMkLst>
          <pc:docMk/>
          <pc:sldMk cId="2280494226" sldId="262"/>
        </pc:sldMkLst>
        <pc:spChg chg="del">
          <ac:chgData name="Ziegler, Caroline" userId="7a2ac3d3-4568-4cfb-9daa-cf03b385e139" providerId="ADAL" clId="{60EAE1D3-E42C-497A-AADD-8D5694D00A9E}" dt="2024-03-12T16:19:47.949" v="656" actId="478"/>
          <ac:spMkLst>
            <pc:docMk/>
            <pc:sldMk cId="2280494226" sldId="262"/>
            <ac:spMk id="2" creationId="{AC85C6E5-0874-FE22-B2C6-769FF7F5628F}"/>
          </ac:spMkLst>
        </pc:spChg>
        <pc:spChg chg="del">
          <ac:chgData name="Ziegler, Caroline" userId="7a2ac3d3-4568-4cfb-9daa-cf03b385e139" providerId="ADAL" clId="{60EAE1D3-E42C-497A-AADD-8D5694D00A9E}" dt="2024-03-15T16:44:11.450" v="1453" actId="478"/>
          <ac:spMkLst>
            <pc:docMk/>
            <pc:sldMk cId="2280494226" sldId="262"/>
            <ac:spMk id="5" creationId="{0F6525AF-F1D2-171B-D496-94DD023797ED}"/>
          </ac:spMkLst>
        </pc:spChg>
        <pc:spChg chg="add mod">
          <ac:chgData name="Ziegler, Caroline" userId="7a2ac3d3-4568-4cfb-9daa-cf03b385e139" providerId="ADAL" clId="{60EAE1D3-E42C-497A-AADD-8D5694D00A9E}" dt="2024-03-12T16:54:21.933" v="1049" actId="948"/>
          <ac:spMkLst>
            <pc:docMk/>
            <pc:sldMk cId="2280494226" sldId="262"/>
            <ac:spMk id="6" creationId="{31DE3DDA-32E5-F57D-BFCF-F5AB85516ACA}"/>
          </ac:spMkLst>
        </pc:spChg>
        <pc:spChg chg="mod">
          <ac:chgData name="Ziegler, Caroline" userId="7a2ac3d3-4568-4cfb-9daa-cf03b385e139" providerId="ADAL" clId="{60EAE1D3-E42C-497A-AADD-8D5694D00A9E}" dt="2024-03-12T17:00:07.867" v="1205" actId="20577"/>
          <ac:spMkLst>
            <pc:docMk/>
            <pc:sldMk cId="2280494226" sldId="262"/>
            <ac:spMk id="7" creationId="{CD0C5E76-2906-C874-5ADC-F54E764D52E9}"/>
          </ac:spMkLst>
        </pc:spChg>
        <pc:spChg chg="add mod">
          <ac:chgData name="Ziegler, Caroline" userId="7a2ac3d3-4568-4cfb-9daa-cf03b385e139" providerId="ADAL" clId="{60EAE1D3-E42C-497A-AADD-8D5694D00A9E}" dt="2024-03-12T16:54:17.136" v="1044" actId="20577"/>
          <ac:spMkLst>
            <pc:docMk/>
            <pc:sldMk cId="2280494226" sldId="262"/>
            <ac:spMk id="9" creationId="{D19F2B9C-360E-1FA0-51A4-C2131A5BAE8D}"/>
          </ac:spMkLst>
        </pc:spChg>
        <pc:spChg chg="mod">
          <ac:chgData name="Ziegler, Caroline" userId="7a2ac3d3-4568-4cfb-9daa-cf03b385e139" providerId="ADAL" clId="{60EAE1D3-E42C-497A-AADD-8D5694D00A9E}" dt="2024-03-12T16:20:49.326" v="698" actId="1076"/>
          <ac:spMkLst>
            <pc:docMk/>
            <pc:sldMk cId="2280494226" sldId="262"/>
            <ac:spMk id="23" creationId="{C20A3671-A870-A7B4-31E9-C47A0C435F16}"/>
          </ac:spMkLst>
        </pc:spChg>
        <pc:spChg chg="mod">
          <ac:chgData name="Ziegler, Caroline" userId="7a2ac3d3-4568-4cfb-9daa-cf03b385e139" providerId="ADAL" clId="{60EAE1D3-E42C-497A-AADD-8D5694D00A9E}" dt="2024-03-12T16:20:33.949" v="690" actId="164"/>
          <ac:spMkLst>
            <pc:docMk/>
            <pc:sldMk cId="2280494226" sldId="262"/>
            <ac:spMk id="26" creationId="{664326B2-61DC-A089-B9D5-5690BA51522C}"/>
          </ac:spMkLst>
        </pc:spChg>
        <pc:spChg chg="mod">
          <ac:chgData name="Ziegler, Caroline" userId="7a2ac3d3-4568-4cfb-9daa-cf03b385e139" providerId="ADAL" clId="{60EAE1D3-E42C-497A-AADD-8D5694D00A9E}" dt="2024-03-12T16:20:33.949" v="690" actId="164"/>
          <ac:spMkLst>
            <pc:docMk/>
            <pc:sldMk cId="2280494226" sldId="262"/>
            <ac:spMk id="30" creationId="{C920209D-35F0-00E2-1718-99599BC698E3}"/>
          </ac:spMkLst>
        </pc:spChg>
        <pc:spChg chg="mod">
          <ac:chgData name="Ziegler, Caroline" userId="7a2ac3d3-4568-4cfb-9daa-cf03b385e139" providerId="ADAL" clId="{60EAE1D3-E42C-497A-AADD-8D5694D00A9E}" dt="2024-03-12T16:20:33.949" v="690" actId="164"/>
          <ac:spMkLst>
            <pc:docMk/>
            <pc:sldMk cId="2280494226" sldId="262"/>
            <ac:spMk id="31" creationId="{D1D2DAE9-8E08-E0CB-7960-9EB4A613C270}"/>
          </ac:spMkLst>
        </pc:spChg>
        <pc:spChg chg="mod">
          <ac:chgData name="Ziegler, Caroline" userId="7a2ac3d3-4568-4cfb-9daa-cf03b385e139" providerId="ADAL" clId="{60EAE1D3-E42C-497A-AADD-8D5694D00A9E}" dt="2024-03-12T16:21:12.653" v="700" actId="1076"/>
          <ac:spMkLst>
            <pc:docMk/>
            <pc:sldMk cId="2280494226" sldId="262"/>
            <ac:spMk id="113" creationId="{48CA3208-3B59-83B4-1275-423834BC7A25}"/>
          </ac:spMkLst>
        </pc:spChg>
        <pc:spChg chg="mod">
          <ac:chgData name="Ziegler, Caroline" userId="7a2ac3d3-4568-4cfb-9daa-cf03b385e139" providerId="ADAL" clId="{60EAE1D3-E42C-497A-AADD-8D5694D00A9E}" dt="2024-03-15T16:44:03.082" v="1452" actId="255"/>
          <ac:spMkLst>
            <pc:docMk/>
            <pc:sldMk cId="2280494226" sldId="262"/>
            <ac:spMk id="114" creationId="{E9711C70-2BA2-7E93-FC97-709AC6E24080}"/>
          </ac:spMkLst>
        </pc:spChg>
        <pc:spChg chg="mod">
          <ac:chgData name="Ziegler, Caroline" userId="7a2ac3d3-4568-4cfb-9daa-cf03b385e139" providerId="ADAL" clId="{60EAE1D3-E42C-497A-AADD-8D5694D00A9E}" dt="2024-03-12T16:21:17.748" v="701" actId="1076"/>
          <ac:spMkLst>
            <pc:docMk/>
            <pc:sldMk cId="2280494226" sldId="262"/>
            <ac:spMk id="115" creationId="{3E0155F0-F352-4ADB-4B60-CA9196175F78}"/>
          </ac:spMkLst>
        </pc:spChg>
        <pc:spChg chg="mod">
          <ac:chgData name="Ziegler, Caroline" userId="7a2ac3d3-4568-4cfb-9daa-cf03b385e139" providerId="ADAL" clId="{60EAE1D3-E42C-497A-AADD-8D5694D00A9E}" dt="2024-03-15T16:43:58.245" v="1451" actId="255"/>
          <ac:spMkLst>
            <pc:docMk/>
            <pc:sldMk cId="2280494226" sldId="262"/>
            <ac:spMk id="116" creationId="{DC1842E6-479D-9190-8FED-DBC4056F11FD}"/>
          </ac:spMkLst>
        </pc:spChg>
        <pc:spChg chg="mod">
          <ac:chgData name="Ziegler, Caroline" userId="7a2ac3d3-4568-4cfb-9daa-cf03b385e139" providerId="ADAL" clId="{60EAE1D3-E42C-497A-AADD-8D5694D00A9E}" dt="2024-03-12T16:20:33.949" v="690" actId="164"/>
          <ac:spMkLst>
            <pc:docMk/>
            <pc:sldMk cId="2280494226" sldId="262"/>
            <ac:spMk id="134" creationId="{5757794B-6B34-E3C9-6C2E-F00B67691E4A}"/>
          </ac:spMkLst>
        </pc:spChg>
        <pc:spChg chg="mod">
          <ac:chgData name="Ziegler, Caroline" userId="7a2ac3d3-4568-4cfb-9daa-cf03b385e139" providerId="ADAL" clId="{60EAE1D3-E42C-497A-AADD-8D5694D00A9E}" dt="2024-03-12T16:20:33.949" v="690" actId="164"/>
          <ac:spMkLst>
            <pc:docMk/>
            <pc:sldMk cId="2280494226" sldId="262"/>
            <ac:spMk id="135" creationId="{DDF4064A-C513-CE8B-DF8C-59DD473EB160}"/>
          </ac:spMkLst>
        </pc:spChg>
        <pc:spChg chg="mod">
          <ac:chgData name="Ziegler, Caroline" userId="7a2ac3d3-4568-4cfb-9daa-cf03b385e139" providerId="ADAL" clId="{60EAE1D3-E42C-497A-AADD-8D5694D00A9E}" dt="2024-03-12T16:20:33.949" v="690" actId="164"/>
          <ac:spMkLst>
            <pc:docMk/>
            <pc:sldMk cId="2280494226" sldId="262"/>
            <ac:spMk id="137" creationId="{F1644B04-7D8F-E067-824D-98BB4FE404E3}"/>
          </ac:spMkLst>
        </pc:spChg>
        <pc:spChg chg="mod">
          <ac:chgData name="Ziegler, Caroline" userId="7a2ac3d3-4568-4cfb-9daa-cf03b385e139" providerId="ADAL" clId="{60EAE1D3-E42C-497A-AADD-8D5694D00A9E}" dt="2024-03-12T16:20:33.949" v="690" actId="164"/>
          <ac:spMkLst>
            <pc:docMk/>
            <pc:sldMk cId="2280494226" sldId="262"/>
            <ac:spMk id="139" creationId="{1E9F031E-796B-117F-F3DA-F919742A59CE}"/>
          </ac:spMkLst>
        </pc:spChg>
        <pc:spChg chg="mod">
          <ac:chgData name="Ziegler, Caroline" userId="7a2ac3d3-4568-4cfb-9daa-cf03b385e139" providerId="ADAL" clId="{60EAE1D3-E42C-497A-AADD-8D5694D00A9E}" dt="2024-03-12T16:20:33.949" v="690" actId="164"/>
          <ac:spMkLst>
            <pc:docMk/>
            <pc:sldMk cId="2280494226" sldId="262"/>
            <ac:spMk id="141" creationId="{1AC1EED3-5B3C-296B-F238-F453D32FD66C}"/>
          </ac:spMkLst>
        </pc:spChg>
        <pc:spChg chg="del">
          <ac:chgData name="Ziegler, Caroline" userId="7a2ac3d3-4568-4cfb-9daa-cf03b385e139" providerId="ADAL" clId="{60EAE1D3-E42C-497A-AADD-8D5694D00A9E}" dt="2024-03-12T16:19:47.949" v="656" actId="478"/>
          <ac:spMkLst>
            <pc:docMk/>
            <pc:sldMk cId="2280494226" sldId="262"/>
            <ac:spMk id="312" creationId="{B6BC0F2A-EDDF-2222-6861-162BC2D9989B}"/>
          </ac:spMkLst>
        </pc:spChg>
        <pc:grpChg chg="add mod">
          <ac:chgData name="Ziegler, Caroline" userId="7a2ac3d3-4568-4cfb-9daa-cf03b385e139" providerId="ADAL" clId="{60EAE1D3-E42C-497A-AADD-8D5694D00A9E}" dt="2024-03-16T16:55:30.187" v="1477" actId="1076"/>
          <ac:grpSpMkLst>
            <pc:docMk/>
            <pc:sldMk cId="2280494226" sldId="262"/>
            <ac:grpSpMk id="25" creationId="{3634F5FD-A553-24D8-91BA-475935201A6E}"/>
          </ac:grpSpMkLst>
        </pc:grpChg>
        <pc:grpChg chg="mod">
          <ac:chgData name="Ziegler, Caroline" userId="7a2ac3d3-4568-4cfb-9daa-cf03b385e139" providerId="ADAL" clId="{60EAE1D3-E42C-497A-AADD-8D5694D00A9E}" dt="2024-03-12T16:20:33.949" v="690" actId="164"/>
          <ac:grpSpMkLst>
            <pc:docMk/>
            <pc:sldMk cId="2280494226" sldId="262"/>
            <ac:grpSpMk id="27" creationId="{14500DB1-49B4-269A-CA7D-CE68F5141D34}"/>
          </ac:grpSpMkLst>
        </pc:grpChg>
        <pc:grpChg chg="mod">
          <ac:chgData name="Ziegler, Caroline" userId="7a2ac3d3-4568-4cfb-9daa-cf03b385e139" providerId="ADAL" clId="{60EAE1D3-E42C-497A-AADD-8D5694D00A9E}" dt="2024-03-12T16:20:33.949" v="690" actId="164"/>
          <ac:grpSpMkLst>
            <pc:docMk/>
            <pc:sldMk cId="2280494226" sldId="262"/>
            <ac:grpSpMk id="32" creationId="{02406768-0449-606A-C6BD-86FB82B86982}"/>
          </ac:grpSpMkLst>
        </pc:grpChg>
        <pc:grpChg chg="mod">
          <ac:chgData name="Ziegler, Caroline" userId="7a2ac3d3-4568-4cfb-9daa-cf03b385e139" providerId="ADAL" clId="{60EAE1D3-E42C-497A-AADD-8D5694D00A9E}" dt="2024-03-12T16:20:33.949" v="690" actId="164"/>
          <ac:grpSpMkLst>
            <pc:docMk/>
            <pc:sldMk cId="2280494226" sldId="262"/>
            <ac:grpSpMk id="159" creationId="{59B090E7-8782-E387-5313-9B32D6BCDE35}"/>
          </ac:grpSpMkLst>
        </pc:grpChg>
        <pc:grpChg chg="mod">
          <ac:chgData name="Ziegler, Caroline" userId="7a2ac3d3-4568-4cfb-9daa-cf03b385e139" providerId="ADAL" clId="{60EAE1D3-E42C-497A-AADD-8D5694D00A9E}" dt="2024-03-12T16:20:33.949" v="690" actId="164"/>
          <ac:grpSpMkLst>
            <pc:docMk/>
            <pc:sldMk cId="2280494226" sldId="262"/>
            <ac:grpSpMk id="339" creationId="{909E7E99-6522-DB65-92E2-A45406CCC637}"/>
          </ac:grpSpMkLst>
        </pc:grpChg>
        <pc:graphicFrameChg chg="mod">
          <ac:chgData name="Ziegler, Caroline" userId="7a2ac3d3-4568-4cfb-9daa-cf03b385e139" providerId="ADAL" clId="{60EAE1D3-E42C-497A-AADD-8D5694D00A9E}" dt="2024-03-14T17:09:14.594" v="1447"/>
          <ac:graphicFrameMkLst>
            <pc:docMk/>
            <pc:sldMk cId="2280494226" sldId="262"/>
            <ac:graphicFrameMk id="8" creationId="{623FBC6D-3652-1BE9-62E2-15BB5E16B90A}"/>
          </ac:graphicFrameMkLst>
        </pc:graphicFrameChg>
        <pc:cxnChg chg="mod">
          <ac:chgData name="Ziegler, Caroline" userId="7a2ac3d3-4568-4cfb-9daa-cf03b385e139" providerId="ADAL" clId="{60EAE1D3-E42C-497A-AADD-8D5694D00A9E}" dt="2024-03-12T16:19:27.762" v="653" actId="208"/>
          <ac:cxnSpMkLst>
            <pc:docMk/>
            <pc:sldMk cId="2280494226" sldId="262"/>
            <ac:cxnSpMk id="29" creationId="{480707F6-64D3-A671-909C-26A24DED0EE8}"/>
          </ac:cxnSpMkLst>
        </pc:cxnChg>
        <pc:cxnChg chg="mod">
          <ac:chgData name="Ziegler, Caroline" userId="7a2ac3d3-4568-4cfb-9daa-cf03b385e139" providerId="ADAL" clId="{60EAE1D3-E42C-497A-AADD-8D5694D00A9E}" dt="2024-03-12T16:20:33.949" v="690" actId="164"/>
          <ac:cxnSpMkLst>
            <pc:docMk/>
            <pc:sldMk cId="2280494226" sldId="262"/>
            <ac:cxnSpMk id="157" creationId="{6C2CA613-DBA1-4F7A-DCAC-C39F4B9F3B5D}"/>
          </ac:cxnSpMkLst>
        </pc:cxnChg>
        <pc:cxnChg chg="mod">
          <ac:chgData name="Ziegler, Caroline" userId="7a2ac3d3-4568-4cfb-9daa-cf03b385e139" providerId="ADAL" clId="{60EAE1D3-E42C-497A-AADD-8D5694D00A9E}" dt="2024-03-12T16:19:23.634" v="652" actId="208"/>
          <ac:cxnSpMkLst>
            <pc:docMk/>
            <pc:sldMk cId="2280494226" sldId="262"/>
            <ac:cxnSpMk id="163" creationId="{B4459502-EB78-5A02-4B38-81E2434E0225}"/>
          </ac:cxnSpMkLst>
        </pc:cxnChg>
        <pc:cxnChg chg="mod">
          <ac:chgData name="Ziegler, Caroline" userId="7a2ac3d3-4568-4cfb-9daa-cf03b385e139" providerId="ADAL" clId="{60EAE1D3-E42C-497A-AADD-8D5694D00A9E}" dt="2024-03-12T16:20:33.949" v="690" actId="164"/>
          <ac:cxnSpMkLst>
            <pc:docMk/>
            <pc:sldMk cId="2280494226" sldId="262"/>
            <ac:cxnSpMk id="310" creationId="{7DA3088E-F00A-07A8-7DAD-A8D2BE563114}"/>
          </ac:cxnSpMkLst>
        </pc:cxnChg>
        <pc:cxnChg chg="mod">
          <ac:chgData name="Ziegler, Caroline" userId="7a2ac3d3-4568-4cfb-9daa-cf03b385e139" providerId="ADAL" clId="{60EAE1D3-E42C-497A-AADD-8D5694D00A9E}" dt="2024-03-12T16:20:33.949" v="690" actId="164"/>
          <ac:cxnSpMkLst>
            <pc:docMk/>
            <pc:sldMk cId="2280494226" sldId="262"/>
            <ac:cxnSpMk id="313" creationId="{E671E9D4-EFF0-CA4B-CFD1-538D257D1F73}"/>
          </ac:cxnSpMkLst>
        </pc:cxnChg>
      </pc:sldChg>
      <pc:sldChg chg="del">
        <pc:chgData name="Ziegler, Caroline" userId="7a2ac3d3-4568-4cfb-9daa-cf03b385e139" providerId="ADAL" clId="{60EAE1D3-E42C-497A-AADD-8D5694D00A9E}" dt="2024-03-12T16:23:55.989" v="731" actId="2696"/>
        <pc:sldMkLst>
          <pc:docMk/>
          <pc:sldMk cId="2919704884" sldId="263"/>
        </pc:sldMkLst>
      </pc:sldChg>
      <pc:sldChg chg="addSp delSp modSp new mod">
        <pc:chgData name="Ziegler, Caroline" userId="7a2ac3d3-4568-4cfb-9daa-cf03b385e139" providerId="ADAL" clId="{60EAE1D3-E42C-497A-AADD-8D5694D00A9E}" dt="2024-03-12T16:05:17.665" v="339"/>
        <pc:sldMkLst>
          <pc:docMk/>
          <pc:sldMk cId="3387421209" sldId="263"/>
        </pc:sldMkLst>
        <pc:spChg chg="mod">
          <ac:chgData name="Ziegler, Caroline" userId="7a2ac3d3-4568-4cfb-9daa-cf03b385e139" providerId="ADAL" clId="{60EAE1D3-E42C-497A-AADD-8D5694D00A9E}" dt="2024-03-12T16:05:17.573" v="300" actId="948"/>
          <ac:spMkLst>
            <pc:docMk/>
            <pc:sldMk cId="3387421209" sldId="263"/>
            <ac:spMk id="2" creationId="{8F597122-A0E0-C071-C13E-A03BCEC52192}"/>
          </ac:spMkLst>
        </pc:spChg>
        <pc:spChg chg="mod">
          <ac:chgData name="Ziegler, Caroline" userId="7a2ac3d3-4568-4cfb-9daa-cf03b385e139" providerId="ADAL" clId="{60EAE1D3-E42C-497A-AADD-8D5694D00A9E}" dt="2024-03-12T16:05:05.854" v="298" actId="20577"/>
          <ac:spMkLst>
            <pc:docMk/>
            <pc:sldMk cId="3387421209" sldId="263"/>
            <ac:spMk id="6" creationId="{F06B46B5-870E-1280-9F25-B6094EB9105F}"/>
          </ac:spMkLst>
        </pc:spChg>
        <pc:spChg chg="del">
          <ac:chgData name="Ziegler, Caroline" userId="7a2ac3d3-4568-4cfb-9daa-cf03b385e139" providerId="ADAL" clId="{60EAE1D3-E42C-497A-AADD-8D5694D00A9E}" dt="2024-03-12T16:03:32.347" v="295" actId="478"/>
          <ac:spMkLst>
            <pc:docMk/>
            <pc:sldMk cId="3387421209" sldId="263"/>
            <ac:spMk id="7" creationId="{836E4E86-4D80-07A1-4C18-FA27C0C7A99A}"/>
          </ac:spMkLst>
        </pc:spChg>
        <pc:spChg chg="add del mod modVis">
          <ac:chgData name="Ziegler, Caroline" userId="7a2ac3d3-4568-4cfb-9daa-cf03b385e139" providerId="ADAL" clId="{60EAE1D3-E42C-497A-AADD-8D5694D00A9E}" dt="2024-03-12T16:05:17.618" v="324"/>
          <ac:spMkLst>
            <pc:docMk/>
            <pc:sldMk cId="3387421209" sldId="263"/>
            <ac:spMk id="10" creationId="{14A1C23B-D349-258B-1904-8D1CEB1EEE88}"/>
          </ac:spMkLst>
        </pc:spChg>
        <pc:graphicFrameChg chg="add mod">
          <ac:chgData name="Ziegler, Caroline" userId="7a2ac3d3-4568-4cfb-9daa-cf03b385e139" providerId="ADAL" clId="{60EAE1D3-E42C-497A-AADD-8D5694D00A9E}" dt="2024-03-12T16:03:42.876" v="296"/>
          <ac:graphicFrameMkLst>
            <pc:docMk/>
            <pc:sldMk cId="3387421209" sldId="263"/>
            <ac:graphicFrameMk id="9" creationId="{B510362E-9237-2156-78CC-C4047EA83D57}"/>
          </ac:graphicFrameMkLst>
        </pc:graphicFrameChg>
        <pc:graphicFrameChg chg="add mod ord modVis replST">
          <ac:chgData name="Ziegler, Caroline" userId="7a2ac3d3-4568-4cfb-9daa-cf03b385e139" providerId="ADAL" clId="{60EAE1D3-E42C-497A-AADD-8D5694D00A9E}" dt="2024-03-12T16:05:17.665" v="339"/>
          <ac:graphicFrameMkLst>
            <pc:docMk/>
            <pc:sldMk cId="3387421209" sldId="263"/>
            <ac:graphicFrameMk id="11" creationId="{08943EC7-42AB-7DFE-9077-6ADCFC513D11}"/>
          </ac:graphicFrameMkLst>
        </pc:graphicFrameChg>
      </pc:sldChg>
      <pc:sldChg chg="del">
        <pc:chgData name="Ziegler, Caroline" userId="7a2ac3d3-4568-4cfb-9daa-cf03b385e139" providerId="ADAL" clId="{60EAE1D3-E42C-497A-AADD-8D5694D00A9E}" dt="2024-03-06T18:55:03.531" v="31" actId="2696"/>
        <pc:sldMkLst>
          <pc:docMk/>
          <pc:sldMk cId="828115941" sldId="264"/>
        </pc:sldMkLst>
      </pc:sldChg>
      <pc:sldChg chg="addSp modSp mod addCm">
        <pc:chgData name="Ziegler, Caroline" userId="7a2ac3d3-4568-4cfb-9daa-cf03b385e139" providerId="ADAL" clId="{60EAE1D3-E42C-497A-AADD-8D5694D00A9E}" dt="2024-03-13T23:06:16.987" v="1437" actId="20577"/>
        <pc:sldMkLst>
          <pc:docMk/>
          <pc:sldMk cId="3387421209" sldId="264"/>
        </pc:sldMkLst>
        <pc:spChg chg="mod">
          <ac:chgData name="Ziegler, Caroline" userId="7a2ac3d3-4568-4cfb-9daa-cf03b385e139" providerId="ADAL" clId="{60EAE1D3-E42C-497A-AADD-8D5694D00A9E}" dt="2024-03-12T16:17:51.752" v="643" actId="403"/>
          <ac:spMkLst>
            <pc:docMk/>
            <pc:sldMk cId="3387421209" sldId="264"/>
            <ac:spMk id="3" creationId="{5B4D2AD1-0172-3647-09F7-A37565CCC2F3}"/>
          </ac:spMkLst>
        </pc:spChg>
        <pc:spChg chg="mod">
          <ac:chgData name="Ziegler, Caroline" userId="7a2ac3d3-4568-4cfb-9daa-cf03b385e139" providerId="ADAL" clId="{60EAE1D3-E42C-497A-AADD-8D5694D00A9E}" dt="2024-03-13T23:06:16.987" v="1437" actId="20577"/>
          <ac:spMkLst>
            <pc:docMk/>
            <pc:sldMk cId="3387421209" sldId="264"/>
            <ac:spMk id="5" creationId="{1A58B3A6-149D-D632-06C3-64EBB3A64C86}"/>
          </ac:spMkLst>
        </pc:spChg>
        <pc:spChg chg="add mod">
          <ac:chgData name="Ziegler, Caroline" userId="7a2ac3d3-4568-4cfb-9daa-cf03b385e139" providerId="ADAL" clId="{60EAE1D3-E42C-497A-AADD-8D5694D00A9E}" dt="2024-03-12T17:47:18.632" v="1424" actId="1076"/>
          <ac:spMkLst>
            <pc:docMk/>
            <pc:sldMk cId="3387421209" sldId="264"/>
            <ac:spMk id="7" creationId="{915B4520-526B-01A2-00C1-3372369DC82B}"/>
          </ac:spMkLst>
        </pc:spChg>
        <pc:spChg chg="mod">
          <ac:chgData name="Ziegler, Caroline" userId="7a2ac3d3-4568-4cfb-9daa-cf03b385e139" providerId="ADAL" clId="{60EAE1D3-E42C-497A-AADD-8D5694D00A9E}" dt="2024-03-12T16:59:56.281" v="1184" actId="20577"/>
          <ac:spMkLst>
            <pc:docMk/>
            <pc:sldMk cId="3387421209" sldId="264"/>
            <ac:spMk id="8" creationId="{17D26D69-0927-B5B9-1EFC-1A11EAD5438E}"/>
          </ac:spMkLst>
        </pc:spChg>
        <pc:spChg chg="add mod">
          <ac:chgData name="Ziegler, Caroline" userId="7a2ac3d3-4568-4cfb-9daa-cf03b385e139" providerId="ADAL" clId="{60EAE1D3-E42C-497A-AADD-8D5694D00A9E}" dt="2024-03-12T17:45:00.369" v="1394" actId="947"/>
          <ac:spMkLst>
            <pc:docMk/>
            <pc:sldMk cId="3387421209" sldId="264"/>
            <ac:spMk id="10" creationId="{F3B1A1D4-C3E2-1BBD-1546-48D9444C19E6}"/>
          </ac:spMkLst>
        </pc:spChg>
        <pc:grpChg chg="add mod">
          <ac:chgData name="Ziegler, Caroline" userId="7a2ac3d3-4568-4cfb-9daa-cf03b385e139" providerId="ADAL" clId="{60EAE1D3-E42C-497A-AADD-8D5694D00A9E}" dt="2024-03-12T17:47:12.384" v="1423" actId="1037"/>
          <ac:grpSpMkLst>
            <pc:docMk/>
            <pc:sldMk cId="3387421209" sldId="264"/>
            <ac:grpSpMk id="12" creationId="{A02DE836-1881-513F-9AF4-04300847D60F}"/>
          </ac:grpSpMkLst>
        </pc:grpChg>
        <pc:graphicFrameChg chg="mod modGraphic">
          <ac:chgData name="Ziegler, Caroline" userId="7a2ac3d3-4568-4cfb-9daa-cf03b385e139" providerId="ADAL" clId="{60EAE1D3-E42C-497A-AADD-8D5694D00A9E}" dt="2024-03-12T17:44:22.939" v="1369" actId="164"/>
          <ac:graphicFrameMkLst>
            <pc:docMk/>
            <pc:sldMk cId="3387421209" sldId="264"/>
            <ac:graphicFrameMk id="9" creationId="{B510362E-9237-2156-78CC-C4047EA83D57}"/>
          </ac:graphicFrameMkLst>
        </pc:graphicFrameChg>
        <pc:graphicFrameChg chg="mod">
          <ac:chgData name="Ziegler, Caroline" userId="7a2ac3d3-4568-4cfb-9daa-cf03b385e139" providerId="ADAL" clId="{60EAE1D3-E42C-497A-AADD-8D5694D00A9E}" dt="2024-03-12T17:45:17.069" v="1396"/>
          <ac:graphicFrameMkLst>
            <pc:docMk/>
            <pc:sldMk cId="3387421209" sldId="264"/>
            <ac:graphicFrameMk id="11" creationId="{08943EC7-42AB-7DFE-9077-6ADCFC513D11}"/>
          </ac:graphicFrameMkLst>
        </pc:graphicFrameChg>
        <pc:picChg chg="mod">
          <ac:chgData name="Ziegler, Caroline" userId="7a2ac3d3-4568-4cfb-9daa-cf03b385e139" providerId="ADAL" clId="{60EAE1D3-E42C-497A-AADD-8D5694D00A9E}" dt="2024-03-12T17:48:34.391" v="1425" actId="207"/>
          <ac:picMkLst>
            <pc:docMk/>
            <pc:sldMk cId="3387421209" sldId="264"/>
            <ac:picMk id="14" creationId="{658EF99A-6F28-98C5-411A-B623B75A36EC}"/>
          </ac:picMkLst>
        </pc:picChg>
        <pc:picChg chg="mod">
          <ac:chgData name="Ziegler, Caroline" userId="7a2ac3d3-4568-4cfb-9daa-cf03b385e139" providerId="ADAL" clId="{60EAE1D3-E42C-497A-AADD-8D5694D00A9E}" dt="2024-03-12T17:48:34.391" v="1425" actId="207"/>
          <ac:picMkLst>
            <pc:docMk/>
            <pc:sldMk cId="3387421209" sldId="264"/>
            <ac:picMk id="16" creationId="{5D2C53B3-57C4-3F03-6C66-9CF01C0D5573}"/>
          </ac:picMkLst>
        </pc:picChg>
        <pc:picChg chg="mod">
          <ac:chgData name="Ziegler, Caroline" userId="7a2ac3d3-4568-4cfb-9daa-cf03b385e139" providerId="ADAL" clId="{60EAE1D3-E42C-497A-AADD-8D5694D00A9E}" dt="2024-03-12T17:48:34.391" v="1425" actId="207"/>
          <ac:picMkLst>
            <pc:docMk/>
            <pc:sldMk cId="3387421209" sldId="264"/>
            <ac:picMk id="18" creationId="{81283D06-C7CA-8F73-26EA-ED6BC3876379}"/>
          </ac:picMkLst>
        </pc:picChg>
        <pc:picChg chg="mod">
          <ac:chgData name="Ziegler, Caroline" userId="7a2ac3d3-4568-4cfb-9daa-cf03b385e139" providerId="ADAL" clId="{60EAE1D3-E42C-497A-AADD-8D5694D00A9E}" dt="2024-03-12T17:48:34.391" v="1425" actId="207"/>
          <ac:picMkLst>
            <pc:docMk/>
            <pc:sldMk cId="3387421209" sldId="264"/>
            <ac:picMk id="20" creationId="{B364EB2D-535A-E55A-7484-2C3F0B0C4A2E}"/>
          </ac:picMkLst>
        </pc:picChg>
        <pc:picChg chg="mod">
          <ac:chgData name="Ziegler, Caroline" userId="7a2ac3d3-4568-4cfb-9daa-cf03b385e139" providerId="ADAL" clId="{60EAE1D3-E42C-497A-AADD-8D5694D00A9E}" dt="2024-03-12T17:48:34.391" v="1425" actId="207"/>
          <ac:picMkLst>
            <pc:docMk/>
            <pc:sldMk cId="3387421209" sldId="264"/>
            <ac:picMk id="22" creationId="{38019879-3A2C-64C5-7EC9-CF50B4807D51}"/>
          </ac:picMkLst>
        </pc:picChg>
        <pc:picChg chg="mod">
          <ac:chgData name="Ziegler, Caroline" userId="7a2ac3d3-4568-4cfb-9daa-cf03b385e139" providerId="ADAL" clId="{60EAE1D3-E42C-497A-AADD-8D5694D00A9E}" dt="2024-03-12T17:48:34.391" v="1425" actId="207"/>
          <ac:picMkLst>
            <pc:docMk/>
            <pc:sldMk cId="3387421209" sldId="264"/>
            <ac:picMk id="24" creationId="{A858C3C7-2175-D4C6-1AD6-0EAEBE3A1FB5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Ziegler, Caroline" userId="7a2ac3d3-4568-4cfb-9daa-cf03b385e139" providerId="ADAL" clId="{60EAE1D3-E42C-497A-AADD-8D5694D00A9E}" dt="2024-03-12T17:04:05.904" v="1254"/>
              <pc2:cmMkLst xmlns:pc2="http://schemas.microsoft.com/office/powerpoint/2019/9/main/command">
                <pc:docMk/>
                <pc:sldMk cId="3387421209" sldId="264"/>
                <pc2:cmMk id="{8960A329-A978-45A4-85A8-AC3844CD7D7D}"/>
              </pc2:cmMkLst>
            </pc226:cmChg>
          </p:ext>
        </pc:extLst>
      </pc:sldChg>
      <pc:sldChg chg="addSp delSp modSp new mod">
        <pc:chgData name="Ziegler, Caroline" userId="7a2ac3d3-4568-4cfb-9daa-cf03b385e139" providerId="ADAL" clId="{60EAE1D3-E42C-497A-AADD-8D5694D00A9E}" dt="2024-03-15T16:44:27.819" v="1455" actId="13926"/>
        <pc:sldMkLst>
          <pc:docMk/>
          <pc:sldMk cId="608544505" sldId="265"/>
        </pc:sldMkLst>
        <pc:spChg chg="mod">
          <ac:chgData name="Ziegler, Caroline" userId="7a2ac3d3-4568-4cfb-9daa-cf03b385e139" providerId="ADAL" clId="{60EAE1D3-E42C-497A-AADD-8D5694D00A9E}" dt="2024-03-12T16:10:41.792" v="525" actId="948"/>
          <ac:spMkLst>
            <pc:docMk/>
            <pc:sldMk cId="608544505" sldId="265"/>
            <ac:spMk id="2" creationId="{2E4B0CCE-FC5A-ED5C-B9AC-ABFECF6BE5B6}"/>
          </ac:spMkLst>
        </pc:spChg>
        <pc:spChg chg="del">
          <ac:chgData name="Ziegler, Caroline" userId="7a2ac3d3-4568-4cfb-9daa-cf03b385e139" providerId="ADAL" clId="{60EAE1D3-E42C-497A-AADD-8D5694D00A9E}" dt="2024-03-12T16:08:05.089" v="349" actId="478"/>
          <ac:spMkLst>
            <pc:docMk/>
            <pc:sldMk cId="608544505" sldId="265"/>
            <ac:spMk id="3" creationId="{65663A39-BCEC-BF87-B3E5-170E15D413D5}"/>
          </ac:spMkLst>
        </pc:spChg>
        <pc:spChg chg="del">
          <ac:chgData name="Ziegler, Caroline" userId="7a2ac3d3-4568-4cfb-9daa-cf03b385e139" providerId="ADAL" clId="{60EAE1D3-E42C-497A-AADD-8D5694D00A9E}" dt="2024-03-15T16:44:22.603" v="1454" actId="478"/>
          <ac:spMkLst>
            <pc:docMk/>
            <pc:sldMk cId="608544505" sldId="265"/>
            <ac:spMk id="5" creationId="{6D13389E-8950-0FC8-EC87-8BD512FB9380}"/>
          </ac:spMkLst>
        </pc:spChg>
        <pc:spChg chg="mod">
          <ac:chgData name="Ziegler, Caroline" userId="7a2ac3d3-4568-4cfb-9daa-cf03b385e139" providerId="ADAL" clId="{60EAE1D3-E42C-497A-AADD-8D5694D00A9E}" dt="2024-03-12T16:09:52.305" v="479" actId="20577"/>
          <ac:spMkLst>
            <pc:docMk/>
            <pc:sldMk cId="608544505" sldId="265"/>
            <ac:spMk id="6" creationId="{9426B840-DDE2-FA16-4D5F-08DE565E6462}"/>
          </ac:spMkLst>
        </pc:spChg>
        <pc:spChg chg="mod">
          <ac:chgData name="Ziegler, Caroline" userId="7a2ac3d3-4568-4cfb-9daa-cf03b385e139" providerId="ADAL" clId="{60EAE1D3-E42C-497A-AADD-8D5694D00A9E}" dt="2024-03-12T16:58:20.051" v="1164" actId="20577"/>
          <ac:spMkLst>
            <pc:docMk/>
            <pc:sldMk cId="608544505" sldId="265"/>
            <ac:spMk id="7" creationId="{08AE0CE6-7F12-694C-68BB-AA24126B07A3}"/>
          </ac:spMkLst>
        </pc:spChg>
        <pc:spChg chg="mod">
          <ac:chgData name="Ziegler, Caroline" userId="7a2ac3d3-4568-4cfb-9daa-cf03b385e139" providerId="ADAL" clId="{60EAE1D3-E42C-497A-AADD-8D5694D00A9E}" dt="2024-03-12T16:08:54.375" v="411" actId="165"/>
          <ac:spMkLst>
            <pc:docMk/>
            <pc:sldMk cId="608544505" sldId="265"/>
            <ac:spMk id="9" creationId="{33C84BEE-C6D9-46E7-589C-4E273A4ECF02}"/>
          </ac:spMkLst>
        </pc:spChg>
        <pc:spChg chg="mod">
          <ac:chgData name="Ziegler, Caroline" userId="7a2ac3d3-4568-4cfb-9daa-cf03b385e139" providerId="ADAL" clId="{60EAE1D3-E42C-497A-AADD-8D5694D00A9E}" dt="2024-03-12T16:08:54.375" v="411" actId="165"/>
          <ac:spMkLst>
            <pc:docMk/>
            <pc:sldMk cId="608544505" sldId="265"/>
            <ac:spMk id="10" creationId="{D44BBC73-67DC-A95F-0A2F-12B5159E8D38}"/>
          </ac:spMkLst>
        </pc:spChg>
        <pc:spChg chg="mod">
          <ac:chgData name="Ziegler, Caroline" userId="7a2ac3d3-4568-4cfb-9daa-cf03b385e139" providerId="ADAL" clId="{60EAE1D3-E42C-497A-AADD-8D5694D00A9E}" dt="2024-03-12T16:14:33.857" v="614" actId="207"/>
          <ac:spMkLst>
            <pc:docMk/>
            <pc:sldMk cId="608544505" sldId="265"/>
            <ac:spMk id="15" creationId="{59FAC658-366B-0BB4-2B06-03EEF390A62E}"/>
          </ac:spMkLst>
        </pc:spChg>
        <pc:spChg chg="mod">
          <ac:chgData name="Ziegler, Caroline" userId="7a2ac3d3-4568-4cfb-9daa-cf03b385e139" providerId="ADAL" clId="{60EAE1D3-E42C-497A-AADD-8D5694D00A9E}" dt="2024-03-12T16:08:54.375" v="411" actId="165"/>
          <ac:spMkLst>
            <pc:docMk/>
            <pc:sldMk cId="608544505" sldId="265"/>
            <ac:spMk id="16" creationId="{65CB1989-44B5-2193-EC4F-6534D8CC4437}"/>
          </ac:spMkLst>
        </pc:spChg>
        <pc:spChg chg="mod">
          <ac:chgData name="Ziegler, Caroline" userId="7a2ac3d3-4568-4cfb-9daa-cf03b385e139" providerId="ADAL" clId="{60EAE1D3-E42C-497A-AADD-8D5694D00A9E}" dt="2024-03-12T16:08:54.375" v="411" actId="165"/>
          <ac:spMkLst>
            <pc:docMk/>
            <pc:sldMk cId="608544505" sldId="265"/>
            <ac:spMk id="17" creationId="{E3F48576-71C5-8F83-E058-A1F240F00F3D}"/>
          </ac:spMkLst>
        </pc:spChg>
        <pc:spChg chg="mod">
          <ac:chgData name="Ziegler, Caroline" userId="7a2ac3d3-4568-4cfb-9daa-cf03b385e139" providerId="ADAL" clId="{60EAE1D3-E42C-497A-AADD-8D5694D00A9E}" dt="2024-03-12T16:08:54.375" v="411" actId="165"/>
          <ac:spMkLst>
            <pc:docMk/>
            <pc:sldMk cId="608544505" sldId="265"/>
            <ac:spMk id="18" creationId="{30867C0A-2991-4C8F-9374-A52AE0EEE6F7}"/>
          </ac:spMkLst>
        </pc:spChg>
        <pc:spChg chg="mod">
          <ac:chgData name="Ziegler, Caroline" userId="7a2ac3d3-4568-4cfb-9daa-cf03b385e139" providerId="ADAL" clId="{60EAE1D3-E42C-497A-AADD-8D5694D00A9E}" dt="2024-03-12T16:08:54.375" v="411" actId="165"/>
          <ac:spMkLst>
            <pc:docMk/>
            <pc:sldMk cId="608544505" sldId="265"/>
            <ac:spMk id="19" creationId="{FB96047E-4E08-7AFD-5D1B-726B1676CA8B}"/>
          </ac:spMkLst>
        </pc:spChg>
        <pc:spChg chg="mod">
          <ac:chgData name="Ziegler, Caroline" userId="7a2ac3d3-4568-4cfb-9daa-cf03b385e139" providerId="ADAL" clId="{60EAE1D3-E42C-497A-AADD-8D5694D00A9E}" dt="2024-03-12T16:08:54.375" v="411" actId="165"/>
          <ac:spMkLst>
            <pc:docMk/>
            <pc:sldMk cId="608544505" sldId="265"/>
            <ac:spMk id="20" creationId="{CCD9057F-9D7C-444C-799C-A0094BD04F57}"/>
          </ac:spMkLst>
        </pc:spChg>
        <pc:spChg chg="mod">
          <ac:chgData name="Ziegler, Caroline" userId="7a2ac3d3-4568-4cfb-9daa-cf03b385e139" providerId="ADAL" clId="{60EAE1D3-E42C-497A-AADD-8D5694D00A9E}" dt="2024-03-12T16:08:54.375" v="411" actId="165"/>
          <ac:spMkLst>
            <pc:docMk/>
            <pc:sldMk cId="608544505" sldId="265"/>
            <ac:spMk id="25" creationId="{E9109D6B-B7B1-3D2D-27E5-7CDBF6B0D07B}"/>
          </ac:spMkLst>
        </pc:spChg>
        <pc:spChg chg="mod">
          <ac:chgData name="Ziegler, Caroline" userId="7a2ac3d3-4568-4cfb-9daa-cf03b385e139" providerId="ADAL" clId="{60EAE1D3-E42C-497A-AADD-8D5694D00A9E}" dt="2024-03-12T16:08:54.375" v="411" actId="165"/>
          <ac:spMkLst>
            <pc:docMk/>
            <pc:sldMk cId="608544505" sldId="265"/>
            <ac:spMk id="26" creationId="{C59314B6-EC0E-FF3D-4026-3F3D1E905434}"/>
          </ac:spMkLst>
        </pc:spChg>
        <pc:spChg chg="mod">
          <ac:chgData name="Ziegler, Caroline" userId="7a2ac3d3-4568-4cfb-9daa-cf03b385e139" providerId="ADAL" clId="{60EAE1D3-E42C-497A-AADD-8D5694D00A9E}" dt="2024-03-12T16:08:54.375" v="411" actId="165"/>
          <ac:spMkLst>
            <pc:docMk/>
            <pc:sldMk cId="608544505" sldId="265"/>
            <ac:spMk id="27" creationId="{7B552EF9-30A3-CC02-237E-6CA8E4A93624}"/>
          </ac:spMkLst>
        </pc:spChg>
        <pc:spChg chg="mod">
          <ac:chgData name="Ziegler, Caroline" userId="7a2ac3d3-4568-4cfb-9daa-cf03b385e139" providerId="ADAL" clId="{60EAE1D3-E42C-497A-AADD-8D5694D00A9E}" dt="2024-03-12T16:08:54.375" v="411" actId="165"/>
          <ac:spMkLst>
            <pc:docMk/>
            <pc:sldMk cId="608544505" sldId="265"/>
            <ac:spMk id="28" creationId="{617F0E99-E859-1D9B-E46E-D79A9DE5E723}"/>
          </ac:spMkLst>
        </pc:spChg>
        <pc:spChg chg="mod">
          <ac:chgData name="Ziegler, Caroline" userId="7a2ac3d3-4568-4cfb-9daa-cf03b385e139" providerId="ADAL" clId="{60EAE1D3-E42C-497A-AADD-8D5694D00A9E}" dt="2024-03-12T16:08:54.375" v="411" actId="165"/>
          <ac:spMkLst>
            <pc:docMk/>
            <pc:sldMk cId="608544505" sldId="265"/>
            <ac:spMk id="29" creationId="{71700FAF-1427-12A7-C3A2-9FA9EA89E246}"/>
          </ac:spMkLst>
        </pc:spChg>
        <pc:spChg chg="mod">
          <ac:chgData name="Ziegler, Caroline" userId="7a2ac3d3-4568-4cfb-9daa-cf03b385e139" providerId="ADAL" clId="{60EAE1D3-E42C-497A-AADD-8D5694D00A9E}" dt="2024-03-12T16:08:54.375" v="411" actId="165"/>
          <ac:spMkLst>
            <pc:docMk/>
            <pc:sldMk cId="608544505" sldId="265"/>
            <ac:spMk id="30" creationId="{7480B081-56B3-D151-C1B9-71064E5D2DB3}"/>
          </ac:spMkLst>
        </pc:spChg>
        <pc:spChg chg="mod">
          <ac:chgData name="Ziegler, Caroline" userId="7a2ac3d3-4568-4cfb-9daa-cf03b385e139" providerId="ADAL" clId="{60EAE1D3-E42C-497A-AADD-8D5694D00A9E}" dt="2024-03-12T16:08:54.375" v="411" actId="165"/>
          <ac:spMkLst>
            <pc:docMk/>
            <pc:sldMk cId="608544505" sldId="265"/>
            <ac:spMk id="31" creationId="{720C1A92-B751-4587-1261-3D00EDE74AB1}"/>
          </ac:spMkLst>
        </pc:spChg>
        <pc:spChg chg="mod">
          <ac:chgData name="Ziegler, Caroline" userId="7a2ac3d3-4568-4cfb-9daa-cf03b385e139" providerId="ADAL" clId="{60EAE1D3-E42C-497A-AADD-8D5694D00A9E}" dt="2024-03-12T16:08:54.375" v="411" actId="165"/>
          <ac:spMkLst>
            <pc:docMk/>
            <pc:sldMk cId="608544505" sldId="265"/>
            <ac:spMk id="32" creationId="{0A0E09C7-EB3F-55E1-1A9F-65190E7E4CAA}"/>
          </ac:spMkLst>
        </pc:spChg>
        <pc:spChg chg="mod">
          <ac:chgData name="Ziegler, Caroline" userId="7a2ac3d3-4568-4cfb-9daa-cf03b385e139" providerId="ADAL" clId="{60EAE1D3-E42C-497A-AADD-8D5694D00A9E}" dt="2024-03-12T16:08:54.375" v="411" actId="165"/>
          <ac:spMkLst>
            <pc:docMk/>
            <pc:sldMk cId="608544505" sldId="265"/>
            <ac:spMk id="33" creationId="{794AD692-468C-1BD4-76BC-EDB149F4FB08}"/>
          </ac:spMkLst>
        </pc:spChg>
        <pc:spChg chg="mod">
          <ac:chgData name="Ziegler, Caroline" userId="7a2ac3d3-4568-4cfb-9daa-cf03b385e139" providerId="ADAL" clId="{60EAE1D3-E42C-497A-AADD-8D5694D00A9E}" dt="2024-03-12T16:08:54.375" v="411" actId="165"/>
          <ac:spMkLst>
            <pc:docMk/>
            <pc:sldMk cId="608544505" sldId="265"/>
            <ac:spMk id="34" creationId="{54967ADD-6CBA-7514-71E7-4DF2C02D43CC}"/>
          </ac:spMkLst>
        </pc:spChg>
        <pc:spChg chg="mod">
          <ac:chgData name="Ziegler, Caroline" userId="7a2ac3d3-4568-4cfb-9daa-cf03b385e139" providerId="ADAL" clId="{60EAE1D3-E42C-497A-AADD-8D5694D00A9E}" dt="2024-03-12T16:08:54.375" v="411" actId="165"/>
          <ac:spMkLst>
            <pc:docMk/>
            <pc:sldMk cId="608544505" sldId="265"/>
            <ac:spMk id="35" creationId="{BA0C484E-7214-7612-57A8-6B050D50E66A}"/>
          </ac:spMkLst>
        </pc:spChg>
        <pc:spChg chg="mod">
          <ac:chgData name="Ziegler, Caroline" userId="7a2ac3d3-4568-4cfb-9daa-cf03b385e139" providerId="ADAL" clId="{60EAE1D3-E42C-497A-AADD-8D5694D00A9E}" dt="2024-03-12T16:08:54.375" v="411" actId="165"/>
          <ac:spMkLst>
            <pc:docMk/>
            <pc:sldMk cId="608544505" sldId="265"/>
            <ac:spMk id="36" creationId="{75977D96-F21A-1542-3F0A-97CE146DF4A1}"/>
          </ac:spMkLst>
        </pc:spChg>
        <pc:spChg chg="add mod topLvl">
          <ac:chgData name="Ziegler, Caroline" userId="7a2ac3d3-4568-4cfb-9daa-cf03b385e139" providerId="ADAL" clId="{60EAE1D3-E42C-497A-AADD-8D5694D00A9E}" dt="2024-03-12T17:07:39.801" v="1262" actId="20577"/>
          <ac:spMkLst>
            <pc:docMk/>
            <pc:sldMk cId="608544505" sldId="265"/>
            <ac:spMk id="37" creationId="{6A26EC3D-BDB0-8E56-5E32-CFAD8ECF2BD0}"/>
          </ac:spMkLst>
        </pc:spChg>
        <pc:spChg chg="add mod topLvl">
          <ac:chgData name="Ziegler, Caroline" userId="7a2ac3d3-4568-4cfb-9daa-cf03b385e139" providerId="ADAL" clId="{60EAE1D3-E42C-497A-AADD-8D5694D00A9E}" dt="2024-03-15T16:44:27.819" v="1455" actId="13926"/>
          <ac:spMkLst>
            <pc:docMk/>
            <pc:sldMk cId="608544505" sldId="265"/>
            <ac:spMk id="38" creationId="{05C40CDF-AB9D-3759-4D46-A2FEE1C66174}"/>
          </ac:spMkLst>
        </pc:spChg>
        <pc:spChg chg="add mod topLvl">
          <ac:chgData name="Ziegler, Caroline" userId="7a2ac3d3-4568-4cfb-9daa-cf03b385e139" providerId="ADAL" clId="{60EAE1D3-E42C-497A-AADD-8D5694D00A9E}" dt="2024-03-12T16:09:15.733" v="442" actId="1036"/>
          <ac:spMkLst>
            <pc:docMk/>
            <pc:sldMk cId="608544505" sldId="265"/>
            <ac:spMk id="39" creationId="{8D591D79-48FE-8121-F995-FFCBDB09EBF8}"/>
          </ac:spMkLst>
        </pc:spChg>
        <pc:spChg chg="add mod topLvl">
          <ac:chgData name="Ziegler, Caroline" userId="7a2ac3d3-4568-4cfb-9daa-cf03b385e139" providerId="ADAL" clId="{60EAE1D3-E42C-497A-AADD-8D5694D00A9E}" dt="2024-03-12T17:07:32.609" v="1260" actId="14100"/>
          <ac:spMkLst>
            <pc:docMk/>
            <pc:sldMk cId="608544505" sldId="265"/>
            <ac:spMk id="40" creationId="{0F4E42AE-6223-1976-3B65-AB7771A74CB7}"/>
          </ac:spMkLst>
        </pc:spChg>
        <pc:spChg chg="add del">
          <ac:chgData name="Ziegler, Caroline" userId="7a2ac3d3-4568-4cfb-9daa-cf03b385e139" providerId="ADAL" clId="{60EAE1D3-E42C-497A-AADD-8D5694D00A9E}" dt="2024-03-12T16:10:37.444" v="481" actId="22"/>
          <ac:spMkLst>
            <pc:docMk/>
            <pc:sldMk cId="608544505" sldId="265"/>
            <ac:spMk id="41" creationId="{2E6A328D-046B-E4A2-BBED-AE43384E0F05}"/>
          </ac:spMkLst>
        </pc:spChg>
        <pc:spChg chg="add del mod modVis">
          <ac:chgData name="Ziegler, Caroline" userId="7a2ac3d3-4568-4cfb-9daa-cf03b385e139" providerId="ADAL" clId="{60EAE1D3-E42C-497A-AADD-8D5694D00A9E}" dt="2024-03-12T16:10:40.513" v="507"/>
          <ac:spMkLst>
            <pc:docMk/>
            <pc:sldMk cId="608544505" sldId="265"/>
            <ac:spMk id="42" creationId="{B8B7ED57-ED5D-4BE5-3861-6B8B9F7F3AAC}"/>
          </ac:spMkLst>
        </pc:spChg>
        <pc:spChg chg="add del mod modVis">
          <ac:chgData name="Ziegler, Caroline" userId="7a2ac3d3-4568-4cfb-9daa-cf03b385e139" providerId="ADAL" clId="{60EAE1D3-E42C-497A-AADD-8D5694D00A9E}" dt="2024-03-12T16:10:41.819" v="549"/>
          <ac:spMkLst>
            <pc:docMk/>
            <pc:sldMk cId="608544505" sldId="265"/>
            <ac:spMk id="44" creationId="{A4C715A7-0F6F-97EC-70D8-6A11ED5A9B98}"/>
          </ac:spMkLst>
        </pc:spChg>
        <pc:grpChg chg="add mod topLvl">
          <ac:chgData name="Ziegler, Caroline" userId="7a2ac3d3-4568-4cfb-9daa-cf03b385e139" providerId="ADAL" clId="{60EAE1D3-E42C-497A-AADD-8D5694D00A9E}" dt="2024-03-12T16:08:54.375" v="411" actId="165"/>
          <ac:grpSpMkLst>
            <pc:docMk/>
            <pc:sldMk cId="608544505" sldId="265"/>
            <ac:grpSpMk id="8" creationId="{666817C0-B038-3876-F09D-DBFD0A822350}"/>
          </ac:grpSpMkLst>
        </pc:grpChg>
        <pc:grpChg chg="mod">
          <ac:chgData name="Ziegler, Caroline" userId="7a2ac3d3-4568-4cfb-9daa-cf03b385e139" providerId="ADAL" clId="{60EAE1D3-E42C-497A-AADD-8D5694D00A9E}" dt="2024-03-12T16:08:54.375" v="411" actId="165"/>
          <ac:grpSpMkLst>
            <pc:docMk/>
            <pc:sldMk cId="608544505" sldId="265"/>
            <ac:grpSpMk id="11" creationId="{987121C8-3BB5-E582-17D3-31CDF78407EF}"/>
          </ac:grpSpMkLst>
        </pc:grpChg>
        <pc:grpChg chg="mod">
          <ac:chgData name="Ziegler, Caroline" userId="7a2ac3d3-4568-4cfb-9daa-cf03b385e139" providerId="ADAL" clId="{60EAE1D3-E42C-497A-AADD-8D5694D00A9E}" dt="2024-03-12T16:08:54.375" v="411" actId="165"/>
          <ac:grpSpMkLst>
            <pc:docMk/>
            <pc:sldMk cId="608544505" sldId="265"/>
            <ac:grpSpMk id="12" creationId="{E2096736-0F94-569C-A42A-FA19296DD431}"/>
          </ac:grpSpMkLst>
        </pc:grpChg>
        <pc:grpChg chg="mod">
          <ac:chgData name="Ziegler, Caroline" userId="7a2ac3d3-4568-4cfb-9daa-cf03b385e139" providerId="ADAL" clId="{60EAE1D3-E42C-497A-AADD-8D5694D00A9E}" dt="2024-03-12T16:08:54.375" v="411" actId="165"/>
          <ac:grpSpMkLst>
            <pc:docMk/>
            <pc:sldMk cId="608544505" sldId="265"/>
            <ac:grpSpMk id="13" creationId="{575AA8DB-6448-FAE3-6024-3831F7B86115}"/>
          </ac:grpSpMkLst>
        </pc:grpChg>
        <pc:grpChg chg="mod">
          <ac:chgData name="Ziegler, Caroline" userId="7a2ac3d3-4568-4cfb-9daa-cf03b385e139" providerId="ADAL" clId="{60EAE1D3-E42C-497A-AADD-8D5694D00A9E}" dt="2024-03-12T16:08:54.375" v="411" actId="165"/>
          <ac:grpSpMkLst>
            <pc:docMk/>
            <pc:sldMk cId="608544505" sldId="265"/>
            <ac:grpSpMk id="14" creationId="{0F2B9E7B-1EDE-B45B-5067-06F0F401001B}"/>
          </ac:grpSpMkLst>
        </pc:grpChg>
        <pc:grpChg chg="add del mod">
          <ac:chgData name="Ziegler, Caroline" userId="7a2ac3d3-4568-4cfb-9daa-cf03b385e139" providerId="ADAL" clId="{60EAE1D3-E42C-497A-AADD-8D5694D00A9E}" dt="2024-03-12T16:08:54.375" v="411" actId="165"/>
          <ac:grpSpMkLst>
            <pc:docMk/>
            <pc:sldMk cId="608544505" sldId="265"/>
            <ac:grpSpMk id="41" creationId="{82BC7020-E179-1184-0540-1A92401D6F50}"/>
          </ac:grpSpMkLst>
        </pc:grpChg>
        <pc:graphicFrameChg chg="add mod ord modVis replST">
          <ac:chgData name="Ziegler, Caroline" userId="7a2ac3d3-4568-4cfb-9daa-cf03b385e139" providerId="ADAL" clId="{60EAE1D3-E42C-497A-AADD-8D5694D00A9E}" dt="2024-03-12T16:10:41.823" v="551"/>
          <ac:graphicFrameMkLst>
            <pc:docMk/>
            <pc:sldMk cId="608544505" sldId="265"/>
            <ac:graphicFrameMk id="43" creationId="{BC7D7C00-2BAE-4A45-B8E1-AB1A2D36F599}"/>
          </ac:graphicFrameMkLst>
        </pc:graphicFrameChg>
        <pc:picChg chg="mod">
          <ac:chgData name="Ziegler, Caroline" userId="7a2ac3d3-4568-4cfb-9daa-cf03b385e139" providerId="ADAL" clId="{60EAE1D3-E42C-497A-AADD-8D5694D00A9E}" dt="2024-03-12T16:08:54.375" v="411" actId="165"/>
          <ac:picMkLst>
            <pc:docMk/>
            <pc:sldMk cId="608544505" sldId="265"/>
            <ac:picMk id="21" creationId="{BDD964E0-1E75-77AE-32E2-6BF2139ECA41}"/>
          </ac:picMkLst>
        </pc:picChg>
        <pc:picChg chg="mod">
          <ac:chgData name="Ziegler, Caroline" userId="7a2ac3d3-4568-4cfb-9daa-cf03b385e139" providerId="ADAL" clId="{60EAE1D3-E42C-497A-AADD-8D5694D00A9E}" dt="2024-03-12T16:08:54.375" v="411" actId="165"/>
          <ac:picMkLst>
            <pc:docMk/>
            <pc:sldMk cId="608544505" sldId="265"/>
            <ac:picMk id="22" creationId="{6D56300B-987A-19C3-4B4F-5272053A3451}"/>
          </ac:picMkLst>
        </pc:picChg>
        <pc:picChg chg="mod">
          <ac:chgData name="Ziegler, Caroline" userId="7a2ac3d3-4568-4cfb-9daa-cf03b385e139" providerId="ADAL" clId="{60EAE1D3-E42C-497A-AADD-8D5694D00A9E}" dt="2024-03-12T16:08:54.375" v="411" actId="165"/>
          <ac:picMkLst>
            <pc:docMk/>
            <pc:sldMk cId="608544505" sldId="265"/>
            <ac:picMk id="23" creationId="{2373A47C-3174-FDEC-4743-C16D4B984BD8}"/>
          </ac:picMkLst>
        </pc:picChg>
        <pc:picChg chg="mod">
          <ac:chgData name="Ziegler, Caroline" userId="7a2ac3d3-4568-4cfb-9daa-cf03b385e139" providerId="ADAL" clId="{60EAE1D3-E42C-497A-AADD-8D5694D00A9E}" dt="2024-03-12T16:08:54.375" v="411" actId="165"/>
          <ac:picMkLst>
            <pc:docMk/>
            <pc:sldMk cId="608544505" sldId="265"/>
            <ac:picMk id="24" creationId="{73C60173-6CA3-EBEE-906B-90A9B094F0AB}"/>
          </ac:picMkLst>
        </pc:picChg>
      </pc:sldChg>
      <pc:sldChg chg="del">
        <pc:chgData name="Ziegler, Caroline" userId="7a2ac3d3-4568-4cfb-9daa-cf03b385e139" providerId="ADAL" clId="{60EAE1D3-E42C-497A-AADD-8D5694D00A9E}" dt="2024-03-06T18:55:03.531" v="31" actId="2696"/>
        <pc:sldMkLst>
          <pc:docMk/>
          <pc:sldMk cId="4263276211" sldId="265"/>
        </pc:sldMkLst>
      </pc:sldChg>
      <pc:sldChg chg="del">
        <pc:chgData name="Ziegler, Caroline" userId="7a2ac3d3-4568-4cfb-9daa-cf03b385e139" providerId="ADAL" clId="{60EAE1D3-E42C-497A-AADD-8D5694D00A9E}" dt="2024-03-06T18:55:03.531" v="31" actId="2696"/>
        <pc:sldMkLst>
          <pc:docMk/>
          <pc:sldMk cId="229147409" sldId="266"/>
        </pc:sldMkLst>
      </pc:sldChg>
      <pc:sldChg chg="addSp delSp modSp new mod">
        <pc:chgData name="Ziegler, Caroline" userId="7a2ac3d3-4568-4cfb-9daa-cf03b385e139" providerId="ADAL" clId="{60EAE1D3-E42C-497A-AADD-8D5694D00A9E}" dt="2024-03-12T16:53:41.006" v="1021"/>
        <pc:sldMkLst>
          <pc:docMk/>
          <pc:sldMk cId="645411130" sldId="266"/>
        </pc:sldMkLst>
        <pc:spChg chg="mod ord">
          <ac:chgData name="Ziegler, Caroline" userId="7a2ac3d3-4568-4cfb-9daa-cf03b385e139" providerId="ADAL" clId="{60EAE1D3-E42C-497A-AADD-8D5694D00A9E}" dt="2024-03-12T16:24:23.884" v="764"/>
          <ac:spMkLst>
            <pc:docMk/>
            <pc:sldMk cId="645411130" sldId="266"/>
            <ac:spMk id="2" creationId="{DFBFED8D-6F52-76E1-F389-73CF04E1121F}"/>
          </ac:spMkLst>
        </pc:spChg>
        <pc:spChg chg="mod ord">
          <ac:chgData name="Ziegler, Caroline" userId="7a2ac3d3-4568-4cfb-9daa-cf03b385e139" providerId="ADAL" clId="{60EAE1D3-E42C-497A-AADD-8D5694D00A9E}" dt="2024-03-12T16:53:40.998" v="1017" actId="948"/>
          <ac:spMkLst>
            <pc:docMk/>
            <pc:sldMk cId="645411130" sldId="266"/>
            <ac:spMk id="3" creationId="{6B5DC49D-055B-FEC5-D101-3C15B6370F8E}"/>
          </ac:spMkLst>
        </pc:spChg>
        <pc:spChg chg="add del mod ord">
          <ac:chgData name="Ziegler, Caroline" userId="7a2ac3d3-4568-4cfb-9daa-cf03b385e139" providerId="ADAL" clId="{60EAE1D3-E42C-497A-AADD-8D5694D00A9E}" dt="2024-03-12T16:25:31.902" v="781" actId="478"/>
          <ac:spMkLst>
            <pc:docMk/>
            <pc:sldMk cId="645411130" sldId="266"/>
            <ac:spMk id="5" creationId="{2A3D2113-F6E5-7FAC-90E9-4373168C6C3C}"/>
          </ac:spMkLst>
        </pc:spChg>
        <pc:graphicFrameChg chg="add mod ord modVis replST">
          <ac:chgData name="Ziegler, Caroline" userId="7a2ac3d3-4568-4cfb-9daa-cf03b385e139" providerId="ADAL" clId="{60EAE1D3-E42C-497A-AADD-8D5694D00A9E}" dt="2024-03-12T16:53:41.006" v="1021"/>
          <ac:graphicFrameMkLst>
            <pc:docMk/>
            <pc:sldMk cId="645411130" sldId="266"/>
            <ac:graphicFrameMk id="4" creationId="{60EA6B0E-0645-193E-FA74-0A204BBCAE99}"/>
          </ac:graphicFrameMkLst>
        </pc:graphicFrameChg>
      </pc:sldChg>
      <pc:sldChg chg="del">
        <pc:chgData name="Ziegler, Caroline" userId="7a2ac3d3-4568-4cfb-9daa-cf03b385e139" providerId="ADAL" clId="{60EAE1D3-E42C-497A-AADD-8D5694D00A9E}" dt="2024-03-06T18:55:03.531" v="31" actId="2696"/>
        <pc:sldMkLst>
          <pc:docMk/>
          <pc:sldMk cId="3177165409" sldId="267"/>
        </pc:sldMkLst>
      </pc:sldChg>
      <pc:sldChg chg="delSp modSp mod">
        <pc:chgData name="Ziegler, Caroline" userId="7a2ac3d3-4568-4cfb-9daa-cf03b385e139" providerId="ADAL" clId="{60EAE1D3-E42C-497A-AADD-8D5694D00A9E}" dt="2024-03-16T17:02:51.728" v="1507" actId="20577"/>
        <pc:sldMkLst>
          <pc:docMk/>
          <pc:sldMk cId="4051930809" sldId="267"/>
        </pc:sldMkLst>
        <pc:spChg chg="del">
          <ac:chgData name="Ziegler, Caroline" userId="7a2ac3d3-4568-4cfb-9daa-cf03b385e139" providerId="ADAL" clId="{60EAE1D3-E42C-497A-AADD-8D5694D00A9E}" dt="2024-03-15T16:45:44.815" v="1475" actId="478"/>
          <ac:spMkLst>
            <pc:docMk/>
            <pc:sldMk cId="4051930809" sldId="267"/>
            <ac:spMk id="5" creationId="{AED9EAB6-9FA2-0A3C-2E70-3AF8C3D581BF}"/>
          </ac:spMkLst>
        </pc:spChg>
        <pc:spChg chg="mod">
          <ac:chgData name="Ziegler, Caroline" userId="7a2ac3d3-4568-4cfb-9daa-cf03b385e139" providerId="ADAL" clId="{60EAE1D3-E42C-497A-AADD-8D5694D00A9E}" dt="2024-03-12T17:00:33.587" v="1253" actId="20577"/>
          <ac:spMkLst>
            <pc:docMk/>
            <pc:sldMk cId="4051930809" sldId="267"/>
            <ac:spMk id="6" creationId="{1D5D9469-6180-5735-9166-22E48B1FA2C6}"/>
          </ac:spMkLst>
        </pc:spChg>
        <pc:spChg chg="mod">
          <ac:chgData name="Ziegler, Caroline" userId="7a2ac3d3-4568-4cfb-9daa-cf03b385e139" providerId="ADAL" clId="{60EAE1D3-E42C-497A-AADD-8D5694D00A9E}" dt="2024-03-12T17:00:13.483" v="1215" actId="20577"/>
          <ac:spMkLst>
            <pc:docMk/>
            <pc:sldMk cId="4051930809" sldId="267"/>
            <ac:spMk id="7" creationId="{C318C474-F6DC-27D1-5EF8-B886A7F62ED7}"/>
          </ac:spMkLst>
        </pc:spChg>
        <pc:spChg chg="mod">
          <ac:chgData name="Ziegler, Caroline" userId="7a2ac3d3-4568-4cfb-9daa-cf03b385e139" providerId="ADAL" clId="{60EAE1D3-E42C-497A-AADD-8D5694D00A9E}" dt="2024-03-16T17:02:29.396" v="1489" actId="20577"/>
          <ac:spMkLst>
            <pc:docMk/>
            <pc:sldMk cId="4051930809" sldId="267"/>
            <ac:spMk id="10" creationId="{0C716443-7B6A-ABB9-F621-D593F96CABDB}"/>
          </ac:spMkLst>
        </pc:spChg>
        <pc:spChg chg="mod">
          <ac:chgData name="Ziegler, Caroline" userId="7a2ac3d3-4568-4cfb-9daa-cf03b385e139" providerId="ADAL" clId="{60EAE1D3-E42C-497A-AADD-8D5694D00A9E}" dt="2024-03-16T17:02:27.277" v="1488" actId="20577"/>
          <ac:spMkLst>
            <pc:docMk/>
            <pc:sldMk cId="4051930809" sldId="267"/>
            <ac:spMk id="12" creationId="{DB5FD6F9-6199-F4CE-6493-5E9EEDD2651A}"/>
          </ac:spMkLst>
        </pc:spChg>
        <pc:spChg chg="mod">
          <ac:chgData name="Ziegler, Caroline" userId="7a2ac3d3-4568-4cfb-9daa-cf03b385e139" providerId="ADAL" clId="{60EAE1D3-E42C-497A-AADD-8D5694D00A9E}" dt="2024-03-16T17:02:44.155" v="1503" actId="20577"/>
          <ac:spMkLst>
            <pc:docMk/>
            <pc:sldMk cId="4051930809" sldId="267"/>
            <ac:spMk id="14" creationId="{5531761B-BFA2-FB5B-AE25-CBA68AC59981}"/>
          </ac:spMkLst>
        </pc:spChg>
        <pc:spChg chg="mod">
          <ac:chgData name="Ziegler, Caroline" userId="7a2ac3d3-4568-4cfb-9daa-cf03b385e139" providerId="ADAL" clId="{60EAE1D3-E42C-497A-AADD-8D5694D00A9E}" dt="2024-03-16T17:02:38.785" v="1496" actId="20577"/>
          <ac:spMkLst>
            <pc:docMk/>
            <pc:sldMk cId="4051930809" sldId="267"/>
            <ac:spMk id="16" creationId="{9839A41A-C41D-FC5D-9512-3AC70C79376A}"/>
          </ac:spMkLst>
        </pc:spChg>
        <pc:spChg chg="mod">
          <ac:chgData name="Ziegler, Caroline" userId="7a2ac3d3-4568-4cfb-9daa-cf03b385e139" providerId="ADAL" clId="{60EAE1D3-E42C-497A-AADD-8D5694D00A9E}" dt="2024-03-16T17:02:51.728" v="1507" actId="20577"/>
          <ac:spMkLst>
            <pc:docMk/>
            <pc:sldMk cId="4051930809" sldId="267"/>
            <ac:spMk id="19" creationId="{BE52B094-299F-D49E-E230-A1E037A2F60E}"/>
          </ac:spMkLst>
        </pc:spChg>
        <pc:spChg chg="mod">
          <ac:chgData name="Ziegler, Caroline" userId="7a2ac3d3-4568-4cfb-9daa-cf03b385e139" providerId="ADAL" clId="{60EAE1D3-E42C-497A-AADD-8D5694D00A9E}" dt="2024-03-16T17:02:02.010" v="1483" actId="255"/>
          <ac:spMkLst>
            <pc:docMk/>
            <pc:sldMk cId="4051930809" sldId="267"/>
            <ac:spMk id="21" creationId="{072183BD-8D2F-CF78-117D-36647121DFF8}"/>
          </ac:spMkLst>
        </pc:spChg>
        <pc:grpChg chg="mod">
          <ac:chgData name="Ziegler, Caroline" userId="7a2ac3d3-4568-4cfb-9daa-cf03b385e139" providerId="ADAL" clId="{60EAE1D3-E42C-497A-AADD-8D5694D00A9E}" dt="2024-03-15T16:45:43.099" v="1474" actId="14100"/>
          <ac:grpSpMkLst>
            <pc:docMk/>
            <pc:sldMk cId="4051930809" sldId="267"/>
            <ac:grpSpMk id="75" creationId="{C290015C-D6DF-1431-AFF1-7A0F0FEEE643}"/>
          </ac:grpSpMkLst>
        </pc:grpChg>
      </pc:sldChg>
      <pc:sldChg chg="del">
        <pc:chgData name="Ziegler, Caroline" userId="7a2ac3d3-4568-4cfb-9daa-cf03b385e139" providerId="ADAL" clId="{60EAE1D3-E42C-497A-AADD-8D5694D00A9E}" dt="2024-03-06T18:55:03.531" v="31" actId="2696"/>
        <pc:sldMkLst>
          <pc:docMk/>
          <pc:sldMk cId="2570802611" sldId="268"/>
        </pc:sldMkLst>
      </pc:sldChg>
      <pc:sldChg chg="del">
        <pc:chgData name="Ziegler, Caroline" userId="7a2ac3d3-4568-4cfb-9daa-cf03b385e139" providerId="ADAL" clId="{60EAE1D3-E42C-497A-AADD-8D5694D00A9E}" dt="2024-03-18T12:32:53.629" v="1508" actId="2696"/>
        <pc:sldMkLst>
          <pc:docMk/>
          <pc:sldMk cId="3410123487" sldId="268"/>
        </pc:sldMkLst>
      </pc:sldChg>
      <pc:sldChg chg="del">
        <pc:chgData name="Ziegler, Caroline" userId="7a2ac3d3-4568-4cfb-9daa-cf03b385e139" providerId="ADAL" clId="{60EAE1D3-E42C-497A-AADD-8D5694D00A9E}" dt="2024-03-06T18:55:03.531" v="31" actId="2696"/>
        <pc:sldMkLst>
          <pc:docMk/>
          <pc:sldMk cId="3668411732" sldId="269"/>
        </pc:sldMkLst>
      </pc:sldChg>
      <pc:sldChg chg="del">
        <pc:chgData name="Ziegler, Caroline" userId="7a2ac3d3-4568-4cfb-9daa-cf03b385e139" providerId="ADAL" clId="{60EAE1D3-E42C-497A-AADD-8D5694D00A9E}" dt="2024-03-06T18:55:03.531" v="31" actId="2696"/>
        <pc:sldMkLst>
          <pc:docMk/>
          <pc:sldMk cId="926839359" sldId="270"/>
        </pc:sldMkLst>
      </pc:sldChg>
      <pc:sldChg chg="del">
        <pc:chgData name="Ziegler, Caroline" userId="7a2ac3d3-4568-4cfb-9daa-cf03b385e139" providerId="ADAL" clId="{60EAE1D3-E42C-497A-AADD-8D5694D00A9E}" dt="2024-03-06T18:55:03.531" v="31" actId="2696"/>
        <pc:sldMkLst>
          <pc:docMk/>
          <pc:sldMk cId="854136999" sldId="271"/>
        </pc:sldMkLst>
      </pc:sldChg>
      <pc:sldChg chg="delSp modSp mod">
        <pc:chgData name="Ziegler, Caroline" userId="7a2ac3d3-4568-4cfb-9daa-cf03b385e139" providerId="ADAL" clId="{60EAE1D3-E42C-497A-AADD-8D5694D00A9E}" dt="2024-03-15T16:45:20.383" v="1472" actId="478"/>
        <pc:sldMkLst>
          <pc:docMk/>
          <pc:sldMk cId="1216228955" sldId="271"/>
        </pc:sldMkLst>
        <pc:spChg chg="del">
          <ac:chgData name="Ziegler, Caroline" userId="7a2ac3d3-4568-4cfb-9daa-cf03b385e139" providerId="ADAL" clId="{60EAE1D3-E42C-497A-AADD-8D5694D00A9E}" dt="2024-03-15T16:45:20.383" v="1472" actId="478"/>
          <ac:spMkLst>
            <pc:docMk/>
            <pc:sldMk cId="1216228955" sldId="271"/>
            <ac:spMk id="5" creationId="{A7E994BB-51CB-ED85-57BA-B1C54214B8CA}"/>
          </ac:spMkLst>
        </pc:spChg>
        <pc:spChg chg="mod">
          <ac:chgData name="Ziegler, Caroline" userId="7a2ac3d3-4568-4cfb-9daa-cf03b385e139" providerId="ADAL" clId="{60EAE1D3-E42C-497A-AADD-8D5694D00A9E}" dt="2024-03-15T16:44:45.816" v="1463" actId="20577"/>
          <ac:spMkLst>
            <pc:docMk/>
            <pc:sldMk cId="1216228955" sldId="271"/>
            <ac:spMk id="8" creationId="{65F48B10-5AF2-0FBF-50F0-C77E82DD3700}"/>
          </ac:spMkLst>
        </pc:spChg>
      </pc:sldChg>
      <pc:sldChg chg="delSp modSp mod">
        <pc:chgData name="Ziegler, Caroline" userId="7a2ac3d3-4568-4cfb-9daa-cf03b385e139" providerId="ADAL" clId="{60EAE1D3-E42C-497A-AADD-8D5694D00A9E}" dt="2024-03-15T16:45:16.688" v="1471" actId="478"/>
        <pc:sldMkLst>
          <pc:docMk/>
          <pc:sldMk cId="1387551283" sldId="272"/>
        </pc:sldMkLst>
        <pc:spChg chg="del">
          <ac:chgData name="Ziegler, Caroline" userId="7a2ac3d3-4568-4cfb-9daa-cf03b385e139" providerId="ADAL" clId="{60EAE1D3-E42C-497A-AADD-8D5694D00A9E}" dt="2024-03-15T16:45:16.688" v="1471" actId="478"/>
          <ac:spMkLst>
            <pc:docMk/>
            <pc:sldMk cId="1387551283" sldId="272"/>
            <ac:spMk id="5" creationId="{A7E994BB-51CB-ED85-57BA-B1C54214B8CA}"/>
          </ac:spMkLst>
        </pc:spChg>
        <pc:spChg chg="mod">
          <ac:chgData name="Ziegler, Caroline" userId="7a2ac3d3-4568-4cfb-9daa-cf03b385e139" providerId="ADAL" clId="{60EAE1D3-E42C-497A-AADD-8D5694D00A9E}" dt="2024-03-15T16:44:51.725" v="1464"/>
          <ac:spMkLst>
            <pc:docMk/>
            <pc:sldMk cId="1387551283" sldId="272"/>
            <ac:spMk id="8" creationId="{65F48B10-5AF2-0FBF-50F0-C77E82DD3700}"/>
          </ac:spMkLst>
        </pc:spChg>
      </pc:sldChg>
      <pc:sldChg chg="del">
        <pc:chgData name="Ziegler, Caroline" userId="7a2ac3d3-4568-4cfb-9daa-cf03b385e139" providerId="ADAL" clId="{60EAE1D3-E42C-497A-AADD-8D5694D00A9E}" dt="2024-03-06T18:55:03.531" v="31" actId="2696"/>
        <pc:sldMkLst>
          <pc:docMk/>
          <pc:sldMk cId="1576523101" sldId="272"/>
        </pc:sldMkLst>
      </pc:sldChg>
      <pc:sldChg chg="del">
        <pc:chgData name="Ziegler, Caroline" userId="7a2ac3d3-4568-4cfb-9daa-cf03b385e139" providerId="ADAL" clId="{60EAE1D3-E42C-497A-AADD-8D5694D00A9E}" dt="2024-03-06T18:55:03.531" v="31" actId="2696"/>
        <pc:sldMkLst>
          <pc:docMk/>
          <pc:sldMk cId="1822607897" sldId="273"/>
        </pc:sldMkLst>
      </pc:sldChg>
      <pc:sldChg chg="delSp modSp mod">
        <pc:chgData name="Ziegler, Caroline" userId="7a2ac3d3-4568-4cfb-9daa-cf03b385e139" providerId="ADAL" clId="{60EAE1D3-E42C-497A-AADD-8D5694D00A9E}" dt="2024-03-15T16:45:13.326" v="1470" actId="478"/>
        <pc:sldMkLst>
          <pc:docMk/>
          <pc:sldMk cId="2816754024" sldId="273"/>
        </pc:sldMkLst>
        <pc:spChg chg="del">
          <ac:chgData name="Ziegler, Caroline" userId="7a2ac3d3-4568-4cfb-9daa-cf03b385e139" providerId="ADAL" clId="{60EAE1D3-E42C-497A-AADD-8D5694D00A9E}" dt="2024-03-15T16:45:13.326" v="1470" actId="478"/>
          <ac:spMkLst>
            <pc:docMk/>
            <pc:sldMk cId="2816754024" sldId="273"/>
            <ac:spMk id="5" creationId="{A7E994BB-51CB-ED85-57BA-B1C54214B8CA}"/>
          </ac:spMkLst>
        </pc:spChg>
        <pc:spChg chg="mod">
          <ac:chgData name="Ziegler, Caroline" userId="7a2ac3d3-4568-4cfb-9daa-cf03b385e139" providerId="ADAL" clId="{60EAE1D3-E42C-497A-AADD-8D5694D00A9E}" dt="2024-03-15T16:44:55.269" v="1465"/>
          <ac:spMkLst>
            <pc:docMk/>
            <pc:sldMk cId="2816754024" sldId="273"/>
            <ac:spMk id="8" creationId="{65F48B10-5AF2-0FBF-50F0-C77E82DD3700}"/>
          </ac:spMkLst>
        </pc:spChg>
      </pc:sldChg>
      <pc:sldChg chg="delSp modSp mod">
        <pc:chgData name="Ziegler, Caroline" userId="7a2ac3d3-4568-4cfb-9daa-cf03b385e139" providerId="ADAL" clId="{60EAE1D3-E42C-497A-AADD-8D5694D00A9E}" dt="2024-03-15T16:45:09.808" v="1469" actId="478"/>
        <pc:sldMkLst>
          <pc:docMk/>
          <pc:sldMk cId="690433356" sldId="274"/>
        </pc:sldMkLst>
        <pc:spChg chg="del">
          <ac:chgData name="Ziegler, Caroline" userId="7a2ac3d3-4568-4cfb-9daa-cf03b385e139" providerId="ADAL" clId="{60EAE1D3-E42C-497A-AADD-8D5694D00A9E}" dt="2024-03-15T16:45:09.808" v="1469" actId="478"/>
          <ac:spMkLst>
            <pc:docMk/>
            <pc:sldMk cId="690433356" sldId="274"/>
            <ac:spMk id="5" creationId="{A7E994BB-51CB-ED85-57BA-B1C54214B8CA}"/>
          </ac:spMkLst>
        </pc:spChg>
        <pc:spChg chg="mod">
          <ac:chgData name="Ziegler, Caroline" userId="7a2ac3d3-4568-4cfb-9daa-cf03b385e139" providerId="ADAL" clId="{60EAE1D3-E42C-497A-AADD-8D5694D00A9E}" dt="2024-03-15T16:44:58.180" v="1466"/>
          <ac:spMkLst>
            <pc:docMk/>
            <pc:sldMk cId="690433356" sldId="274"/>
            <ac:spMk id="8" creationId="{65F48B10-5AF2-0FBF-50F0-C77E82DD3700}"/>
          </ac:spMkLst>
        </pc:spChg>
      </pc:sldChg>
      <pc:sldChg chg="del">
        <pc:chgData name="Ziegler, Caroline" userId="7a2ac3d3-4568-4cfb-9daa-cf03b385e139" providerId="ADAL" clId="{60EAE1D3-E42C-497A-AADD-8D5694D00A9E}" dt="2024-03-06T18:55:03.531" v="31" actId="2696"/>
        <pc:sldMkLst>
          <pc:docMk/>
          <pc:sldMk cId="2625087556" sldId="274"/>
        </pc:sldMkLst>
      </pc:sldChg>
      <pc:sldChg chg="delSp modSp mod">
        <pc:chgData name="Ziegler, Caroline" userId="7a2ac3d3-4568-4cfb-9daa-cf03b385e139" providerId="ADAL" clId="{60EAE1D3-E42C-497A-AADD-8D5694D00A9E}" dt="2024-03-15T16:45:06.111" v="1468" actId="478"/>
        <pc:sldMkLst>
          <pc:docMk/>
          <pc:sldMk cId="2322477323" sldId="275"/>
        </pc:sldMkLst>
        <pc:spChg chg="del">
          <ac:chgData name="Ziegler, Caroline" userId="7a2ac3d3-4568-4cfb-9daa-cf03b385e139" providerId="ADAL" clId="{60EAE1D3-E42C-497A-AADD-8D5694D00A9E}" dt="2024-03-15T16:45:06.111" v="1468" actId="478"/>
          <ac:spMkLst>
            <pc:docMk/>
            <pc:sldMk cId="2322477323" sldId="275"/>
            <ac:spMk id="5" creationId="{A7E994BB-51CB-ED85-57BA-B1C54214B8CA}"/>
          </ac:spMkLst>
        </pc:spChg>
        <pc:spChg chg="mod">
          <ac:chgData name="Ziegler, Caroline" userId="7a2ac3d3-4568-4cfb-9daa-cf03b385e139" providerId="ADAL" clId="{60EAE1D3-E42C-497A-AADD-8D5694D00A9E}" dt="2024-03-15T16:45:01.293" v="1467"/>
          <ac:spMkLst>
            <pc:docMk/>
            <pc:sldMk cId="2322477323" sldId="275"/>
            <ac:spMk id="8" creationId="{65F48B10-5AF2-0FBF-50F0-C77E82DD3700}"/>
          </ac:spMkLst>
        </pc:spChg>
      </pc:sldChg>
      <pc:sldMasterChg chg="modSldLayout">
        <pc:chgData name="Ziegler, Caroline" userId="7a2ac3d3-4568-4cfb-9daa-cf03b385e139" providerId="ADAL" clId="{60EAE1D3-E42C-497A-AADD-8D5694D00A9E}" dt="2024-03-12T16:53:17.360" v="977"/>
        <pc:sldMasterMkLst>
          <pc:docMk/>
          <pc:sldMasterMk cId="1036133541" sldId="2147483648"/>
        </pc:sldMasterMkLst>
        <pc:sldLayoutChg chg="addSp delSp modSp mod">
          <pc:chgData name="Ziegler, Caroline" userId="7a2ac3d3-4568-4cfb-9daa-cf03b385e139" providerId="ADAL" clId="{60EAE1D3-E42C-497A-AADD-8D5694D00A9E}" dt="2024-03-12T16:50:16.247" v="857" actId="732"/>
          <pc:sldLayoutMkLst>
            <pc:docMk/>
            <pc:sldMasterMk cId="1036133541" sldId="2147483648"/>
            <pc:sldLayoutMk cId="2590670157" sldId="2147483650"/>
          </pc:sldLayoutMkLst>
          <pc:spChg chg="mod ord">
            <ac:chgData name="Ziegler, Caroline" userId="7a2ac3d3-4568-4cfb-9daa-cf03b385e139" providerId="ADAL" clId="{60EAE1D3-E42C-497A-AADD-8D5694D00A9E}" dt="2024-03-12T16:50:08.681" v="852"/>
            <ac:spMkLst>
              <pc:docMk/>
              <pc:sldMasterMk cId="1036133541" sldId="2147483648"/>
              <pc:sldLayoutMk cId="2590670157" sldId="2147483650"/>
              <ac:spMk id="2" creationId="{882F4A9F-645D-00B2-194D-2F5FF88D41A2}"/>
            </ac:spMkLst>
          </pc:spChg>
          <pc:spChg chg="mod ord">
            <ac:chgData name="Ziegler, Caroline" userId="7a2ac3d3-4568-4cfb-9daa-cf03b385e139" providerId="ADAL" clId="{60EAE1D3-E42C-497A-AADD-8D5694D00A9E}" dt="2024-03-12T16:50:08.681" v="844"/>
            <ac:spMkLst>
              <pc:docMk/>
              <pc:sldMasterMk cId="1036133541" sldId="2147483648"/>
              <pc:sldLayoutMk cId="2590670157" sldId="2147483650"/>
              <ac:spMk id="3" creationId="{9AF46105-ACFF-68AE-B98D-6D3531D8A6B2}"/>
            </ac:spMkLst>
          </pc:spChg>
          <pc:spChg chg="mod ord">
            <ac:chgData name="Ziegler, Caroline" userId="7a2ac3d3-4568-4cfb-9daa-cf03b385e139" providerId="ADAL" clId="{60EAE1D3-E42C-497A-AADD-8D5694D00A9E}" dt="2024-03-12T16:50:08.681" v="846"/>
            <ac:spMkLst>
              <pc:docMk/>
              <pc:sldMasterMk cId="1036133541" sldId="2147483648"/>
              <pc:sldLayoutMk cId="2590670157" sldId="2147483650"/>
              <ac:spMk id="6" creationId="{9690B3B1-5A71-EDF4-572B-3E76954DB7F9}"/>
            </ac:spMkLst>
          </pc:spChg>
          <pc:spChg chg="mod ord">
            <ac:chgData name="Ziegler, Caroline" userId="7a2ac3d3-4568-4cfb-9daa-cf03b385e139" providerId="ADAL" clId="{60EAE1D3-E42C-497A-AADD-8D5694D00A9E}" dt="2024-03-12T16:50:08.681" v="848"/>
            <ac:spMkLst>
              <pc:docMk/>
              <pc:sldMasterMk cId="1036133541" sldId="2147483648"/>
              <pc:sldLayoutMk cId="2590670157" sldId="2147483650"/>
              <ac:spMk id="18" creationId="{F8454C6A-E48E-69F3-4274-4EA480DEB6EA}"/>
            </ac:spMkLst>
          </pc:spChg>
          <pc:spChg chg="mod ord">
            <ac:chgData name="Ziegler, Caroline" userId="7a2ac3d3-4568-4cfb-9daa-cf03b385e139" providerId="ADAL" clId="{60EAE1D3-E42C-497A-AADD-8D5694D00A9E}" dt="2024-03-12T16:50:08.681" v="850"/>
            <ac:spMkLst>
              <pc:docMk/>
              <pc:sldMasterMk cId="1036133541" sldId="2147483648"/>
              <pc:sldLayoutMk cId="2590670157" sldId="2147483650"/>
              <ac:spMk id="23" creationId="{A82EF064-24B4-61B5-3EBB-BBFB55A00348}"/>
            </ac:spMkLst>
          </pc:spChg>
          <pc:spChg chg="mod ord">
            <ac:chgData name="Ziegler, Caroline" userId="7a2ac3d3-4568-4cfb-9daa-cf03b385e139" providerId="ADAL" clId="{60EAE1D3-E42C-497A-AADD-8D5694D00A9E}" dt="2024-03-12T16:50:08.681" v="842"/>
            <ac:spMkLst>
              <pc:docMk/>
              <pc:sldMasterMk cId="1036133541" sldId="2147483648"/>
              <pc:sldLayoutMk cId="2590670157" sldId="2147483650"/>
              <ac:spMk id="24" creationId="{5E2E3D43-4686-2B74-3833-E96582EA985C}"/>
            </ac:spMkLst>
          </pc:spChg>
          <pc:graphicFrameChg chg="mod">
            <ac:chgData name="Ziegler, Caroline" userId="7a2ac3d3-4568-4cfb-9daa-cf03b385e139" providerId="ADAL" clId="{60EAE1D3-E42C-497A-AADD-8D5694D00A9E}" dt="2024-03-12T16:50:08.681" v="856"/>
            <ac:graphicFrameMkLst>
              <pc:docMk/>
              <pc:sldMasterMk cId="1036133541" sldId="2147483648"/>
              <pc:sldLayoutMk cId="2590670157" sldId="2147483650"/>
              <ac:graphicFrameMk id="8" creationId="{A1110ACD-8753-5AFA-5D05-380FCDA2A1CB}"/>
            </ac:graphicFrameMkLst>
          </pc:graphicFrameChg>
          <pc:picChg chg="add mod ord modCrop">
            <ac:chgData name="Ziegler, Caroline" userId="7a2ac3d3-4568-4cfb-9daa-cf03b385e139" providerId="ADAL" clId="{60EAE1D3-E42C-497A-AADD-8D5694D00A9E}" dt="2024-03-12T16:50:16.247" v="857" actId="732"/>
            <ac:picMkLst>
              <pc:docMk/>
              <pc:sldMasterMk cId="1036133541" sldId="2147483648"/>
              <pc:sldLayoutMk cId="2590670157" sldId="2147483650"/>
              <ac:picMk id="4" creationId="{0F2033BF-1713-27C6-090F-88225F77ABE8}"/>
            </ac:picMkLst>
          </pc:picChg>
          <pc:picChg chg="del">
            <ac:chgData name="Ziegler, Caroline" userId="7a2ac3d3-4568-4cfb-9daa-cf03b385e139" providerId="ADAL" clId="{60EAE1D3-E42C-497A-AADD-8D5694D00A9E}" dt="2024-03-06T18:54:33.097" v="0" actId="478"/>
            <ac:picMkLst>
              <pc:docMk/>
              <pc:sldMasterMk cId="1036133541" sldId="2147483648"/>
              <pc:sldLayoutMk cId="2590670157" sldId="2147483650"/>
              <ac:picMk id="12" creationId="{9542EC24-5A24-914B-CCD2-3E07D718EF78}"/>
            </ac:picMkLst>
          </pc:picChg>
        </pc:sldLayoutChg>
        <pc:sldLayoutChg chg="addSp delSp modSp mod">
          <pc:chgData name="Ziegler, Caroline" userId="7a2ac3d3-4568-4cfb-9daa-cf03b385e139" providerId="ADAL" clId="{60EAE1D3-E42C-497A-AADD-8D5694D00A9E}" dt="2024-03-06T18:58:56.393" v="287"/>
          <pc:sldLayoutMkLst>
            <pc:docMk/>
            <pc:sldMasterMk cId="1036133541" sldId="2147483648"/>
            <pc:sldLayoutMk cId="316545560" sldId="2147483656"/>
          </pc:sldLayoutMkLst>
          <pc:spChg chg="add mod">
            <ac:chgData name="Ziegler, Caroline" userId="7a2ac3d3-4568-4cfb-9daa-cf03b385e139" providerId="ADAL" clId="{60EAE1D3-E42C-497A-AADD-8D5694D00A9E}" dt="2024-03-06T18:58:56.393" v="287"/>
            <ac:spMkLst>
              <pc:docMk/>
              <pc:sldMasterMk cId="1036133541" sldId="2147483648"/>
              <pc:sldLayoutMk cId="316545560" sldId="2147483656"/>
              <ac:spMk id="5" creationId="{11DF0F18-F1DC-A9DC-0C54-46412177CCCB}"/>
            </ac:spMkLst>
          </pc:spChg>
          <pc:spChg chg="del">
            <ac:chgData name="Ziegler, Caroline" userId="7a2ac3d3-4568-4cfb-9daa-cf03b385e139" providerId="ADAL" clId="{60EAE1D3-E42C-497A-AADD-8D5694D00A9E}" dt="2024-03-06T18:58:55.803" v="286" actId="478"/>
            <ac:spMkLst>
              <pc:docMk/>
              <pc:sldMasterMk cId="1036133541" sldId="2147483648"/>
              <pc:sldLayoutMk cId="316545560" sldId="2147483656"/>
              <ac:spMk id="7" creationId="{953B8E57-C24C-8B81-7B2B-BE66B637D715}"/>
            </ac:spMkLst>
          </pc:spChg>
        </pc:sldLayoutChg>
        <pc:sldLayoutChg chg="addSp delSp modSp mod">
          <pc:chgData name="Ziegler, Caroline" userId="7a2ac3d3-4568-4cfb-9daa-cf03b385e139" providerId="ADAL" clId="{60EAE1D3-E42C-497A-AADD-8D5694D00A9E}" dt="2024-03-06T18:59:01.051" v="289"/>
          <pc:sldLayoutMkLst>
            <pc:docMk/>
            <pc:sldMasterMk cId="1036133541" sldId="2147483648"/>
            <pc:sldLayoutMk cId="314511774" sldId="2147483657"/>
          </pc:sldLayoutMkLst>
          <pc:spChg chg="add mod">
            <ac:chgData name="Ziegler, Caroline" userId="7a2ac3d3-4568-4cfb-9daa-cf03b385e139" providerId="ADAL" clId="{60EAE1D3-E42C-497A-AADD-8D5694D00A9E}" dt="2024-03-06T18:59:01.051" v="289"/>
            <ac:spMkLst>
              <pc:docMk/>
              <pc:sldMasterMk cId="1036133541" sldId="2147483648"/>
              <pc:sldLayoutMk cId="314511774" sldId="2147483657"/>
              <ac:spMk id="7" creationId="{25FBECD0-E1AF-9F85-965A-73ED21C14B76}"/>
            </ac:spMkLst>
          </pc:spChg>
          <pc:spChg chg="del">
            <ac:chgData name="Ziegler, Caroline" userId="7a2ac3d3-4568-4cfb-9daa-cf03b385e139" providerId="ADAL" clId="{60EAE1D3-E42C-497A-AADD-8D5694D00A9E}" dt="2024-03-06T18:59:00.552" v="288" actId="478"/>
            <ac:spMkLst>
              <pc:docMk/>
              <pc:sldMasterMk cId="1036133541" sldId="2147483648"/>
              <pc:sldLayoutMk cId="314511774" sldId="2147483657"/>
              <ac:spMk id="10" creationId="{F6981F0D-5D11-4467-C690-F33233E96BD7}"/>
            </ac:spMkLst>
          </pc:spChg>
        </pc:sldLayoutChg>
        <pc:sldLayoutChg chg="addSp delSp modSp mod">
          <pc:chgData name="Ziegler, Caroline" userId="7a2ac3d3-4568-4cfb-9daa-cf03b385e139" providerId="ADAL" clId="{60EAE1D3-E42C-497A-AADD-8D5694D00A9E}" dt="2024-03-06T18:59:06.194" v="291"/>
          <pc:sldLayoutMkLst>
            <pc:docMk/>
            <pc:sldMasterMk cId="1036133541" sldId="2147483648"/>
            <pc:sldLayoutMk cId="92221291" sldId="2147483658"/>
          </pc:sldLayoutMkLst>
          <pc:spChg chg="add mod">
            <ac:chgData name="Ziegler, Caroline" userId="7a2ac3d3-4568-4cfb-9daa-cf03b385e139" providerId="ADAL" clId="{60EAE1D3-E42C-497A-AADD-8D5694D00A9E}" dt="2024-03-06T18:59:06.194" v="291"/>
            <ac:spMkLst>
              <pc:docMk/>
              <pc:sldMasterMk cId="1036133541" sldId="2147483648"/>
              <pc:sldLayoutMk cId="92221291" sldId="2147483658"/>
              <ac:spMk id="5" creationId="{807BE3DB-D01F-E6E1-4BB1-6FC0FA3C4FDA}"/>
            </ac:spMkLst>
          </pc:spChg>
          <pc:spChg chg="del">
            <ac:chgData name="Ziegler, Caroline" userId="7a2ac3d3-4568-4cfb-9daa-cf03b385e139" providerId="ADAL" clId="{60EAE1D3-E42C-497A-AADD-8D5694D00A9E}" dt="2024-03-06T18:59:05.670" v="290" actId="478"/>
            <ac:spMkLst>
              <pc:docMk/>
              <pc:sldMasterMk cId="1036133541" sldId="2147483648"/>
              <pc:sldLayoutMk cId="92221291" sldId="2147483658"/>
              <ac:spMk id="9" creationId="{16120A1E-8FBD-F050-9626-88FBDBAC0A28}"/>
            </ac:spMkLst>
          </pc:spChg>
        </pc:sldLayoutChg>
        <pc:sldLayoutChg chg="addSp delSp modSp mod">
          <pc:chgData name="Ziegler, Caroline" userId="7a2ac3d3-4568-4cfb-9daa-cf03b385e139" providerId="ADAL" clId="{60EAE1D3-E42C-497A-AADD-8D5694D00A9E}" dt="2024-03-06T18:58:49.550" v="285"/>
          <pc:sldLayoutMkLst>
            <pc:docMk/>
            <pc:sldMasterMk cId="1036133541" sldId="2147483648"/>
            <pc:sldLayoutMk cId="2528973106" sldId="2147483659"/>
          </pc:sldLayoutMkLst>
          <pc:spChg chg="add mod">
            <ac:chgData name="Ziegler, Caroline" userId="7a2ac3d3-4568-4cfb-9daa-cf03b385e139" providerId="ADAL" clId="{60EAE1D3-E42C-497A-AADD-8D5694D00A9E}" dt="2024-03-06T18:58:49.550" v="285"/>
            <ac:spMkLst>
              <pc:docMk/>
              <pc:sldMasterMk cId="1036133541" sldId="2147483648"/>
              <pc:sldLayoutMk cId="2528973106" sldId="2147483659"/>
              <ac:spMk id="4" creationId="{E246104B-B5C8-BE6A-6172-F173A3A03D08}"/>
            </ac:spMkLst>
          </pc:spChg>
          <pc:spChg chg="del">
            <ac:chgData name="Ziegler, Caroline" userId="7a2ac3d3-4568-4cfb-9daa-cf03b385e139" providerId="ADAL" clId="{60EAE1D3-E42C-497A-AADD-8D5694D00A9E}" dt="2024-03-06T18:58:49.086" v="284" actId="478"/>
            <ac:spMkLst>
              <pc:docMk/>
              <pc:sldMasterMk cId="1036133541" sldId="2147483648"/>
              <pc:sldLayoutMk cId="2528973106" sldId="2147483659"/>
              <ac:spMk id="18" creationId="{F8454C6A-E48E-69F3-4274-4EA480DEB6EA}"/>
            </ac:spMkLst>
          </pc:spChg>
        </pc:sldLayoutChg>
        <pc:sldLayoutChg chg="addSp delSp modSp mod">
          <pc:chgData name="Ziegler, Caroline" userId="7a2ac3d3-4568-4cfb-9daa-cf03b385e139" providerId="ADAL" clId="{60EAE1D3-E42C-497A-AADD-8D5694D00A9E}" dt="2024-03-06T18:59:10.399" v="293"/>
          <pc:sldLayoutMkLst>
            <pc:docMk/>
            <pc:sldMasterMk cId="1036133541" sldId="2147483648"/>
            <pc:sldLayoutMk cId="111818684" sldId="2147483660"/>
          </pc:sldLayoutMkLst>
          <pc:spChg chg="add mod">
            <ac:chgData name="Ziegler, Caroline" userId="7a2ac3d3-4568-4cfb-9daa-cf03b385e139" providerId="ADAL" clId="{60EAE1D3-E42C-497A-AADD-8D5694D00A9E}" dt="2024-03-06T18:59:10.399" v="293"/>
            <ac:spMkLst>
              <pc:docMk/>
              <pc:sldMasterMk cId="1036133541" sldId="2147483648"/>
              <pc:sldLayoutMk cId="111818684" sldId="2147483660"/>
              <ac:spMk id="5" creationId="{18F16F76-5F4D-44AF-956B-3A378BB40C2A}"/>
            </ac:spMkLst>
          </pc:spChg>
          <pc:spChg chg="del">
            <ac:chgData name="Ziegler, Caroline" userId="7a2ac3d3-4568-4cfb-9daa-cf03b385e139" providerId="ADAL" clId="{60EAE1D3-E42C-497A-AADD-8D5694D00A9E}" dt="2024-03-06T18:59:09.900" v="292" actId="478"/>
            <ac:spMkLst>
              <pc:docMk/>
              <pc:sldMasterMk cId="1036133541" sldId="2147483648"/>
              <pc:sldLayoutMk cId="111818684" sldId="2147483660"/>
              <ac:spMk id="9" creationId="{16120A1E-8FBD-F050-9626-88FBDBAC0A28}"/>
            </ac:spMkLst>
          </pc:spChg>
        </pc:sldLayoutChg>
        <pc:sldLayoutChg chg="addSp delSp modSp mod">
          <pc:chgData name="Ziegler, Caroline" userId="7a2ac3d3-4568-4cfb-9daa-cf03b385e139" providerId="ADAL" clId="{60EAE1D3-E42C-497A-AADD-8D5694D00A9E}" dt="2024-03-12T16:53:17.360" v="977"/>
          <pc:sldLayoutMkLst>
            <pc:docMk/>
            <pc:sldMasterMk cId="1036133541" sldId="2147483648"/>
            <pc:sldLayoutMk cId="1520545431" sldId="2147483661"/>
          </pc:sldLayoutMkLst>
          <pc:spChg chg="mod ord">
            <ac:chgData name="Ziegler, Caroline" userId="7a2ac3d3-4568-4cfb-9daa-cf03b385e139" providerId="ADAL" clId="{60EAE1D3-E42C-497A-AADD-8D5694D00A9E}" dt="2024-03-12T16:53:17.345" v="973" actId="948"/>
            <ac:spMkLst>
              <pc:docMk/>
              <pc:sldMasterMk cId="1036133541" sldId="2147483648"/>
              <pc:sldLayoutMk cId="1520545431" sldId="2147483661"/>
              <ac:spMk id="2" creationId="{882F4A9F-645D-00B2-194D-2F5FF88D41A2}"/>
            </ac:spMkLst>
          </pc:spChg>
          <pc:spChg chg="add mod ord">
            <ac:chgData name="Ziegler, Caroline" userId="7a2ac3d3-4568-4cfb-9daa-cf03b385e139" providerId="ADAL" clId="{60EAE1D3-E42C-497A-AADD-8D5694D00A9E}" dt="2024-03-12T16:53:02.074" v="964"/>
            <ac:spMkLst>
              <pc:docMk/>
              <pc:sldMasterMk cId="1036133541" sldId="2147483648"/>
              <pc:sldLayoutMk cId="1520545431" sldId="2147483661"/>
              <ac:spMk id="3" creationId="{477C26F8-D2D8-2F5D-EEE9-060D4DBA2CF4}"/>
            </ac:spMkLst>
          </pc:spChg>
          <pc:spChg chg="mod ord">
            <ac:chgData name="Ziegler, Caroline" userId="7a2ac3d3-4568-4cfb-9daa-cf03b385e139" providerId="ADAL" clId="{60EAE1D3-E42C-497A-AADD-8D5694D00A9E}" dt="2024-03-12T16:53:02.073" v="960"/>
            <ac:spMkLst>
              <pc:docMk/>
              <pc:sldMasterMk cId="1036133541" sldId="2147483648"/>
              <pc:sldLayoutMk cId="1520545431" sldId="2147483661"/>
              <ac:spMk id="6" creationId="{9690B3B1-5A71-EDF4-572B-3E76954DB7F9}"/>
            </ac:spMkLst>
          </pc:spChg>
          <pc:spChg chg="add mod ord">
            <ac:chgData name="Ziegler, Caroline" userId="7a2ac3d3-4568-4cfb-9daa-cf03b385e139" providerId="ADAL" clId="{60EAE1D3-E42C-497A-AADD-8D5694D00A9E}" dt="2024-03-12T16:53:07.239" v="971" actId="1076"/>
            <ac:spMkLst>
              <pc:docMk/>
              <pc:sldMasterMk cId="1036133541" sldId="2147483648"/>
              <pc:sldLayoutMk cId="1520545431" sldId="2147483661"/>
              <ac:spMk id="7" creationId="{AF645100-2D52-9E48-0E16-AA5A8230BAC9}"/>
            </ac:spMkLst>
          </pc:spChg>
          <pc:spChg chg="del">
            <ac:chgData name="Ziegler, Caroline" userId="7a2ac3d3-4568-4cfb-9daa-cf03b385e139" providerId="ADAL" clId="{60EAE1D3-E42C-497A-AADD-8D5694D00A9E}" dt="2024-03-06T18:58:44.483" v="282" actId="478"/>
            <ac:spMkLst>
              <pc:docMk/>
              <pc:sldMasterMk cId="1036133541" sldId="2147483648"/>
              <pc:sldLayoutMk cId="1520545431" sldId="2147483661"/>
              <ac:spMk id="18" creationId="{F8454C6A-E48E-69F3-4274-4EA480DEB6EA}"/>
            </ac:spMkLst>
          </pc:spChg>
          <pc:graphicFrameChg chg="mod">
            <ac:chgData name="Ziegler, Caroline" userId="7a2ac3d3-4568-4cfb-9daa-cf03b385e139" providerId="ADAL" clId="{60EAE1D3-E42C-497A-AADD-8D5694D00A9E}" dt="2024-03-12T16:53:17.360" v="977"/>
            <ac:graphicFrameMkLst>
              <pc:docMk/>
              <pc:sldMasterMk cId="1036133541" sldId="2147483648"/>
              <pc:sldLayoutMk cId="1520545431" sldId="2147483661"/>
              <ac:graphicFrameMk id="8" creationId="{A1110ACD-8753-5AFA-5D05-380FCDA2A1CB}"/>
            </ac:graphicFrameMkLst>
          </pc:graphicFrameChg>
          <pc:picChg chg="add del mod">
            <ac:chgData name="Ziegler, Caroline" userId="7a2ac3d3-4568-4cfb-9daa-cf03b385e139" providerId="ADAL" clId="{60EAE1D3-E42C-497A-AADD-8D5694D00A9E}" dt="2024-03-12T16:50:34.286" v="860" actId="478"/>
            <ac:picMkLst>
              <pc:docMk/>
              <pc:sldMasterMk cId="1036133541" sldId="2147483648"/>
              <pc:sldLayoutMk cId="1520545431" sldId="2147483661"/>
              <ac:picMk id="4" creationId="{6A1B940A-3EC1-CC27-97AD-FF4039EA6CC0}"/>
            </ac:picMkLst>
          </pc:picChg>
          <pc:picChg chg="add mod ord modCrop">
            <ac:chgData name="Ziegler, Caroline" userId="7a2ac3d3-4568-4cfb-9daa-cf03b385e139" providerId="ADAL" clId="{60EAE1D3-E42C-497A-AADD-8D5694D00A9E}" dt="2024-03-12T16:53:02.072" v="958"/>
            <ac:picMkLst>
              <pc:docMk/>
              <pc:sldMasterMk cId="1036133541" sldId="2147483648"/>
              <pc:sldLayoutMk cId="1520545431" sldId="2147483661"/>
              <ac:picMk id="5" creationId="{DF486FB7-2AF4-A23F-34BB-3E587C00EE63}"/>
            </ac:picMkLst>
          </pc:picChg>
          <pc:picChg chg="del">
            <ac:chgData name="Ziegler, Caroline" userId="7a2ac3d3-4568-4cfb-9daa-cf03b385e139" providerId="ADAL" clId="{60EAE1D3-E42C-497A-AADD-8D5694D00A9E}" dt="2024-03-06T18:54:43.231" v="11" actId="478"/>
            <ac:picMkLst>
              <pc:docMk/>
              <pc:sldMasterMk cId="1036133541" sldId="2147483648"/>
              <pc:sldLayoutMk cId="1520545431" sldId="2147483661"/>
              <ac:picMk id="12" creationId="{9542EC24-5A24-914B-CCD2-3E07D718EF78}"/>
            </ac:picMkLst>
          </pc:picChg>
        </pc:sldLayoutChg>
      </pc:sldMasterChg>
    </pc:docChg>
  </pc:docChgLst>
  <pc:docChgLst>
    <pc:chgData name="Gaycken, Sebastian" userId="291cd8f8-a359-4433-bdc4-a84d4092b045" providerId="ADAL" clId="{32A7B533-D5A4-4B45-98CD-6530035A6CE0}"/>
    <pc:docChg chg="undo custSel addSld modSld">
      <pc:chgData name="Gaycken, Sebastian" userId="291cd8f8-a359-4433-bdc4-a84d4092b045" providerId="ADAL" clId="{32A7B533-D5A4-4B45-98CD-6530035A6CE0}" dt="2024-03-19T12:11:37.143" v="319" actId="478"/>
      <pc:docMkLst>
        <pc:docMk/>
      </pc:docMkLst>
      <pc:sldChg chg="addSp delSp modSp mod">
        <pc:chgData name="Gaycken, Sebastian" userId="291cd8f8-a359-4433-bdc4-a84d4092b045" providerId="ADAL" clId="{32A7B533-D5A4-4B45-98CD-6530035A6CE0}" dt="2024-03-16T16:55:51.452" v="273" actId="478"/>
        <pc:sldMkLst>
          <pc:docMk/>
          <pc:sldMk cId="3810020212" sldId="257"/>
        </pc:sldMkLst>
        <pc:spChg chg="mod">
          <ac:chgData name="Gaycken, Sebastian" userId="291cd8f8-a359-4433-bdc4-a84d4092b045" providerId="ADAL" clId="{32A7B533-D5A4-4B45-98CD-6530035A6CE0}" dt="2024-03-16T16:44:22.613" v="128"/>
          <ac:spMkLst>
            <pc:docMk/>
            <pc:sldMk cId="3810020212" sldId="257"/>
            <ac:spMk id="10" creationId="{1F8F6472-69D6-5E3E-5834-26D772E99C1D}"/>
          </ac:spMkLst>
        </pc:spChg>
        <pc:spChg chg="mod">
          <ac:chgData name="Gaycken, Sebastian" userId="291cd8f8-a359-4433-bdc4-a84d4092b045" providerId="ADAL" clId="{32A7B533-D5A4-4B45-98CD-6530035A6CE0}" dt="2024-03-16T16:55:34.864" v="272" actId="20577"/>
          <ac:spMkLst>
            <pc:docMk/>
            <pc:sldMk cId="3810020212" sldId="257"/>
            <ac:spMk id="12" creationId="{35ADEFE0-151E-CF6A-4358-3091DEAEF96B}"/>
          </ac:spMkLst>
        </pc:spChg>
        <pc:spChg chg="add del mod">
          <ac:chgData name="Gaycken, Sebastian" userId="291cd8f8-a359-4433-bdc4-a84d4092b045" providerId="ADAL" clId="{32A7B533-D5A4-4B45-98CD-6530035A6CE0}" dt="2024-03-16T16:55:51.452" v="273" actId="478"/>
          <ac:spMkLst>
            <pc:docMk/>
            <pc:sldMk cId="3810020212" sldId="257"/>
            <ac:spMk id="15" creationId="{7A85255B-872D-4B67-6E11-D9FD609D6A94}"/>
          </ac:spMkLst>
        </pc:spChg>
      </pc:sldChg>
      <pc:sldChg chg="addSp delSp mod">
        <pc:chgData name="Gaycken, Sebastian" userId="291cd8f8-a359-4433-bdc4-a84d4092b045" providerId="ADAL" clId="{32A7B533-D5A4-4B45-98CD-6530035A6CE0}" dt="2024-03-12T16:08:48.365" v="1" actId="478"/>
        <pc:sldMkLst>
          <pc:docMk/>
          <pc:sldMk cId="3953730481" sldId="261"/>
        </pc:sldMkLst>
        <pc:spChg chg="add del">
          <ac:chgData name="Gaycken, Sebastian" userId="291cd8f8-a359-4433-bdc4-a84d4092b045" providerId="ADAL" clId="{32A7B533-D5A4-4B45-98CD-6530035A6CE0}" dt="2024-03-12T16:08:48.365" v="1" actId="478"/>
          <ac:spMkLst>
            <pc:docMk/>
            <pc:sldMk cId="3953730481" sldId="261"/>
            <ac:spMk id="9" creationId="{FE9D082A-A541-9761-A741-43D133AFF6D2}"/>
          </ac:spMkLst>
        </pc:spChg>
      </pc:sldChg>
      <pc:sldChg chg="modSp mod">
        <pc:chgData name="Gaycken, Sebastian" userId="291cd8f8-a359-4433-bdc4-a84d4092b045" providerId="ADAL" clId="{32A7B533-D5A4-4B45-98CD-6530035A6CE0}" dt="2024-03-16T16:46:38.889" v="132" actId="115"/>
        <pc:sldMkLst>
          <pc:docMk/>
          <pc:sldMk cId="4051930809" sldId="267"/>
        </pc:sldMkLst>
        <pc:spChg chg="mod">
          <ac:chgData name="Gaycken, Sebastian" userId="291cd8f8-a359-4433-bdc4-a84d4092b045" providerId="ADAL" clId="{32A7B533-D5A4-4B45-98CD-6530035A6CE0}" dt="2024-03-16T16:46:38.889" v="132" actId="115"/>
          <ac:spMkLst>
            <pc:docMk/>
            <pc:sldMk cId="4051930809" sldId="267"/>
            <ac:spMk id="14" creationId="{5531761B-BFA2-FB5B-AE25-CBA68AC59981}"/>
          </ac:spMkLst>
        </pc:spChg>
      </pc:sldChg>
      <pc:sldChg chg="addSp delSp modSp new mod">
        <pc:chgData name="Gaycken, Sebastian" userId="291cd8f8-a359-4433-bdc4-a84d4092b045" providerId="ADAL" clId="{32A7B533-D5A4-4B45-98CD-6530035A6CE0}" dt="2024-03-12T17:04:52.806" v="61"/>
        <pc:sldMkLst>
          <pc:docMk/>
          <pc:sldMk cId="3410123487" sldId="268"/>
        </pc:sldMkLst>
        <pc:spChg chg="del">
          <ac:chgData name="Gaycken, Sebastian" userId="291cd8f8-a359-4433-bdc4-a84d4092b045" providerId="ADAL" clId="{32A7B533-D5A4-4B45-98CD-6530035A6CE0}" dt="2024-03-12T16:55:21.048" v="3" actId="478"/>
          <ac:spMkLst>
            <pc:docMk/>
            <pc:sldMk cId="3410123487" sldId="268"/>
            <ac:spMk id="2" creationId="{F1974870-AC98-EB36-A66E-E34E000B5CA2}"/>
          </ac:spMkLst>
        </pc:spChg>
        <pc:spChg chg="del">
          <ac:chgData name="Gaycken, Sebastian" userId="291cd8f8-a359-4433-bdc4-a84d4092b045" providerId="ADAL" clId="{32A7B533-D5A4-4B45-98CD-6530035A6CE0}" dt="2024-03-12T16:55:21.048" v="3" actId="478"/>
          <ac:spMkLst>
            <pc:docMk/>
            <pc:sldMk cId="3410123487" sldId="268"/>
            <ac:spMk id="3" creationId="{0B6A38FC-0A2F-3954-0BF4-86B5B62AEA01}"/>
          </ac:spMkLst>
        </pc:spChg>
        <pc:spChg chg="del">
          <ac:chgData name="Gaycken, Sebastian" userId="291cd8f8-a359-4433-bdc4-a84d4092b045" providerId="ADAL" clId="{32A7B533-D5A4-4B45-98CD-6530035A6CE0}" dt="2024-03-12T16:55:21.048" v="3" actId="478"/>
          <ac:spMkLst>
            <pc:docMk/>
            <pc:sldMk cId="3410123487" sldId="268"/>
            <ac:spMk id="5" creationId="{D672155D-C2D9-B203-DC6F-9FEF3BC43F0A}"/>
          </ac:spMkLst>
        </pc:spChg>
        <pc:spChg chg="del">
          <ac:chgData name="Gaycken, Sebastian" userId="291cd8f8-a359-4433-bdc4-a84d4092b045" providerId="ADAL" clId="{32A7B533-D5A4-4B45-98CD-6530035A6CE0}" dt="2024-03-12T16:55:21.048" v="3" actId="478"/>
          <ac:spMkLst>
            <pc:docMk/>
            <pc:sldMk cId="3410123487" sldId="268"/>
            <ac:spMk id="6" creationId="{2CF901F5-AEC3-5A98-4267-664AAB91AF88}"/>
          </ac:spMkLst>
        </pc:spChg>
        <pc:spChg chg="del">
          <ac:chgData name="Gaycken, Sebastian" userId="291cd8f8-a359-4433-bdc4-a84d4092b045" providerId="ADAL" clId="{32A7B533-D5A4-4B45-98CD-6530035A6CE0}" dt="2024-03-12T16:55:21.048" v="3" actId="478"/>
          <ac:spMkLst>
            <pc:docMk/>
            <pc:sldMk cId="3410123487" sldId="268"/>
            <ac:spMk id="7" creationId="{142B1EA8-388B-FD13-09E3-C408A5339D69}"/>
          </ac:spMkLst>
        </pc:spChg>
        <pc:spChg chg="add mod">
          <ac:chgData name="Gaycken, Sebastian" userId="291cd8f8-a359-4433-bdc4-a84d4092b045" providerId="ADAL" clId="{32A7B533-D5A4-4B45-98CD-6530035A6CE0}" dt="2024-03-12T16:57:08.052" v="16" actId="1076"/>
          <ac:spMkLst>
            <pc:docMk/>
            <pc:sldMk cId="3410123487" sldId="268"/>
            <ac:spMk id="8" creationId="{61BDB50D-085E-4D4F-3AFB-D9865C99FCBB}"/>
          </ac:spMkLst>
        </pc:spChg>
        <pc:spChg chg="add mod">
          <ac:chgData name="Gaycken, Sebastian" userId="291cd8f8-a359-4433-bdc4-a84d4092b045" providerId="ADAL" clId="{32A7B533-D5A4-4B45-98CD-6530035A6CE0}" dt="2024-03-12T16:57:21.137" v="19"/>
          <ac:spMkLst>
            <pc:docMk/>
            <pc:sldMk cId="3410123487" sldId="268"/>
            <ac:spMk id="9" creationId="{8A011BFC-A164-CCBB-E0B4-95ACDA4618D9}"/>
          </ac:spMkLst>
        </pc:spChg>
        <pc:spChg chg="add mod">
          <ac:chgData name="Gaycken, Sebastian" userId="291cd8f8-a359-4433-bdc4-a84d4092b045" providerId="ADAL" clId="{32A7B533-D5A4-4B45-98CD-6530035A6CE0}" dt="2024-03-12T16:57:08.052" v="16" actId="1076"/>
          <ac:spMkLst>
            <pc:docMk/>
            <pc:sldMk cId="3410123487" sldId="268"/>
            <ac:spMk id="10" creationId="{62676236-C036-4606-D67F-68E31A702699}"/>
          </ac:spMkLst>
        </pc:spChg>
        <pc:spChg chg="add mod">
          <ac:chgData name="Gaycken, Sebastian" userId="291cd8f8-a359-4433-bdc4-a84d4092b045" providerId="ADAL" clId="{32A7B533-D5A4-4B45-98CD-6530035A6CE0}" dt="2024-03-12T17:04:36.896" v="59"/>
          <ac:spMkLst>
            <pc:docMk/>
            <pc:sldMk cId="3410123487" sldId="268"/>
            <ac:spMk id="11" creationId="{D5486C8D-4CF4-BE18-29B3-8572CBBF3E14}"/>
          </ac:spMkLst>
        </pc:spChg>
        <pc:spChg chg="add mod">
          <ac:chgData name="Gaycken, Sebastian" userId="291cd8f8-a359-4433-bdc4-a84d4092b045" providerId="ADAL" clId="{32A7B533-D5A4-4B45-98CD-6530035A6CE0}" dt="2024-03-12T16:58:23.052" v="33" actId="6549"/>
          <ac:spMkLst>
            <pc:docMk/>
            <pc:sldMk cId="3410123487" sldId="268"/>
            <ac:spMk id="12" creationId="{9DEFD419-AC54-D46D-C1F1-174D655E7277}"/>
          </ac:spMkLst>
        </pc:spChg>
        <pc:spChg chg="add mod">
          <ac:chgData name="Gaycken, Sebastian" userId="291cd8f8-a359-4433-bdc4-a84d4092b045" providerId="ADAL" clId="{32A7B533-D5A4-4B45-98CD-6530035A6CE0}" dt="2024-03-12T17:04:52.806" v="61"/>
          <ac:spMkLst>
            <pc:docMk/>
            <pc:sldMk cId="3410123487" sldId="268"/>
            <ac:spMk id="13" creationId="{6720F4F4-59A7-8AD1-F344-D39F38DFB8AD}"/>
          </ac:spMkLst>
        </pc:spChg>
        <pc:spChg chg="add mod">
          <ac:chgData name="Gaycken, Sebastian" userId="291cd8f8-a359-4433-bdc4-a84d4092b045" providerId="ADAL" clId="{32A7B533-D5A4-4B45-98CD-6530035A6CE0}" dt="2024-03-12T16:59:25.208" v="44" actId="207"/>
          <ac:spMkLst>
            <pc:docMk/>
            <pc:sldMk cId="3410123487" sldId="268"/>
            <ac:spMk id="14" creationId="{A26DF81C-37A0-1D02-C637-D6038B121B26}"/>
          </ac:spMkLst>
        </pc:spChg>
        <pc:spChg chg="add mod">
          <ac:chgData name="Gaycken, Sebastian" userId="291cd8f8-a359-4433-bdc4-a84d4092b045" providerId="ADAL" clId="{32A7B533-D5A4-4B45-98CD-6530035A6CE0}" dt="2024-03-12T16:59:48.851" v="49" actId="207"/>
          <ac:spMkLst>
            <pc:docMk/>
            <pc:sldMk cId="3410123487" sldId="268"/>
            <ac:spMk id="15" creationId="{EDC9C638-6B0E-6F04-C909-828D7DDA13A9}"/>
          </ac:spMkLst>
        </pc:spChg>
        <pc:spChg chg="add mod">
          <ac:chgData name="Gaycken, Sebastian" userId="291cd8f8-a359-4433-bdc4-a84d4092b045" providerId="ADAL" clId="{32A7B533-D5A4-4B45-98CD-6530035A6CE0}" dt="2024-03-12T17:00:05.665" v="53"/>
          <ac:spMkLst>
            <pc:docMk/>
            <pc:sldMk cId="3410123487" sldId="268"/>
            <ac:spMk id="16" creationId="{AE6AECF0-D717-B6A1-9198-57932507A7B3}"/>
          </ac:spMkLst>
        </pc:spChg>
        <pc:spChg chg="add mod">
          <ac:chgData name="Gaycken, Sebastian" userId="291cd8f8-a359-4433-bdc4-a84d4092b045" providerId="ADAL" clId="{32A7B533-D5A4-4B45-98CD-6530035A6CE0}" dt="2024-03-12T17:00:19.134" v="57"/>
          <ac:spMkLst>
            <pc:docMk/>
            <pc:sldMk cId="3410123487" sldId="268"/>
            <ac:spMk id="17" creationId="{1939140D-60A1-656D-CFCB-F3F9D1D58F14}"/>
          </ac:spMkLst>
        </pc:spChg>
      </pc:sldChg>
      <pc:sldChg chg="addSp modSp mod">
        <pc:chgData name="Gaycken, Sebastian" userId="291cd8f8-a359-4433-bdc4-a84d4092b045" providerId="ADAL" clId="{32A7B533-D5A4-4B45-98CD-6530035A6CE0}" dt="2024-03-19T12:11:17.156" v="318" actId="554"/>
        <pc:sldMkLst>
          <pc:docMk/>
          <pc:sldMk cId="1216228955" sldId="271"/>
        </pc:sldMkLst>
        <pc:picChg chg="add mod ord">
          <ac:chgData name="Gaycken, Sebastian" userId="291cd8f8-a359-4433-bdc4-a84d4092b045" providerId="ADAL" clId="{32A7B533-D5A4-4B45-98CD-6530035A6CE0}" dt="2024-03-19T12:11:17.156" v="318" actId="554"/>
          <ac:picMkLst>
            <pc:docMk/>
            <pc:sldMk cId="1216228955" sldId="271"/>
            <ac:picMk id="3" creationId="{77312DA8-88E5-6911-1D4B-B80B89B93C6F}"/>
          </ac:picMkLst>
        </pc:picChg>
        <pc:picChg chg="mod">
          <ac:chgData name="Gaycken, Sebastian" userId="291cd8f8-a359-4433-bdc4-a84d4092b045" providerId="ADAL" clId="{32A7B533-D5A4-4B45-98CD-6530035A6CE0}" dt="2024-03-19T12:11:17.156" v="318" actId="554"/>
          <ac:picMkLst>
            <pc:docMk/>
            <pc:sldMk cId="1216228955" sldId="271"/>
            <ac:picMk id="9" creationId="{9A0FD665-2292-8060-89ED-17B2D1B3844A}"/>
          </ac:picMkLst>
        </pc:picChg>
      </pc:sldChg>
      <pc:sldChg chg="addSp delSp modSp mod">
        <pc:chgData name="Gaycken, Sebastian" userId="291cd8f8-a359-4433-bdc4-a84d4092b045" providerId="ADAL" clId="{32A7B533-D5A4-4B45-98CD-6530035A6CE0}" dt="2024-03-19T12:11:37.143" v="319" actId="478"/>
        <pc:sldMkLst>
          <pc:docMk/>
          <pc:sldMk cId="1387551283" sldId="272"/>
        </pc:sldMkLst>
        <pc:spChg chg="add mod">
          <ac:chgData name="Gaycken, Sebastian" userId="291cd8f8-a359-4433-bdc4-a84d4092b045" providerId="ADAL" clId="{32A7B533-D5A4-4B45-98CD-6530035A6CE0}" dt="2024-03-19T12:06:12.232" v="278" actId="478"/>
          <ac:spMkLst>
            <pc:docMk/>
            <pc:sldMk cId="1387551283" sldId="272"/>
            <ac:spMk id="16" creationId="{09DE1D3D-59F3-B279-1660-7A198C587C57}"/>
          </ac:spMkLst>
        </pc:spChg>
        <pc:picChg chg="del">
          <ac:chgData name="Gaycken, Sebastian" userId="291cd8f8-a359-4433-bdc4-a84d4092b045" providerId="ADAL" clId="{32A7B533-D5A4-4B45-98CD-6530035A6CE0}" dt="2024-03-19T12:06:12.232" v="278" actId="478"/>
          <ac:picMkLst>
            <pc:docMk/>
            <pc:sldMk cId="1387551283" sldId="272"/>
            <ac:picMk id="3" creationId="{76E3F02E-AC8B-B3D9-9DBA-FB0815C9EBE5}"/>
          </ac:picMkLst>
        </pc:picChg>
        <pc:picChg chg="add mod">
          <ac:chgData name="Gaycken, Sebastian" userId="291cd8f8-a359-4433-bdc4-a84d4092b045" providerId="ADAL" clId="{32A7B533-D5A4-4B45-98CD-6530035A6CE0}" dt="2024-03-19T12:07:42.681" v="285" actId="14100"/>
          <ac:picMkLst>
            <pc:docMk/>
            <pc:sldMk cId="1387551283" sldId="272"/>
            <ac:picMk id="7" creationId="{F6119BAD-3FE2-7A7C-61C7-4DC68A564084}"/>
          </ac:picMkLst>
        </pc:picChg>
        <pc:picChg chg="del">
          <ac:chgData name="Gaycken, Sebastian" userId="291cd8f8-a359-4433-bdc4-a84d4092b045" providerId="ADAL" clId="{32A7B533-D5A4-4B45-98CD-6530035A6CE0}" dt="2024-03-19T12:11:37.143" v="319" actId="478"/>
          <ac:picMkLst>
            <pc:docMk/>
            <pc:sldMk cId="1387551283" sldId="272"/>
            <ac:picMk id="9" creationId="{9A0FD665-2292-8060-89ED-17B2D1B3844A}"/>
          </ac:picMkLst>
        </pc:picChg>
      </pc:sldChg>
      <pc:sldChg chg="addSp delSp modSp mod">
        <pc:chgData name="Gaycken, Sebastian" userId="291cd8f8-a359-4433-bdc4-a84d4092b045" providerId="ADAL" clId="{32A7B533-D5A4-4B45-98CD-6530035A6CE0}" dt="2024-03-19T12:08:44.092" v="291" actId="14100"/>
        <pc:sldMkLst>
          <pc:docMk/>
          <pc:sldMk cId="2816754024" sldId="273"/>
        </pc:sldMkLst>
        <pc:picChg chg="add mod">
          <ac:chgData name="Gaycken, Sebastian" userId="291cd8f8-a359-4433-bdc4-a84d4092b045" providerId="ADAL" clId="{32A7B533-D5A4-4B45-98CD-6530035A6CE0}" dt="2024-03-19T12:08:44.092" v="291" actId="14100"/>
          <ac:picMkLst>
            <pc:docMk/>
            <pc:sldMk cId="2816754024" sldId="273"/>
            <ac:picMk id="5" creationId="{6B52A77C-FD60-DE06-1256-31754D6339C7}"/>
          </ac:picMkLst>
        </pc:picChg>
        <pc:picChg chg="del">
          <ac:chgData name="Gaycken, Sebastian" userId="291cd8f8-a359-4433-bdc4-a84d4092b045" providerId="ADAL" clId="{32A7B533-D5A4-4B45-98CD-6530035A6CE0}" dt="2024-03-19T12:08:28.797" v="286" actId="478"/>
          <ac:picMkLst>
            <pc:docMk/>
            <pc:sldMk cId="2816754024" sldId="273"/>
            <ac:picMk id="7" creationId="{130EFC93-06B5-93CE-59CE-6ECE70D9F677}"/>
          </ac:picMkLst>
        </pc:picChg>
        <pc:picChg chg="del">
          <ac:chgData name="Gaycken, Sebastian" userId="291cd8f8-a359-4433-bdc4-a84d4092b045" providerId="ADAL" clId="{32A7B533-D5A4-4B45-98CD-6530035A6CE0}" dt="2024-03-19T12:08:31.879" v="287" actId="478"/>
          <ac:picMkLst>
            <pc:docMk/>
            <pc:sldMk cId="2816754024" sldId="273"/>
            <ac:picMk id="9" creationId="{9A0FD665-2292-8060-89ED-17B2D1B3844A}"/>
          </ac:picMkLst>
        </pc:picChg>
        <pc:picChg chg="add mod ord">
          <ac:chgData name="Gaycken, Sebastian" userId="291cd8f8-a359-4433-bdc4-a84d4092b045" providerId="ADAL" clId="{32A7B533-D5A4-4B45-98CD-6530035A6CE0}" dt="2024-03-19T12:08:35.472" v="289" actId="167"/>
          <ac:picMkLst>
            <pc:docMk/>
            <pc:sldMk cId="2816754024" sldId="273"/>
            <ac:picMk id="12" creationId="{66DF3330-DBDE-6CB3-785F-9D81FD2A2FD6}"/>
          </ac:picMkLst>
        </pc:picChg>
      </pc:sldChg>
      <pc:sldChg chg="addSp delSp modSp mod">
        <pc:chgData name="Gaycken, Sebastian" userId="291cd8f8-a359-4433-bdc4-a84d4092b045" providerId="ADAL" clId="{32A7B533-D5A4-4B45-98CD-6530035A6CE0}" dt="2024-03-19T12:09:43.748" v="302" actId="14100"/>
        <pc:sldMkLst>
          <pc:docMk/>
          <pc:sldMk cId="690433356" sldId="274"/>
        </pc:sldMkLst>
        <pc:spChg chg="add mod">
          <ac:chgData name="Gaycken, Sebastian" userId="291cd8f8-a359-4433-bdc4-a84d4092b045" providerId="ADAL" clId="{32A7B533-D5A4-4B45-98CD-6530035A6CE0}" dt="2024-03-19T12:09:12.926" v="292" actId="478"/>
          <ac:spMkLst>
            <pc:docMk/>
            <pc:sldMk cId="690433356" sldId="274"/>
            <ac:spMk id="7" creationId="{A33B3738-6A06-4E00-BD41-E8DD9FF7AFEC}"/>
          </ac:spMkLst>
        </pc:spChg>
        <pc:picChg chg="del">
          <ac:chgData name="Gaycken, Sebastian" userId="291cd8f8-a359-4433-bdc4-a84d4092b045" providerId="ADAL" clId="{32A7B533-D5A4-4B45-98CD-6530035A6CE0}" dt="2024-03-19T12:09:12.926" v="292" actId="478"/>
          <ac:picMkLst>
            <pc:docMk/>
            <pc:sldMk cId="690433356" sldId="274"/>
            <ac:picMk id="3" creationId="{F064EFBD-3B11-FD20-58F5-67078E27CFA6}"/>
          </ac:picMkLst>
        </pc:picChg>
        <pc:picChg chg="del">
          <ac:chgData name="Gaycken, Sebastian" userId="291cd8f8-a359-4433-bdc4-a84d4092b045" providerId="ADAL" clId="{32A7B533-D5A4-4B45-98CD-6530035A6CE0}" dt="2024-03-19T12:09:18.185" v="293" actId="478"/>
          <ac:picMkLst>
            <pc:docMk/>
            <pc:sldMk cId="690433356" sldId="274"/>
            <ac:picMk id="9" creationId="{9A0FD665-2292-8060-89ED-17B2D1B3844A}"/>
          </ac:picMkLst>
        </pc:picChg>
        <pc:picChg chg="add mod">
          <ac:chgData name="Gaycken, Sebastian" userId="291cd8f8-a359-4433-bdc4-a84d4092b045" providerId="ADAL" clId="{32A7B533-D5A4-4B45-98CD-6530035A6CE0}" dt="2024-03-19T12:09:43.748" v="302" actId="14100"/>
          <ac:picMkLst>
            <pc:docMk/>
            <pc:sldMk cId="690433356" sldId="274"/>
            <ac:picMk id="16" creationId="{817438F2-A6CB-053F-AD2C-7E65C3CA8DA9}"/>
          </ac:picMkLst>
        </pc:picChg>
        <pc:picChg chg="add mod ord">
          <ac:chgData name="Gaycken, Sebastian" userId="291cd8f8-a359-4433-bdc4-a84d4092b045" providerId="ADAL" clId="{32A7B533-D5A4-4B45-98CD-6530035A6CE0}" dt="2024-03-19T12:09:38.983" v="301" actId="554"/>
          <ac:picMkLst>
            <pc:docMk/>
            <pc:sldMk cId="690433356" sldId="274"/>
            <ac:picMk id="17" creationId="{E9C63D84-92B9-1689-DB90-A171F089A194}"/>
          </ac:picMkLst>
        </pc:picChg>
      </pc:sldChg>
      <pc:sldChg chg="addSp delSp modSp mod">
        <pc:chgData name="Gaycken, Sebastian" userId="291cd8f8-a359-4433-bdc4-a84d4092b045" providerId="ADAL" clId="{32A7B533-D5A4-4B45-98CD-6530035A6CE0}" dt="2024-03-19T12:10:49.133" v="311" actId="14100"/>
        <pc:sldMkLst>
          <pc:docMk/>
          <pc:sldMk cId="2322477323" sldId="275"/>
        </pc:sldMkLst>
        <pc:spChg chg="add mod">
          <ac:chgData name="Gaycken, Sebastian" userId="291cd8f8-a359-4433-bdc4-a84d4092b045" providerId="ADAL" clId="{32A7B533-D5A4-4B45-98CD-6530035A6CE0}" dt="2024-03-19T12:10:15.521" v="303" actId="478"/>
          <ac:spMkLst>
            <pc:docMk/>
            <pc:sldMk cId="2322477323" sldId="275"/>
            <ac:spMk id="7" creationId="{177921F9-A4A4-1CD9-5865-79BF79184977}"/>
          </ac:spMkLst>
        </pc:spChg>
        <pc:picChg chg="del">
          <ac:chgData name="Gaycken, Sebastian" userId="291cd8f8-a359-4433-bdc4-a84d4092b045" providerId="ADAL" clId="{32A7B533-D5A4-4B45-98CD-6530035A6CE0}" dt="2024-03-19T12:10:15.521" v="303" actId="478"/>
          <ac:picMkLst>
            <pc:docMk/>
            <pc:sldMk cId="2322477323" sldId="275"/>
            <ac:picMk id="3" creationId="{284182DF-03A3-53D1-0D47-07A24CEA338C}"/>
          </ac:picMkLst>
        </pc:picChg>
        <pc:picChg chg="del">
          <ac:chgData name="Gaycken, Sebastian" userId="291cd8f8-a359-4433-bdc4-a84d4092b045" providerId="ADAL" clId="{32A7B533-D5A4-4B45-98CD-6530035A6CE0}" dt="2024-03-19T12:10:17.066" v="304" actId="478"/>
          <ac:picMkLst>
            <pc:docMk/>
            <pc:sldMk cId="2322477323" sldId="275"/>
            <ac:picMk id="9" creationId="{9A0FD665-2292-8060-89ED-17B2D1B3844A}"/>
          </ac:picMkLst>
        </pc:picChg>
        <pc:picChg chg="add mod">
          <ac:chgData name="Gaycken, Sebastian" userId="291cd8f8-a359-4433-bdc4-a84d4092b045" providerId="ADAL" clId="{32A7B533-D5A4-4B45-98CD-6530035A6CE0}" dt="2024-03-19T12:10:42.949" v="310" actId="554"/>
          <ac:picMkLst>
            <pc:docMk/>
            <pc:sldMk cId="2322477323" sldId="275"/>
            <ac:picMk id="12" creationId="{59B9D21C-FCC3-23B7-87CF-3EB05D5B4D4B}"/>
          </ac:picMkLst>
        </pc:picChg>
        <pc:picChg chg="add mod">
          <ac:chgData name="Gaycken, Sebastian" userId="291cd8f8-a359-4433-bdc4-a84d4092b045" providerId="ADAL" clId="{32A7B533-D5A4-4B45-98CD-6530035A6CE0}" dt="2024-03-19T12:10:49.133" v="311" actId="14100"/>
          <ac:picMkLst>
            <pc:docMk/>
            <pc:sldMk cId="2322477323" sldId="275"/>
            <ac:picMk id="17" creationId="{F82E18A0-F004-1A64-13D6-C0C5FE0DAE19}"/>
          </ac:picMkLst>
        </pc:picChg>
      </pc:sldChg>
    </pc:docChg>
  </pc:docChgLst>
  <pc:docChgLst>
    <pc:chgData name="Ziegler, Caroline" userId="7a2ac3d3-4568-4cfb-9daa-cf03b385e139" providerId="ADAL" clId="{C71D7432-EF57-4B15-B80D-A8F7FEBEAE83}"/>
    <pc:docChg chg="custSel addSld modSld replTag">
      <pc:chgData name="Ziegler, Caroline" userId="7a2ac3d3-4568-4cfb-9daa-cf03b385e139" providerId="ADAL" clId="{C71D7432-EF57-4B15-B80D-A8F7FEBEAE83}" dt="2024-03-20T17:46:36.953" v="74" actId="555"/>
      <pc:docMkLst>
        <pc:docMk/>
      </pc:docMkLst>
      <pc:sldChg chg="modAnim">
        <pc:chgData name="Ziegler, Caroline" userId="7a2ac3d3-4568-4cfb-9daa-cf03b385e139" providerId="ADAL" clId="{C71D7432-EF57-4B15-B80D-A8F7FEBEAE83}" dt="2024-03-20T17:45:58.549" v="72"/>
        <pc:sldMkLst>
          <pc:docMk/>
          <pc:sldMk cId="2280494226" sldId="262"/>
        </pc:sldMkLst>
      </pc:sldChg>
      <pc:sldChg chg="addSp delSp modSp mod">
        <pc:chgData name="Ziegler, Caroline" userId="7a2ac3d3-4568-4cfb-9daa-cf03b385e139" providerId="ADAL" clId="{C71D7432-EF57-4B15-B80D-A8F7FEBEAE83}" dt="2024-03-20T17:28:12.988" v="4" actId="20577"/>
        <pc:sldMkLst>
          <pc:docMk/>
          <pc:sldMk cId="3387421209" sldId="264"/>
        </pc:sldMkLst>
        <pc:spChg chg="del">
          <ac:chgData name="Ziegler, Caroline" userId="7a2ac3d3-4568-4cfb-9daa-cf03b385e139" providerId="ADAL" clId="{C71D7432-EF57-4B15-B80D-A8F7FEBEAE83}" dt="2024-03-20T17:28:03.687" v="0" actId="478"/>
          <ac:spMkLst>
            <pc:docMk/>
            <pc:sldMk cId="3387421209" sldId="264"/>
            <ac:spMk id="6" creationId="{F06B46B5-870E-1280-9F25-B6094EB9105F}"/>
          </ac:spMkLst>
        </pc:spChg>
        <pc:spChg chg="add mod">
          <ac:chgData name="Ziegler, Caroline" userId="7a2ac3d3-4568-4cfb-9daa-cf03b385e139" providerId="ADAL" clId="{C71D7432-EF57-4B15-B80D-A8F7FEBEAE83}" dt="2024-03-20T17:28:12.988" v="4" actId="20577"/>
          <ac:spMkLst>
            <pc:docMk/>
            <pc:sldMk cId="3387421209" sldId="264"/>
            <ac:spMk id="17" creationId="{53E4D89B-BFCB-D1C6-BF95-85B2EB333595}"/>
          </ac:spMkLst>
        </pc:spChg>
        <pc:spChg chg="add del mod">
          <ac:chgData name="Ziegler, Caroline" userId="7a2ac3d3-4568-4cfb-9daa-cf03b385e139" providerId="ADAL" clId="{C71D7432-EF57-4B15-B80D-A8F7FEBEAE83}" dt="2024-03-20T17:28:10.331" v="2" actId="478"/>
          <ac:spMkLst>
            <pc:docMk/>
            <pc:sldMk cId="3387421209" sldId="264"/>
            <ac:spMk id="19" creationId="{5648F30F-551F-A1E5-27DC-A435471BBA80}"/>
          </ac:spMkLst>
        </pc:spChg>
      </pc:sldChg>
      <pc:sldChg chg="addSp delSp modSp mod">
        <pc:chgData name="Ziegler, Caroline" userId="7a2ac3d3-4568-4cfb-9daa-cf03b385e139" providerId="ADAL" clId="{C71D7432-EF57-4B15-B80D-A8F7FEBEAE83}" dt="2024-03-20T17:40:58.717" v="69"/>
        <pc:sldMkLst>
          <pc:docMk/>
          <pc:sldMk cId="645411130" sldId="266"/>
        </pc:sldMkLst>
        <pc:spChg chg="mod">
          <ac:chgData name="Ziegler, Caroline" userId="7a2ac3d3-4568-4cfb-9daa-cf03b385e139" providerId="ADAL" clId="{C71D7432-EF57-4B15-B80D-A8F7FEBEAE83}" dt="2024-03-20T17:40:58.668" v="43" actId="948"/>
          <ac:spMkLst>
            <pc:docMk/>
            <pc:sldMk cId="645411130" sldId="266"/>
            <ac:spMk id="3" creationId="{6B5DC49D-055B-FEC5-D101-3C15B6370F8E}"/>
          </ac:spMkLst>
        </pc:spChg>
        <pc:spChg chg="add del mod modVis">
          <ac:chgData name="Ziegler, Caroline" userId="7a2ac3d3-4568-4cfb-9daa-cf03b385e139" providerId="ADAL" clId="{C71D7432-EF57-4B15-B80D-A8F7FEBEAE83}" dt="2024-03-20T17:40:57.484" v="39"/>
          <ac:spMkLst>
            <pc:docMk/>
            <pc:sldMk cId="645411130" sldId="266"/>
            <ac:spMk id="5" creationId="{B40EBCE9-6013-D6DE-DB15-996F6A9C310A}"/>
          </ac:spMkLst>
        </pc:spChg>
        <pc:spChg chg="add del mod modVis">
          <ac:chgData name="Ziegler, Caroline" userId="7a2ac3d3-4568-4cfb-9daa-cf03b385e139" providerId="ADAL" clId="{C71D7432-EF57-4B15-B80D-A8F7FEBEAE83}" dt="2024-03-20T17:40:58.701" v="67"/>
          <ac:spMkLst>
            <pc:docMk/>
            <pc:sldMk cId="645411130" sldId="266"/>
            <ac:spMk id="6" creationId="{0E9BE35A-D137-C359-EAE8-1499C04B1027}"/>
          </ac:spMkLst>
        </pc:spChg>
        <pc:graphicFrameChg chg="mod">
          <ac:chgData name="Ziegler, Caroline" userId="7a2ac3d3-4568-4cfb-9daa-cf03b385e139" providerId="ADAL" clId="{C71D7432-EF57-4B15-B80D-A8F7FEBEAE83}" dt="2024-03-20T17:40:58.717" v="69"/>
          <ac:graphicFrameMkLst>
            <pc:docMk/>
            <pc:sldMk cId="645411130" sldId="266"/>
            <ac:graphicFrameMk id="4" creationId="{60EA6B0E-0645-193E-FA74-0A204BBCAE99}"/>
          </ac:graphicFrameMkLst>
        </pc:graphicFrameChg>
      </pc:sldChg>
      <pc:sldChg chg="modSp mod">
        <pc:chgData name="Ziegler, Caroline" userId="7a2ac3d3-4568-4cfb-9daa-cf03b385e139" providerId="ADAL" clId="{C71D7432-EF57-4B15-B80D-A8F7FEBEAE83}" dt="2024-03-20T17:46:36.953" v="74" actId="555"/>
        <pc:sldMkLst>
          <pc:docMk/>
          <pc:sldMk cId="4051930809" sldId="267"/>
        </pc:sldMkLst>
        <pc:spChg chg="mod">
          <ac:chgData name="Ziegler, Caroline" userId="7a2ac3d3-4568-4cfb-9daa-cf03b385e139" providerId="ADAL" clId="{C71D7432-EF57-4B15-B80D-A8F7FEBEAE83}" dt="2024-03-20T17:46:36.953" v="74" actId="555"/>
          <ac:spMkLst>
            <pc:docMk/>
            <pc:sldMk cId="4051930809" sldId="267"/>
            <ac:spMk id="3" creationId="{FC5629B0-2FC0-753A-C1CB-A0A4786033C8}"/>
          </ac:spMkLst>
        </pc:spChg>
        <pc:spChg chg="mod">
          <ac:chgData name="Ziegler, Caroline" userId="7a2ac3d3-4568-4cfb-9daa-cf03b385e139" providerId="ADAL" clId="{C71D7432-EF57-4B15-B80D-A8F7FEBEAE83}" dt="2024-03-20T17:46:36.953" v="74" actId="555"/>
          <ac:spMkLst>
            <pc:docMk/>
            <pc:sldMk cId="4051930809" sldId="267"/>
            <ac:spMk id="11" creationId="{8705AED9-A006-9F75-AA77-7A59B54CE4F4}"/>
          </ac:spMkLst>
        </pc:spChg>
        <pc:spChg chg="mod">
          <ac:chgData name="Ziegler, Caroline" userId="7a2ac3d3-4568-4cfb-9daa-cf03b385e139" providerId="ADAL" clId="{C71D7432-EF57-4B15-B80D-A8F7FEBEAE83}" dt="2024-03-20T17:46:36.953" v="74" actId="555"/>
          <ac:spMkLst>
            <pc:docMk/>
            <pc:sldMk cId="4051930809" sldId="267"/>
            <ac:spMk id="13" creationId="{C985C973-C37D-7778-810A-E1D9A826C561}"/>
          </ac:spMkLst>
        </pc:spChg>
        <pc:spChg chg="mod">
          <ac:chgData name="Ziegler, Caroline" userId="7a2ac3d3-4568-4cfb-9daa-cf03b385e139" providerId="ADAL" clId="{C71D7432-EF57-4B15-B80D-A8F7FEBEAE83}" dt="2024-03-20T17:46:36.953" v="74" actId="555"/>
          <ac:spMkLst>
            <pc:docMk/>
            <pc:sldMk cId="4051930809" sldId="267"/>
            <ac:spMk id="15" creationId="{9A05F18A-D151-CF95-A91C-50EDEAA95994}"/>
          </ac:spMkLst>
        </pc:spChg>
        <pc:spChg chg="mod">
          <ac:chgData name="Ziegler, Caroline" userId="7a2ac3d3-4568-4cfb-9daa-cf03b385e139" providerId="ADAL" clId="{C71D7432-EF57-4B15-B80D-A8F7FEBEAE83}" dt="2024-03-20T17:46:36.953" v="74" actId="555"/>
          <ac:spMkLst>
            <pc:docMk/>
            <pc:sldMk cId="4051930809" sldId="267"/>
            <ac:spMk id="18" creationId="{C7114788-A0D5-F658-4967-EB49AFC5469C}"/>
          </ac:spMkLst>
        </pc:spChg>
        <pc:spChg chg="mod">
          <ac:chgData name="Ziegler, Caroline" userId="7a2ac3d3-4568-4cfb-9daa-cf03b385e139" providerId="ADAL" clId="{C71D7432-EF57-4B15-B80D-A8F7FEBEAE83}" dt="2024-03-20T17:46:36.953" v="74" actId="555"/>
          <ac:spMkLst>
            <pc:docMk/>
            <pc:sldMk cId="4051930809" sldId="267"/>
            <ac:spMk id="20" creationId="{9A57019D-7CFA-2D74-D4B1-E5D754118464}"/>
          </ac:spMkLst>
        </pc:spChg>
      </pc:sldChg>
      <pc:sldChg chg="add">
        <pc:chgData name="Ziegler, Caroline" userId="7a2ac3d3-4568-4cfb-9daa-cf03b385e139" providerId="ADAL" clId="{C71D7432-EF57-4B15-B80D-A8F7FEBEAE83}" dt="2024-03-20T17:40:49.495" v="5" actId="2890"/>
        <pc:sldMkLst>
          <pc:docMk/>
          <pc:sldMk cId="3248966760" sldId="276"/>
        </pc:sldMkLst>
      </pc:sldChg>
    </pc:docChg>
  </pc:docChgLst>
  <pc:docChgLst>
    <pc:chgData name="Stefan, Chantal" userId="32a90bb8-83ff-4b15-9e26-b584e5277353" providerId="ADAL" clId="{A0FA188E-4539-1B4B-8F7A-AF25ADD774B0}"/>
    <pc:docChg chg="undo custSel addSld delSld modSld sldOrd replTag">
      <pc:chgData name="Stefan, Chantal" userId="32a90bb8-83ff-4b15-9e26-b584e5277353" providerId="ADAL" clId="{A0FA188E-4539-1B4B-8F7A-AF25ADD774B0}" dt="2024-03-16T16:37:29.342" v="8608" actId="1037"/>
      <pc:docMkLst>
        <pc:docMk/>
      </pc:docMkLst>
      <pc:sldChg chg="addSp delSp modSp mod">
        <pc:chgData name="Stefan, Chantal" userId="32a90bb8-83ff-4b15-9e26-b584e5277353" providerId="ADAL" clId="{A0FA188E-4539-1B4B-8F7A-AF25ADD774B0}" dt="2024-03-16T16:22:35.964" v="8530" actId="20577"/>
        <pc:sldMkLst>
          <pc:docMk/>
          <pc:sldMk cId="1947253614" sldId="256"/>
        </pc:sldMkLst>
        <pc:spChg chg="mod">
          <ac:chgData name="Stefan, Chantal" userId="32a90bb8-83ff-4b15-9e26-b584e5277353" providerId="ADAL" clId="{A0FA188E-4539-1B4B-8F7A-AF25ADD774B0}" dt="2024-03-12T19:25:37.961" v="3787" actId="13926"/>
          <ac:spMkLst>
            <pc:docMk/>
            <pc:sldMk cId="1947253614" sldId="256"/>
            <ac:spMk id="2" creationId="{74503522-EE1A-B9B5-E02D-86D469B59F27}"/>
          </ac:spMkLst>
        </pc:spChg>
        <pc:spChg chg="mod">
          <ac:chgData name="Stefan, Chantal" userId="32a90bb8-83ff-4b15-9e26-b584e5277353" providerId="ADAL" clId="{A0FA188E-4539-1B4B-8F7A-AF25ADD774B0}" dt="2024-03-12T16:40:04.463" v="2644"/>
          <ac:spMkLst>
            <pc:docMk/>
            <pc:sldMk cId="1947253614" sldId="256"/>
            <ac:spMk id="3" creationId="{1146861C-B53D-199D-976D-2AABDB755077}"/>
          </ac:spMkLst>
        </pc:spChg>
        <pc:spChg chg="mod">
          <ac:chgData name="Stefan, Chantal" userId="32a90bb8-83ff-4b15-9e26-b584e5277353" providerId="ADAL" clId="{A0FA188E-4539-1B4B-8F7A-AF25ADD774B0}" dt="2024-03-12T16:40:04.464" v="2645"/>
          <ac:spMkLst>
            <pc:docMk/>
            <pc:sldMk cId="1947253614" sldId="256"/>
            <ac:spMk id="4" creationId="{6CBF1B2E-0675-CA48-F89F-A757C646A145}"/>
          </ac:spMkLst>
        </pc:spChg>
        <pc:spChg chg="mod">
          <ac:chgData name="Stefan, Chantal" userId="32a90bb8-83ff-4b15-9e26-b584e5277353" providerId="ADAL" clId="{A0FA188E-4539-1B4B-8F7A-AF25ADD774B0}" dt="2024-03-12T16:44:38.572" v="2858" actId="948"/>
          <ac:spMkLst>
            <pc:docMk/>
            <pc:sldMk cId="1947253614" sldId="256"/>
            <ac:spMk id="5" creationId="{95C395FB-6FCA-4534-136D-AC6B83BE6296}"/>
          </ac:spMkLst>
        </pc:spChg>
        <pc:spChg chg="add del mod">
          <ac:chgData name="Stefan, Chantal" userId="32a90bb8-83ff-4b15-9e26-b584e5277353" providerId="ADAL" clId="{A0FA188E-4539-1B4B-8F7A-AF25ADD774B0}" dt="2024-03-12T16:39:57.495" v="2640"/>
          <ac:spMkLst>
            <pc:docMk/>
            <pc:sldMk cId="1947253614" sldId="256"/>
            <ac:spMk id="9" creationId="{606093C4-0914-754E-BEBB-154F66E8085E}"/>
          </ac:spMkLst>
        </pc:spChg>
        <pc:spChg chg="mod">
          <ac:chgData name="Stefan, Chantal" userId="32a90bb8-83ff-4b15-9e26-b584e5277353" providerId="ADAL" clId="{A0FA188E-4539-1B4B-8F7A-AF25ADD774B0}" dt="2024-03-12T16:40:04.465" v="2647"/>
          <ac:spMkLst>
            <pc:docMk/>
            <pc:sldMk cId="1947253614" sldId="256"/>
            <ac:spMk id="10" creationId="{98CA5515-13D4-022F-DA36-47875537AEB0}"/>
          </ac:spMkLst>
        </pc:spChg>
        <pc:spChg chg="add del mod modVis">
          <ac:chgData name="Stefan, Chantal" userId="32a90bb8-83ff-4b15-9e26-b584e5277353" providerId="ADAL" clId="{A0FA188E-4539-1B4B-8F7A-AF25ADD774B0}" dt="2024-03-12T16:44:30.032" v="2759"/>
          <ac:spMkLst>
            <pc:docMk/>
            <pc:sldMk cId="1947253614" sldId="256"/>
            <ac:spMk id="11" creationId="{8E1D1811-D67A-49D0-92FE-5305DF75B511}"/>
          </ac:spMkLst>
        </pc:spChg>
        <pc:spChg chg="mod">
          <ac:chgData name="Stefan, Chantal" userId="32a90bb8-83ff-4b15-9e26-b584e5277353" providerId="ADAL" clId="{A0FA188E-4539-1B4B-8F7A-AF25ADD774B0}" dt="2024-03-12T16:40:04.465" v="2648"/>
          <ac:spMkLst>
            <pc:docMk/>
            <pc:sldMk cId="1947253614" sldId="256"/>
            <ac:spMk id="12" creationId="{4D008A0F-4092-2D16-0AF6-75628C09D6D1}"/>
          </ac:spMkLst>
        </pc:spChg>
        <pc:spChg chg="mod">
          <ac:chgData name="Stefan, Chantal" userId="32a90bb8-83ff-4b15-9e26-b584e5277353" providerId="ADAL" clId="{A0FA188E-4539-1B4B-8F7A-AF25ADD774B0}" dt="2024-03-16T16:22:35.964" v="8530" actId="20577"/>
          <ac:spMkLst>
            <pc:docMk/>
            <pc:sldMk cId="1947253614" sldId="256"/>
            <ac:spMk id="13" creationId="{8B14BC07-5437-0513-72E9-7E5C40C83527}"/>
          </ac:spMkLst>
        </pc:spChg>
        <pc:spChg chg="add del mod modVis">
          <ac:chgData name="Stefan, Chantal" userId="32a90bb8-83ff-4b15-9e26-b584e5277353" providerId="ADAL" clId="{A0FA188E-4539-1B4B-8F7A-AF25ADD774B0}" dt="2024-03-12T16:44:35.438" v="2790"/>
          <ac:spMkLst>
            <pc:docMk/>
            <pc:sldMk cId="1947253614" sldId="256"/>
            <ac:spMk id="14" creationId="{098F6792-20AB-8E69-0C28-A3E55DEAB714}"/>
          </ac:spMkLst>
        </pc:spChg>
        <pc:spChg chg="add del mod modVis">
          <ac:chgData name="Stefan, Chantal" userId="32a90bb8-83ff-4b15-9e26-b584e5277353" providerId="ADAL" clId="{A0FA188E-4539-1B4B-8F7A-AF25ADD774B0}" dt="2024-03-12T16:44:36.208" v="2818"/>
          <ac:spMkLst>
            <pc:docMk/>
            <pc:sldMk cId="1947253614" sldId="256"/>
            <ac:spMk id="15" creationId="{BC8285A2-FF81-8DE5-EEC4-522187EC5FD2}"/>
          </ac:spMkLst>
        </pc:spChg>
        <pc:spChg chg="add del mod modVis">
          <ac:chgData name="Stefan, Chantal" userId="32a90bb8-83ff-4b15-9e26-b584e5277353" providerId="ADAL" clId="{A0FA188E-4539-1B4B-8F7A-AF25ADD774B0}" dt="2024-03-12T16:44:37.672" v="2851"/>
          <ac:spMkLst>
            <pc:docMk/>
            <pc:sldMk cId="1947253614" sldId="256"/>
            <ac:spMk id="16" creationId="{029572C2-FD4F-8F3A-C812-063D961575CB}"/>
          </ac:spMkLst>
        </pc:spChg>
        <pc:spChg chg="add del mod modVis">
          <ac:chgData name="Stefan, Chantal" userId="32a90bb8-83ff-4b15-9e26-b584e5277353" providerId="ADAL" clId="{A0FA188E-4539-1B4B-8F7A-AF25ADD774B0}" dt="2024-03-12T16:44:38.593" v="2882"/>
          <ac:spMkLst>
            <pc:docMk/>
            <pc:sldMk cId="1947253614" sldId="256"/>
            <ac:spMk id="17" creationId="{F6FE62D2-F861-63F3-6955-F5EF9D8E9F5F}"/>
          </ac:spMkLst>
        </pc:spChg>
        <pc:graphicFrameChg chg="mod">
          <ac:chgData name="Stefan, Chantal" userId="32a90bb8-83ff-4b15-9e26-b584e5277353" providerId="ADAL" clId="{A0FA188E-4539-1B4B-8F7A-AF25ADD774B0}" dt="2024-03-12T16:44:38.595" v="2884"/>
          <ac:graphicFrameMkLst>
            <pc:docMk/>
            <pc:sldMk cId="1947253614" sldId="256"/>
            <ac:graphicFrameMk id="6" creationId="{7B652A4C-C7C8-4239-7280-FFA58DAE8FC8}"/>
          </ac:graphicFrameMkLst>
        </pc:graphicFrameChg>
        <pc:picChg chg="add mod modCrop">
          <ac:chgData name="Stefan, Chantal" userId="32a90bb8-83ff-4b15-9e26-b584e5277353" providerId="ADAL" clId="{A0FA188E-4539-1B4B-8F7A-AF25ADD774B0}" dt="2024-03-12T16:40:51.747" v="2721" actId="29295"/>
          <ac:picMkLst>
            <pc:docMk/>
            <pc:sldMk cId="1947253614" sldId="256"/>
            <ac:picMk id="8" creationId="{97241ADF-71C0-AEA0-7CD2-EA2B309A14FE}"/>
          </ac:picMkLst>
        </pc:picChg>
        <pc:picChg chg="add mod">
          <ac:chgData name="Stefan, Chantal" userId="32a90bb8-83ff-4b15-9e26-b584e5277353" providerId="ADAL" clId="{A0FA188E-4539-1B4B-8F7A-AF25ADD774B0}" dt="2024-03-12T16:51:33.486" v="2891" actId="962"/>
          <ac:picMkLst>
            <pc:docMk/>
            <pc:sldMk cId="1947253614" sldId="256"/>
            <ac:picMk id="19" creationId="{20A63A43-B5DF-EF72-10B0-54306D167005}"/>
          </ac:picMkLst>
        </pc:picChg>
      </pc:sldChg>
      <pc:sldChg chg="addSp delSp modSp new mod delAnim modAnim">
        <pc:chgData name="Stefan, Chantal" userId="32a90bb8-83ff-4b15-9e26-b584e5277353" providerId="ADAL" clId="{A0FA188E-4539-1B4B-8F7A-AF25ADD774B0}" dt="2024-03-12T15:58:16.248" v="2130" actId="20577"/>
        <pc:sldMkLst>
          <pc:docMk/>
          <pc:sldMk cId="1082155410" sldId="257"/>
        </pc:sldMkLst>
        <pc:spChg chg="mod">
          <ac:chgData name="Stefan, Chantal" userId="32a90bb8-83ff-4b15-9e26-b584e5277353" providerId="ADAL" clId="{A0FA188E-4539-1B4B-8F7A-AF25ADD774B0}" dt="2024-03-11T18:30:20.023" v="1907" actId="948"/>
          <ac:spMkLst>
            <pc:docMk/>
            <pc:sldMk cId="1082155410" sldId="257"/>
            <ac:spMk id="2" creationId="{7D71AB4D-7A05-881D-BA54-7E24051D9FA2}"/>
          </ac:spMkLst>
        </pc:spChg>
        <pc:spChg chg="del">
          <ac:chgData name="Stefan, Chantal" userId="32a90bb8-83ff-4b15-9e26-b584e5277353" providerId="ADAL" clId="{A0FA188E-4539-1B4B-8F7A-AF25ADD774B0}" dt="2024-03-11T16:27:03.582" v="1" actId="478"/>
          <ac:spMkLst>
            <pc:docMk/>
            <pc:sldMk cId="1082155410" sldId="257"/>
            <ac:spMk id="3" creationId="{C9BA4AAA-F361-FF47-51C9-F47318544EB3}"/>
          </ac:spMkLst>
        </pc:spChg>
        <pc:spChg chg="mod">
          <ac:chgData name="Stefan, Chantal" userId="32a90bb8-83ff-4b15-9e26-b584e5277353" providerId="ADAL" clId="{A0FA188E-4539-1B4B-8F7A-AF25ADD774B0}" dt="2024-03-11T16:32:10.774" v="459"/>
          <ac:spMkLst>
            <pc:docMk/>
            <pc:sldMk cId="1082155410" sldId="257"/>
            <ac:spMk id="4" creationId="{25BCF23B-99A1-9F14-EA9F-F2D03DD184F4}"/>
          </ac:spMkLst>
        </pc:spChg>
        <pc:spChg chg="mod">
          <ac:chgData name="Stefan, Chantal" userId="32a90bb8-83ff-4b15-9e26-b584e5277353" providerId="ADAL" clId="{A0FA188E-4539-1B4B-8F7A-AF25ADD774B0}" dt="2024-03-11T16:32:10.775" v="460"/>
          <ac:spMkLst>
            <pc:docMk/>
            <pc:sldMk cId="1082155410" sldId="257"/>
            <ac:spMk id="5" creationId="{F2F9C402-AA7B-D773-50E6-270EEAB2DF18}"/>
          </ac:spMkLst>
        </pc:spChg>
        <pc:spChg chg="del mod">
          <ac:chgData name="Stefan, Chantal" userId="32a90bb8-83ff-4b15-9e26-b584e5277353" providerId="ADAL" clId="{A0FA188E-4539-1B4B-8F7A-AF25ADD774B0}" dt="2024-03-11T17:40:33.385" v="717" actId="478"/>
          <ac:spMkLst>
            <pc:docMk/>
            <pc:sldMk cId="1082155410" sldId="257"/>
            <ac:spMk id="6" creationId="{7CC2513C-E338-9852-1783-D8506977C0DF}"/>
          </ac:spMkLst>
        </pc:spChg>
        <pc:spChg chg="mod">
          <ac:chgData name="Stefan, Chantal" userId="32a90bb8-83ff-4b15-9e26-b584e5277353" providerId="ADAL" clId="{A0FA188E-4539-1B4B-8F7A-AF25ADD774B0}" dt="2024-03-11T16:32:10.775" v="462"/>
          <ac:spMkLst>
            <pc:docMk/>
            <pc:sldMk cId="1082155410" sldId="257"/>
            <ac:spMk id="7" creationId="{7D6D8D43-1B0A-B472-7906-56828AC45D27}"/>
          </ac:spMkLst>
        </pc:spChg>
        <pc:spChg chg="add mod">
          <ac:chgData name="Stefan, Chantal" userId="32a90bb8-83ff-4b15-9e26-b584e5277353" providerId="ADAL" clId="{A0FA188E-4539-1B4B-8F7A-AF25ADD774B0}" dt="2024-03-11T18:05:30.802" v="1049" actId="1076"/>
          <ac:spMkLst>
            <pc:docMk/>
            <pc:sldMk cId="1082155410" sldId="257"/>
            <ac:spMk id="8" creationId="{B27B421F-8A77-6D2F-C5D7-360924115162}"/>
          </ac:spMkLst>
        </pc:spChg>
        <pc:spChg chg="add mod">
          <ac:chgData name="Stefan, Chantal" userId="32a90bb8-83ff-4b15-9e26-b584e5277353" providerId="ADAL" clId="{A0FA188E-4539-1B4B-8F7A-AF25ADD774B0}" dt="2024-03-11T18:05:30.802" v="1049" actId="1076"/>
          <ac:spMkLst>
            <pc:docMk/>
            <pc:sldMk cId="1082155410" sldId="257"/>
            <ac:spMk id="9" creationId="{CB1A847A-6232-056D-7488-91455F1B2860}"/>
          </ac:spMkLst>
        </pc:spChg>
        <pc:spChg chg="mod">
          <ac:chgData name="Stefan, Chantal" userId="32a90bb8-83ff-4b15-9e26-b584e5277353" providerId="ADAL" clId="{A0FA188E-4539-1B4B-8F7A-AF25ADD774B0}" dt="2024-03-11T16:27:05.994" v="2"/>
          <ac:spMkLst>
            <pc:docMk/>
            <pc:sldMk cId="1082155410" sldId="257"/>
            <ac:spMk id="11" creationId="{E8A9C26F-1C40-A6F5-97A5-DDB5F39D6E30}"/>
          </ac:spMkLst>
        </pc:spChg>
        <pc:spChg chg="mod">
          <ac:chgData name="Stefan, Chantal" userId="32a90bb8-83ff-4b15-9e26-b584e5277353" providerId="ADAL" clId="{A0FA188E-4539-1B4B-8F7A-AF25ADD774B0}" dt="2024-03-11T16:27:05.994" v="2"/>
          <ac:spMkLst>
            <pc:docMk/>
            <pc:sldMk cId="1082155410" sldId="257"/>
            <ac:spMk id="12" creationId="{81E15DD8-35DF-6D33-0C0D-820EDD564017}"/>
          </ac:spMkLst>
        </pc:spChg>
        <pc:spChg chg="mod">
          <ac:chgData name="Stefan, Chantal" userId="32a90bb8-83ff-4b15-9e26-b584e5277353" providerId="ADAL" clId="{A0FA188E-4539-1B4B-8F7A-AF25ADD774B0}" dt="2024-03-11T18:00:47.057" v="1013" actId="1036"/>
          <ac:spMkLst>
            <pc:docMk/>
            <pc:sldMk cId="1082155410" sldId="257"/>
            <ac:spMk id="13" creationId="{6B42A5F7-15BC-55C2-7403-CB173B2333D4}"/>
          </ac:spMkLst>
        </pc:spChg>
        <pc:spChg chg="mod">
          <ac:chgData name="Stefan, Chantal" userId="32a90bb8-83ff-4b15-9e26-b584e5277353" providerId="ADAL" clId="{A0FA188E-4539-1B4B-8F7A-AF25ADD774B0}" dt="2024-03-11T16:28:02.195" v="13"/>
          <ac:spMkLst>
            <pc:docMk/>
            <pc:sldMk cId="1082155410" sldId="257"/>
            <ac:spMk id="15" creationId="{76962743-F0D4-D24A-0794-D7F9C2A8777E}"/>
          </ac:spMkLst>
        </pc:spChg>
        <pc:spChg chg="mod">
          <ac:chgData name="Stefan, Chantal" userId="32a90bb8-83ff-4b15-9e26-b584e5277353" providerId="ADAL" clId="{A0FA188E-4539-1B4B-8F7A-AF25ADD774B0}" dt="2024-03-11T16:27:58.778" v="11"/>
          <ac:spMkLst>
            <pc:docMk/>
            <pc:sldMk cId="1082155410" sldId="257"/>
            <ac:spMk id="16" creationId="{15AEB846-0B98-2ED2-04EF-141D54259A26}"/>
          </ac:spMkLst>
        </pc:spChg>
        <pc:spChg chg="mod">
          <ac:chgData name="Stefan, Chantal" userId="32a90bb8-83ff-4b15-9e26-b584e5277353" providerId="ADAL" clId="{A0FA188E-4539-1B4B-8F7A-AF25ADD774B0}" dt="2024-03-11T18:00:44.287" v="1012" actId="1036"/>
          <ac:spMkLst>
            <pc:docMk/>
            <pc:sldMk cId="1082155410" sldId="257"/>
            <ac:spMk id="17" creationId="{CCC11874-0582-934F-4D33-3DBE647FA53D}"/>
          </ac:spMkLst>
        </pc:spChg>
        <pc:spChg chg="mod">
          <ac:chgData name="Stefan, Chantal" userId="32a90bb8-83ff-4b15-9e26-b584e5277353" providerId="ADAL" clId="{A0FA188E-4539-1B4B-8F7A-AF25ADD774B0}" dt="2024-03-11T16:27:05.994" v="2"/>
          <ac:spMkLst>
            <pc:docMk/>
            <pc:sldMk cId="1082155410" sldId="257"/>
            <ac:spMk id="19" creationId="{33300B07-5158-75D4-D509-3286BC78631D}"/>
          </ac:spMkLst>
        </pc:spChg>
        <pc:spChg chg="mod">
          <ac:chgData name="Stefan, Chantal" userId="32a90bb8-83ff-4b15-9e26-b584e5277353" providerId="ADAL" clId="{A0FA188E-4539-1B4B-8F7A-AF25ADD774B0}" dt="2024-03-11T16:27:05.994" v="2"/>
          <ac:spMkLst>
            <pc:docMk/>
            <pc:sldMk cId="1082155410" sldId="257"/>
            <ac:spMk id="20" creationId="{A5813FA2-39EF-1106-ED50-898975C6881E}"/>
          </ac:spMkLst>
        </pc:spChg>
        <pc:spChg chg="mod">
          <ac:chgData name="Stefan, Chantal" userId="32a90bb8-83ff-4b15-9e26-b584e5277353" providerId="ADAL" clId="{A0FA188E-4539-1B4B-8F7A-AF25ADD774B0}" dt="2024-03-11T18:00:41.273" v="1011" actId="1036"/>
          <ac:spMkLst>
            <pc:docMk/>
            <pc:sldMk cId="1082155410" sldId="257"/>
            <ac:spMk id="21" creationId="{DEA5E962-DFA8-BDAC-FB06-0EE189C9AAC2}"/>
          </ac:spMkLst>
        </pc:spChg>
        <pc:spChg chg="mod">
          <ac:chgData name="Stefan, Chantal" userId="32a90bb8-83ff-4b15-9e26-b584e5277353" providerId="ADAL" clId="{A0FA188E-4539-1B4B-8F7A-AF25ADD774B0}" dt="2024-03-11T16:27:05.994" v="2"/>
          <ac:spMkLst>
            <pc:docMk/>
            <pc:sldMk cId="1082155410" sldId="257"/>
            <ac:spMk id="23" creationId="{5F1B5E75-50E4-89DB-0B5A-5BC8B95CDE97}"/>
          </ac:spMkLst>
        </pc:spChg>
        <pc:spChg chg="mod">
          <ac:chgData name="Stefan, Chantal" userId="32a90bb8-83ff-4b15-9e26-b584e5277353" providerId="ADAL" clId="{A0FA188E-4539-1B4B-8F7A-AF25ADD774B0}" dt="2024-03-11T16:27:05.994" v="2"/>
          <ac:spMkLst>
            <pc:docMk/>
            <pc:sldMk cId="1082155410" sldId="257"/>
            <ac:spMk id="24" creationId="{3E18D241-1AE6-5659-C15D-B9BC5AC45880}"/>
          </ac:spMkLst>
        </pc:spChg>
        <pc:spChg chg="mod">
          <ac:chgData name="Stefan, Chantal" userId="32a90bb8-83ff-4b15-9e26-b584e5277353" providerId="ADAL" clId="{A0FA188E-4539-1B4B-8F7A-AF25ADD774B0}" dt="2024-03-11T18:00:34.373" v="1010" actId="1036"/>
          <ac:spMkLst>
            <pc:docMk/>
            <pc:sldMk cId="1082155410" sldId="257"/>
            <ac:spMk id="25" creationId="{CD01F0E5-E881-7C03-8C31-7922E591E19B}"/>
          </ac:spMkLst>
        </pc:spChg>
        <pc:spChg chg="add mod">
          <ac:chgData name="Stefan, Chantal" userId="32a90bb8-83ff-4b15-9e26-b584e5277353" providerId="ADAL" clId="{A0FA188E-4539-1B4B-8F7A-AF25ADD774B0}" dt="2024-03-11T18:05:30.802" v="1049" actId="1076"/>
          <ac:spMkLst>
            <pc:docMk/>
            <pc:sldMk cId="1082155410" sldId="257"/>
            <ac:spMk id="26" creationId="{E2311A65-F131-DB58-4D1C-312CF68B09AB}"/>
          </ac:spMkLst>
        </pc:spChg>
        <pc:spChg chg="add mod">
          <ac:chgData name="Stefan, Chantal" userId="32a90bb8-83ff-4b15-9e26-b584e5277353" providerId="ADAL" clId="{A0FA188E-4539-1B4B-8F7A-AF25ADD774B0}" dt="2024-03-11T18:05:30.802" v="1049" actId="1076"/>
          <ac:spMkLst>
            <pc:docMk/>
            <pc:sldMk cId="1082155410" sldId="257"/>
            <ac:spMk id="27" creationId="{2D77F298-C805-2C9A-7043-3BE0C9638089}"/>
          </ac:spMkLst>
        </pc:spChg>
        <pc:spChg chg="add del mod">
          <ac:chgData name="Stefan, Chantal" userId="32a90bb8-83ff-4b15-9e26-b584e5277353" providerId="ADAL" clId="{A0FA188E-4539-1B4B-8F7A-AF25ADD774B0}" dt="2024-03-11T16:27:35.914" v="7" actId="478"/>
          <ac:spMkLst>
            <pc:docMk/>
            <pc:sldMk cId="1082155410" sldId="257"/>
            <ac:spMk id="28" creationId="{906A9C20-773F-25F0-4116-ADDFF1659304}"/>
          </ac:spMkLst>
        </pc:spChg>
        <pc:spChg chg="add mod">
          <ac:chgData name="Stefan, Chantal" userId="32a90bb8-83ff-4b15-9e26-b584e5277353" providerId="ADAL" clId="{A0FA188E-4539-1B4B-8F7A-AF25ADD774B0}" dt="2024-03-11T18:05:30.802" v="1049" actId="1076"/>
          <ac:spMkLst>
            <pc:docMk/>
            <pc:sldMk cId="1082155410" sldId="257"/>
            <ac:spMk id="29" creationId="{938BECAF-B7C6-BD47-7150-4DFB012737F4}"/>
          </ac:spMkLst>
        </pc:spChg>
        <pc:spChg chg="add mod">
          <ac:chgData name="Stefan, Chantal" userId="32a90bb8-83ff-4b15-9e26-b584e5277353" providerId="ADAL" clId="{A0FA188E-4539-1B4B-8F7A-AF25ADD774B0}" dt="2024-03-11T18:05:30.802" v="1049" actId="1076"/>
          <ac:spMkLst>
            <pc:docMk/>
            <pc:sldMk cId="1082155410" sldId="257"/>
            <ac:spMk id="30" creationId="{EA857B12-0FDA-C9F2-099A-F6D092E3A6F4}"/>
          </ac:spMkLst>
        </pc:spChg>
        <pc:spChg chg="add del mod">
          <ac:chgData name="Stefan, Chantal" userId="32a90bb8-83ff-4b15-9e26-b584e5277353" providerId="ADAL" clId="{A0FA188E-4539-1B4B-8F7A-AF25ADD774B0}" dt="2024-03-11T16:30:04.601" v="85" actId="478"/>
          <ac:spMkLst>
            <pc:docMk/>
            <pc:sldMk cId="1082155410" sldId="257"/>
            <ac:spMk id="31" creationId="{D6B270DA-7A59-619D-4733-99BF5DE4A4C5}"/>
          </ac:spMkLst>
        </pc:spChg>
        <pc:spChg chg="add mod">
          <ac:chgData name="Stefan, Chantal" userId="32a90bb8-83ff-4b15-9e26-b584e5277353" providerId="ADAL" clId="{A0FA188E-4539-1B4B-8F7A-AF25ADD774B0}" dt="2024-03-11T18:05:30.802" v="1049" actId="1076"/>
          <ac:spMkLst>
            <pc:docMk/>
            <pc:sldMk cId="1082155410" sldId="257"/>
            <ac:spMk id="32" creationId="{E7E10665-92AB-0041-94F3-CF28B2B6A98D}"/>
          </ac:spMkLst>
        </pc:spChg>
        <pc:spChg chg="add mod">
          <ac:chgData name="Stefan, Chantal" userId="32a90bb8-83ff-4b15-9e26-b584e5277353" providerId="ADAL" clId="{A0FA188E-4539-1B4B-8F7A-AF25ADD774B0}" dt="2024-03-11T18:05:30.802" v="1049" actId="1076"/>
          <ac:spMkLst>
            <pc:docMk/>
            <pc:sldMk cId="1082155410" sldId="257"/>
            <ac:spMk id="33" creationId="{25B89320-BBB8-313C-B66D-71FB06232232}"/>
          </ac:spMkLst>
        </pc:spChg>
        <pc:spChg chg="add del mod">
          <ac:chgData name="Stefan, Chantal" userId="32a90bb8-83ff-4b15-9e26-b584e5277353" providerId="ADAL" clId="{A0FA188E-4539-1B4B-8F7A-AF25ADD774B0}" dt="2024-03-11T16:30:06.797" v="86" actId="478"/>
          <ac:spMkLst>
            <pc:docMk/>
            <pc:sldMk cId="1082155410" sldId="257"/>
            <ac:spMk id="34" creationId="{63F9878A-8C02-AFD1-52A4-51B45B5EE809}"/>
          </ac:spMkLst>
        </pc:spChg>
        <pc:spChg chg="add del mod">
          <ac:chgData name="Stefan, Chantal" userId="32a90bb8-83ff-4b15-9e26-b584e5277353" providerId="ADAL" clId="{A0FA188E-4539-1B4B-8F7A-AF25ADD774B0}" dt="2024-03-11T16:30:02.264" v="84" actId="478"/>
          <ac:spMkLst>
            <pc:docMk/>
            <pc:sldMk cId="1082155410" sldId="257"/>
            <ac:spMk id="35" creationId="{874AB400-BC08-54FF-1481-E6B620C9A9B2}"/>
          </ac:spMkLst>
        </pc:spChg>
        <pc:spChg chg="add del mod">
          <ac:chgData name="Stefan, Chantal" userId="32a90bb8-83ff-4b15-9e26-b584e5277353" providerId="ADAL" clId="{A0FA188E-4539-1B4B-8F7A-AF25ADD774B0}" dt="2024-03-11T16:29:59.397" v="83" actId="478"/>
          <ac:spMkLst>
            <pc:docMk/>
            <pc:sldMk cId="1082155410" sldId="257"/>
            <ac:spMk id="36" creationId="{906D7D44-26D1-A9D8-0713-22BBD947B4DE}"/>
          </ac:spMkLst>
        </pc:spChg>
        <pc:spChg chg="add del mod modVis">
          <ac:chgData name="Stefan, Chantal" userId="32a90bb8-83ff-4b15-9e26-b584e5277353" providerId="ADAL" clId="{A0FA188E-4539-1B4B-8F7A-AF25ADD774B0}" dt="2024-03-11T16:28:41.317" v="40"/>
          <ac:spMkLst>
            <pc:docMk/>
            <pc:sldMk cId="1082155410" sldId="257"/>
            <ac:spMk id="37" creationId="{A65BDAC9-A475-3B94-B836-8A379730DFC5}"/>
          </ac:spMkLst>
        </pc:spChg>
        <pc:spChg chg="add del mod modVis">
          <ac:chgData name="Stefan, Chantal" userId="32a90bb8-83ff-4b15-9e26-b584e5277353" providerId="ADAL" clId="{A0FA188E-4539-1B4B-8F7A-AF25ADD774B0}" dt="2024-03-11T16:28:42.856" v="80"/>
          <ac:spMkLst>
            <pc:docMk/>
            <pc:sldMk cId="1082155410" sldId="257"/>
            <ac:spMk id="39" creationId="{B05ECD7A-C833-FA02-BB1D-FC23B36DC7CD}"/>
          </ac:spMkLst>
        </pc:spChg>
        <pc:spChg chg="add del mod">
          <ac:chgData name="Stefan, Chantal" userId="32a90bb8-83ff-4b15-9e26-b584e5277353" providerId="ADAL" clId="{A0FA188E-4539-1B4B-8F7A-AF25ADD774B0}" dt="2024-03-11T16:32:59.242" v="483" actId="478"/>
          <ac:spMkLst>
            <pc:docMk/>
            <pc:sldMk cId="1082155410" sldId="257"/>
            <ac:spMk id="40" creationId="{A976F513-A24D-ACED-9B6A-4D6982ECBBAF}"/>
          </ac:spMkLst>
        </pc:spChg>
        <pc:spChg chg="add del mod">
          <ac:chgData name="Stefan, Chantal" userId="32a90bb8-83ff-4b15-9e26-b584e5277353" providerId="ADAL" clId="{A0FA188E-4539-1B4B-8F7A-AF25ADD774B0}" dt="2024-03-11T16:33:33.982" v="490" actId="478"/>
          <ac:spMkLst>
            <pc:docMk/>
            <pc:sldMk cId="1082155410" sldId="257"/>
            <ac:spMk id="41" creationId="{204BF5C1-1B73-0DFA-2948-3D4C48AD8838}"/>
          </ac:spMkLst>
        </pc:spChg>
        <pc:spChg chg="add del mod">
          <ac:chgData name="Stefan, Chantal" userId="32a90bb8-83ff-4b15-9e26-b584e5277353" providerId="ADAL" clId="{A0FA188E-4539-1B4B-8F7A-AF25ADD774B0}" dt="2024-03-11T16:33:15.126" v="487" actId="478"/>
          <ac:spMkLst>
            <pc:docMk/>
            <pc:sldMk cId="1082155410" sldId="257"/>
            <ac:spMk id="42" creationId="{451E5F8B-165F-AA22-8925-E3BF8F480058}"/>
          </ac:spMkLst>
        </pc:spChg>
        <pc:spChg chg="add del mod">
          <ac:chgData name="Stefan, Chantal" userId="32a90bb8-83ff-4b15-9e26-b584e5277353" providerId="ADAL" clId="{A0FA188E-4539-1B4B-8F7A-AF25ADD774B0}" dt="2024-03-11T18:02:14.137" v="1014" actId="478"/>
          <ac:spMkLst>
            <pc:docMk/>
            <pc:sldMk cId="1082155410" sldId="257"/>
            <ac:spMk id="43" creationId="{694CBC29-6A5B-81ED-762A-6A0CB1399884}"/>
          </ac:spMkLst>
        </pc:spChg>
        <pc:spChg chg="add mod">
          <ac:chgData name="Stefan, Chantal" userId="32a90bb8-83ff-4b15-9e26-b584e5277353" providerId="ADAL" clId="{A0FA188E-4539-1B4B-8F7A-AF25ADD774B0}" dt="2024-03-12T15:58:16.248" v="2130" actId="20577"/>
          <ac:spMkLst>
            <pc:docMk/>
            <pc:sldMk cId="1082155410" sldId="257"/>
            <ac:spMk id="56" creationId="{5D4C6473-7B1D-4CCD-F15D-76E93B1851FD}"/>
          </ac:spMkLst>
        </pc:spChg>
        <pc:spChg chg="add mod">
          <ac:chgData name="Stefan, Chantal" userId="32a90bb8-83ff-4b15-9e26-b584e5277353" providerId="ADAL" clId="{A0FA188E-4539-1B4B-8F7A-AF25ADD774B0}" dt="2024-03-11T18:42:56.881" v="2106" actId="1076"/>
          <ac:spMkLst>
            <pc:docMk/>
            <pc:sldMk cId="1082155410" sldId="257"/>
            <ac:spMk id="57" creationId="{E25A8CD9-BD41-1562-5DD7-52A2C836C16B}"/>
          </ac:spMkLst>
        </pc:spChg>
        <pc:spChg chg="add mod">
          <ac:chgData name="Stefan, Chantal" userId="32a90bb8-83ff-4b15-9e26-b584e5277353" providerId="ADAL" clId="{A0FA188E-4539-1B4B-8F7A-AF25ADD774B0}" dt="2024-03-11T18:08:26.486" v="1081" actId="12"/>
          <ac:spMkLst>
            <pc:docMk/>
            <pc:sldMk cId="1082155410" sldId="257"/>
            <ac:spMk id="58" creationId="{B58D5253-6FD4-87B0-D073-5902BA806E17}"/>
          </ac:spMkLst>
        </pc:spChg>
        <pc:spChg chg="add mod">
          <ac:chgData name="Stefan, Chantal" userId="32a90bb8-83ff-4b15-9e26-b584e5277353" providerId="ADAL" clId="{A0FA188E-4539-1B4B-8F7A-AF25ADD774B0}" dt="2024-03-11T18:09:04.420" v="1087" actId="20577"/>
          <ac:spMkLst>
            <pc:docMk/>
            <pc:sldMk cId="1082155410" sldId="257"/>
            <ac:spMk id="59" creationId="{AD0D71D1-EA1D-996B-1CBE-B747D236A4F6}"/>
          </ac:spMkLst>
        </pc:spChg>
        <pc:spChg chg="add del mod modVis">
          <ac:chgData name="Stefan, Chantal" userId="32a90bb8-83ff-4b15-9e26-b584e5277353" providerId="ADAL" clId="{A0FA188E-4539-1B4B-8F7A-AF25ADD774B0}" dt="2024-03-11T18:29:49.474" v="1610"/>
          <ac:spMkLst>
            <pc:docMk/>
            <pc:sldMk cId="1082155410" sldId="257"/>
            <ac:spMk id="61" creationId="{1D073D71-56C7-7AB5-9C6C-F7BCB1DE6112}"/>
          </ac:spMkLst>
        </pc:spChg>
        <pc:spChg chg="add del mod modVis">
          <ac:chgData name="Stefan, Chantal" userId="32a90bb8-83ff-4b15-9e26-b584e5277353" providerId="ADAL" clId="{A0FA188E-4539-1B4B-8F7A-AF25ADD774B0}" dt="2024-03-11T18:29:51.001" v="1641"/>
          <ac:spMkLst>
            <pc:docMk/>
            <pc:sldMk cId="1082155410" sldId="257"/>
            <ac:spMk id="62" creationId="{714DADB2-5005-58ED-A8A6-B7B22032F24F}"/>
          </ac:spMkLst>
        </pc:spChg>
        <pc:spChg chg="add del mod modVis">
          <ac:chgData name="Stefan, Chantal" userId="32a90bb8-83ff-4b15-9e26-b584e5277353" providerId="ADAL" clId="{A0FA188E-4539-1B4B-8F7A-AF25ADD774B0}" dt="2024-03-11T18:29:52.685" v="1669"/>
          <ac:spMkLst>
            <pc:docMk/>
            <pc:sldMk cId="1082155410" sldId="257"/>
            <ac:spMk id="63" creationId="{1FD7F476-C91F-BB4A-BE1D-66929F984509}"/>
          </ac:spMkLst>
        </pc:spChg>
        <pc:spChg chg="add del mod modVis">
          <ac:chgData name="Stefan, Chantal" userId="32a90bb8-83ff-4b15-9e26-b584e5277353" providerId="ADAL" clId="{A0FA188E-4539-1B4B-8F7A-AF25ADD774B0}" dt="2024-03-11T18:29:53.611" v="1697"/>
          <ac:spMkLst>
            <pc:docMk/>
            <pc:sldMk cId="1082155410" sldId="257"/>
            <ac:spMk id="64" creationId="{EE0FC8BD-F107-F810-5B50-3091EF200A72}"/>
          </ac:spMkLst>
        </pc:spChg>
        <pc:spChg chg="add del mod modVis">
          <ac:chgData name="Stefan, Chantal" userId="32a90bb8-83ff-4b15-9e26-b584e5277353" providerId="ADAL" clId="{A0FA188E-4539-1B4B-8F7A-AF25ADD774B0}" dt="2024-03-11T18:29:54.483" v="1727"/>
          <ac:spMkLst>
            <pc:docMk/>
            <pc:sldMk cId="1082155410" sldId="257"/>
            <ac:spMk id="65" creationId="{2AE86B8F-EE77-C6FC-2399-A11C0439FE8C}"/>
          </ac:spMkLst>
        </pc:spChg>
        <pc:spChg chg="add del mod modVis">
          <ac:chgData name="Stefan, Chantal" userId="32a90bb8-83ff-4b15-9e26-b584e5277353" providerId="ADAL" clId="{A0FA188E-4539-1B4B-8F7A-AF25ADD774B0}" dt="2024-03-11T18:29:57.150" v="1761"/>
          <ac:spMkLst>
            <pc:docMk/>
            <pc:sldMk cId="1082155410" sldId="257"/>
            <ac:spMk id="66" creationId="{20040EBE-7449-9A03-862A-B2D7373AAED5}"/>
          </ac:spMkLst>
        </pc:spChg>
        <pc:spChg chg="add del mod modVis">
          <ac:chgData name="Stefan, Chantal" userId="32a90bb8-83ff-4b15-9e26-b584e5277353" providerId="ADAL" clId="{A0FA188E-4539-1B4B-8F7A-AF25ADD774B0}" dt="2024-03-11T18:30:01.326" v="1801"/>
          <ac:spMkLst>
            <pc:docMk/>
            <pc:sldMk cId="1082155410" sldId="257"/>
            <ac:spMk id="67" creationId="{F5449685-0088-F939-CCC8-BA53948A1384}"/>
          </ac:spMkLst>
        </pc:spChg>
        <pc:spChg chg="add del mod modVis">
          <ac:chgData name="Stefan, Chantal" userId="32a90bb8-83ff-4b15-9e26-b584e5277353" providerId="ADAL" clId="{A0FA188E-4539-1B4B-8F7A-AF25ADD774B0}" dt="2024-03-11T18:30:03.879" v="1838"/>
          <ac:spMkLst>
            <pc:docMk/>
            <pc:sldMk cId="1082155410" sldId="257"/>
            <ac:spMk id="68" creationId="{95E905BC-AD29-A4A0-8C9E-BD29914D8929}"/>
          </ac:spMkLst>
        </pc:spChg>
        <pc:spChg chg="add del mod modVis">
          <ac:chgData name="Stefan, Chantal" userId="32a90bb8-83ff-4b15-9e26-b584e5277353" providerId="ADAL" clId="{A0FA188E-4539-1B4B-8F7A-AF25ADD774B0}" dt="2024-03-11T18:30:05.062" v="1869"/>
          <ac:spMkLst>
            <pc:docMk/>
            <pc:sldMk cId="1082155410" sldId="257"/>
            <ac:spMk id="69" creationId="{E9E09943-DF97-90B6-E373-622E4A7C5E5F}"/>
          </ac:spMkLst>
        </pc:spChg>
        <pc:spChg chg="add del mod modVis">
          <ac:chgData name="Stefan, Chantal" userId="32a90bb8-83ff-4b15-9e26-b584e5277353" providerId="ADAL" clId="{A0FA188E-4539-1B4B-8F7A-AF25ADD774B0}" dt="2024-03-11T18:30:16.561" v="1903"/>
          <ac:spMkLst>
            <pc:docMk/>
            <pc:sldMk cId="1082155410" sldId="257"/>
            <ac:spMk id="70" creationId="{D540A78F-7F68-7E8E-2FB0-E849938CA14B}"/>
          </ac:spMkLst>
        </pc:spChg>
        <pc:spChg chg="add del mod modVis">
          <ac:chgData name="Stefan, Chantal" userId="32a90bb8-83ff-4b15-9e26-b584e5277353" providerId="ADAL" clId="{A0FA188E-4539-1B4B-8F7A-AF25ADD774B0}" dt="2024-03-11T18:30:20.055" v="1931"/>
          <ac:spMkLst>
            <pc:docMk/>
            <pc:sldMk cId="1082155410" sldId="257"/>
            <ac:spMk id="71" creationId="{3049A672-F90E-3493-DCB6-93D3A2EC469A}"/>
          </ac:spMkLst>
        </pc:spChg>
        <pc:spChg chg="add del mod">
          <ac:chgData name="Stefan, Chantal" userId="32a90bb8-83ff-4b15-9e26-b584e5277353" providerId="ADAL" clId="{A0FA188E-4539-1B4B-8F7A-AF25ADD774B0}" dt="2024-03-11T18:32:08.307" v="1936" actId="478"/>
          <ac:spMkLst>
            <pc:docMk/>
            <pc:sldMk cId="1082155410" sldId="257"/>
            <ac:spMk id="72" creationId="{7A9A88ED-E021-342B-C7FA-50772971242F}"/>
          </ac:spMkLst>
        </pc:spChg>
        <pc:spChg chg="add mod">
          <ac:chgData name="Stefan, Chantal" userId="32a90bb8-83ff-4b15-9e26-b584e5277353" providerId="ADAL" clId="{A0FA188E-4539-1B4B-8F7A-AF25ADD774B0}" dt="2024-03-11T18:41:49.319" v="2105" actId="313"/>
          <ac:spMkLst>
            <pc:docMk/>
            <pc:sldMk cId="1082155410" sldId="257"/>
            <ac:spMk id="73" creationId="{8C870281-D7DF-A4D3-DB3A-D627BE64C3AC}"/>
          </ac:spMkLst>
        </pc:spChg>
        <pc:grpChg chg="add mod">
          <ac:chgData name="Stefan, Chantal" userId="32a90bb8-83ff-4b15-9e26-b584e5277353" providerId="ADAL" clId="{A0FA188E-4539-1B4B-8F7A-AF25ADD774B0}" dt="2024-03-11T18:05:30.802" v="1049" actId="1076"/>
          <ac:grpSpMkLst>
            <pc:docMk/>
            <pc:sldMk cId="1082155410" sldId="257"/>
            <ac:grpSpMk id="10" creationId="{391CF16F-7CAE-4842-CCEC-88D6AE2890E9}"/>
          </ac:grpSpMkLst>
        </pc:grpChg>
        <pc:grpChg chg="add mod">
          <ac:chgData name="Stefan, Chantal" userId="32a90bb8-83ff-4b15-9e26-b584e5277353" providerId="ADAL" clId="{A0FA188E-4539-1B4B-8F7A-AF25ADD774B0}" dt="2024-03-11T18:05:30.802" v="1049" actId="1076"/>
          <ac:grpSpMkLst>
            <pc:docMk/>
            <pc:sldMk cId="1082155410" sldId="257"/>
            <ac:grpSpMk id="14" creationId="{3DEA8827-21F6-30B1-A003-A3D68D5266DD}"/>
          </ac:grpSpMkLst>
        </pc:grpChg>
        <pc:grpChg chg="add mod">
          <ac:chgData name="Stefan, Chantal" userId="32a90bb8-83ff-4b15-9e26-b584e5277353" providerId="ADAL" clId="{A0FA188E-4539-1B4B-8F7A-AF25ADD774B0}" dt="2024-03-11T18:05:30.802" v="1049" actId="1076"/>
          <ac:grpSpMkLst>
            <pc:docMk/>
            <pc:sldMk cId="1082155410" sldId="257"/>
            <ac:grpSpMk id="18" creationId="{752C040E-CBFA-DAF8-0602-70F36E98C337}"/>
          </ac:grpSpMkLst>
        </pc:grpChg>
        <pc:grpChg chg="add mod">
          <ac:chgData name="Stefan, Chantal" userId="32a90bb8-83ff-4b15-9e26-b584e5277353" providerId="ADAL" clId="{A0FA188E-4539-1B4B-8F7A-AF25ADD774B0}" dt="2024-03-11T18:05:30.802" v="1049" actId="1076"/>
          <ac:grpSpMkLst>
            <pc:docMk/>
            <pc:sldMk cId="1082155410" sldId="257"/>
            <ac:grpSpMk id="22" creationId="{0A5386C2-CE69-EC5A-CB6A-BEDCD9374E25}"/>
          </ac:grpSpMkLst>
        </pc:grpChg>
        <pc:grpChg chg="add mod">
          <ac:chgData name="Stefan, Chantal" userId="32a90bb8-83ff-4b15-9e26-b584e5277353" providerId="ADAL" clId="{A0FA188E-4539-1B4B-8F7A-AF25ADD774B0}" dt="2024-03-11T18:05:52.768" v="1051" actId="14100"/>
          <ac:grpSpMkLst>
            <pc:docMk/>
            <pc:sldMk cId="1082155410" sldId="257"/>
            <ac:grpSpMk id="60" creationId="{DEDDD0EE-DDC9-C287-E923-7BA995529A27}"/>
          </ac:grpSpMkLst>
        </pc:grpChg>
        <pc:graphicFrameChg chg="add mod modVis replST">
          <ac:chgData name="Stefan, Chantal" userId="32a90bb8-83ff-4b15-9e26-b584e5277353" providerId="ADAL" clId="{A0FA188E-4539-1B4B-8F7A-AF25ADD774B0}" dt="2024-03-11T18:30:20.058" v="1933"/>
          <ac:graphicFrameMkLst>
            <pc:docMk/>
            <pc:sldMk cId="1082155410" sldId="257"/>
            <ac:graphicFrameMk id="38" creationId="{616570B3-AD72-2B9E-CF79-0986F9B567A4}"/>
          </ac:graphicFrameMkLst>
        </pc:graphicFrameChg>
        <pc:picChg chg="add del mod">
          <ac:chgData name="Stefan, Chantal" userId="32a90bb8-83ff-4b15-9e26-b584e5277353" providerId="ADAL" clId="{A0FA188E-4539-1B4B-8F7A-AF25ADD774B0}" dt="2024-03-11T18:00:06.932" v="1002" actId="478"/>
          <ac:picMkLst>
            <pc:docMk/>
            <pc:sldMk cId="1082155410" sldId="257"/>
            <ac:picMk id="45" creationId="{A174CAA1-7CE9-5E6F-A47E-F9804F4199ED}"/>
          </ac:picMkLst>
        </pc:picChg>
        <pc:picChg chg="add del mod">
          <ac:chgData name="Stefan, Chantal" userId="32a90bb8-83ff-4b15-9e26-b584e5277353" providerId="ADAL" clId="{A0FA188E-4539-1B4B-8F7A-AF25ADD774B0}" dt="2024-03-11T17:59:49.912" v="995" actId="478"/>
          <ac:picMkLst>
            <pc:docMk/>
            <pc:sldMk cId="1082155410" sldId="257"/>
            <ac:picMk id="47" creationId="{86B9DE49-59F8-4620-ADA5-D526C65A4F12}"/>
          </ac:picMkLst>
        </pc:picChg>
        <pc:picChg chg="add mod">
          <ac:chgData name="Stefan, Chantal" userId="32a90bb8-83ff-4b15-9e26-b584e5277353" providerId="ADAL" clId="{A0FA188E-4539-1B4B-8F7A-AF25ADD774B0}" dt="2024-03-11T18:05:30.802" v="1049" actId="1076"/>
          <ac:picMkLst>
            <pc:docMk/>
            <pc:sldMk cId="1082155410" sldId="257"/>
            <ac:picMk id="49" creationId="{BBFFA04B-61D6-11E9-8362-7E1BE9DBB030}"/>
          </ac:picMkLst>
        </pc:picChg>
        <pc:picChg chg="add mod">
          <ac:chgData name="Stefan, Chantal" userId="32a90bb8-83ff-4b15-9e26-b584e5277353" providerId="ADAL" clId="{A0FA188E-4539-1B4B-8F7A-AF25ADD774B0}" dt="2024-03-11T18:05:30.802" v="1049" actId="1076"/>
          <ac:picMkLst>
            <pc:docMk/>
            <pc:sldMk cId="1082155410" sldId="257"/>
            <ac:picMk id="51" creationId="{209D10DA-B6AE-FFF5-C8A1-0891AC569C59}"/>
          </ac:picMkLst>
        </pc:picChg>
        <pc:picChg chg="add mod">
          <ac:chgData name="Stefan, Chantal" userId="32a90bb8-83ff-4b15-9e26-b584e5277353" providerId="ADAL" clId="{A0FA188E-4539-1B4B-8F7A-AF25ADD774B0}" dt="2024-03-11T18:05:30.802" v="1049" actId="1076"/>
          <ac:picMkLst>
            <pc:docMk/>
            <pc:sldMk cId="1082155410" sldId="257"/>
            <ac:picMk id="53" creationId="{55A0BACD-4E54-D8E7-0060-A9FBA011BA29}"/>
          </ac:picMkLst>
        </pc:picChg>
        <pc:picChg chg="add mod">
          <ac:chgData name="Stefan, Chantal" userId="32a90bb8-83ff-4b15-9e26-b584e5277353" providerId="ADAL" clId="{A0FA188E-4539-1B4B-8F7A-AF25ADD774B0}" dt="2024-03-11T18:05:30.802" v="1049" actId="1076"/>
          <ac:picMkLst>
            <pc:docMk/>
            <pc:sldMk cId="1082155410" sldId="257"/>
            <ac:picMk id="55" creationId="{89EB9C8F-2550-7AE4-FD02-864A8934FECC}"/>
          </ac:picMkLst>
        </pc:picChg>
      </pc:sldChg>
      <pc:sldChg chg="addSp delSp modSp mod">
        <pc:chgData name="Stefan, Chantal" userId="32a90bb8-83ff-4b15-9e26-b584e5277353" providerId="ADAL" clId="{A0FA188E-4539-1B4B-8F7A-AF25ADD774B0}" dt="2024-03-16T16:37:29.342" v="8608" actId="1037"/>
        <pc:sldMkLst>
          <pc:docMk/>
          <pc:sldMk cId="3810020212" sldId="257"/>
        </pc:sldMkLst>
        <pc:spChg chg="mod">
          <ac:chgData name="Stefan, Chantal" userId="32a90bb8-83ff-4b15-9e26-b584e5277353" providerId="ADAL" clId="{A0FA188E-4539-1B4B-8F7A-AF25ADD774B0}" dt="2024-03-12T17:38:20.816" v="3414" actId="948"/>
          <ac:spMkLst>
            <pc:docMk/>
            <pc:sldMk cId="3810020212" sldId="257"/>
            <ac:spMk id="2" creationId="{6EBE7D5A-8264-6333-A8F4-9072F68C4F3C}"/>
          </ac:spMkLst>
        </pc:spChg>
        <pc:spChg chg="add mod">
          <ac:chgData name="Stefan, Chantal" userId="32a90bb8-83ff-4b15-9e26-b584e5277353" providerId="ADAL" clId="{A0FA188E-4539-1B4B-8F7A-AF25ADD774B0}" dt="2024-03-12T17:35:11.296" v="3324" actId="1076"/>
          <ac:spMkLst>
            <pc:docMk/>
            <pc:sldMk cId="3810020212" sldId="257"/>
            <ac:spMk id="3" creationId="{70608CA7-CC47-15C4-001C-82ED5A54F876}"/>
          </ac:spMkLst>
        </pc:spChg>
        <pc:spChg chg="add mod">
          <ac:chgData name="Stefan, Chantal" userId="32a90bb8-83ff-4b15-9e26-b584e5277353" providerId="ADAL" clId="{A0FA188E-4539-1B4B-8F7A-AF25ADD774B0}" dt="2024-03-12T17:33:13.446" v="3300" actId="1076"/>
          <ac:spMkLst>
            <pc:docMk/>
            <pc:sldMk cId="3810020212" sldId="257"/>
            <ac:spMk id="10" creationId="{1F8F6472-69D6-5E3E-5834-26D772E99C1D}"/>
          </ac:spMkLst>
        </pc:spChg>
        <pc:spChg chg="add mod">
          <ac:chgData name="Stefan, Chantal" userId="32a90bb8-83ff-4b15-9e26-b584e5277353" providerId="ADAL" clId="{A0FA188E-4539-1B4B-8F7A-AF25ADD774B0}" dt="2024-03-12T17:35:04.613" v="3323" actId="1076"/>
          <ac:spMkLst>
            <pc:docMk/>
            <pc:sldMk cId="3810020212" sldId="257"/>
            <ac:spMk id="11" creationId="{CCFC4D5E-6281-AE75-4290-7F8E7E22D2FE}"/>
          </ac:spMkLst>
        </pc:spChg>
        <pc:spChg chg="add mod">
          <ac:chgData name="Stefan, Chantal" userId="32a90bb8-83ff-4b15-9e26-b584e5277353" providerId="ADAL" clId="{A0FA188E-4539-1B4B-8F7A-AF25ADD774B0}" dt="2024-03-14T17:01:52.172" v="4011" actId="1036"/>
          <ac:spMkLst>
            <pc:docMk/>
            <pc:sldMk cId="3810020212" sldId="257"/>
            <ac:spMk id="12" creationId="{35ADEFE0-151E-CF6A-4358-3091DEAEF96B}"/>
          </ac:spMkLst>
        </pc:spChg>
        <pc:spChg chg="add del mod modVis">
          <ac:chgData name="Stefan, Chantal" userId="32a90bb8-83ff-4b15-9e26-b584e5277353" providerId="ADAL" clId="{A0FA188E-4539-1B4B-8F7A-AF25ADD774B0}" dt="2024-03-12T17:38:09.141" v="3350"/>
          <ac:spMkLst>
            <pc:docMk/>
            <pc:sldMk cId="3810020212" sldId="257"/>
            <ac:spMk id="12" creationId="{C13470D8-1384-D11C-453E-54F895404949}"/>
          </ac:spMkLst>
        </pc:spChg>
        <pc:spChg chg="add del mod modVis">
          <ac:chgData name="Stefan, Chantal" userId="32a90bb8-83ff-4b15-9e26-b584e5277353" providerId="ADAL" clId="{A0FA188E-4539-1B4B-8F7A-AF25ADD774B0}" dt="2024-03-12T17:38:13.171" v="3380"/>
          <ac:spMkLst>
            <pc:docMk/>
            <pc:sldMk cId="3810020212" sldId="257"/>
            <ac:spMk id="15" creationId="{BC41DBE3-BFB1-46F6-8023-AD9B462E0A47}"/>
          </ac:spMkLst>
        </pc:spChg>
        <pc:spChg chg="add del mod modVis">
          <ac:chgData name="Stefan, Chantal" userId="32a90bb8-83ff-4b15-9e26-b584e5277353" providerId="ADAL" clId="{A0FA188E-4539-1B4B-8F7A-AF25ADD774B0}" dt="2024-03-12T17:38:16.734" v="3410"/>
          <ac:spMkLst>
            <pc:docMk/>
            <pc:sldMk cId="3810020212" sldId="257"/>
            <ac:spMk id="17" creationId="{4ED7265F-D629-E8EB-494C-82DE8A23A990}"/>
          </ac:spMkLst>
        </pc:spChg>
        <pc:spChg chg="add del mod modVis">
          <ac:chgData name="Stefan, Chantal" userId="32a90bb8-83ff-4b15-9e26-b584e5277353" providerId="ADAL" clId="{A0FA188E-4539-1B4B-8F7A-AF25ADD774B0}" dt="2024-03-12T17:38:20.847" v="3438"/>
          <ac:spMkLst>
            <pc:docMk/>
            <pc:sldMk cId="3810020212" sldId="257"/>
            <ac:spMk id="18" creationId="{C4F8E0F8-CF49-E4FA-01D1-C7F56E950414}"/>
          </ac:spMkLst>
        </pc:spChg>
        <pc:graphicFrameChg chg="mod">
          <ac:chgData name="Stefan, Chantal" userId="32a90bb8-83ff-4b15-9e26-b584e5277353" providerId="ADAL" clId="{A0FA188E-4539-1B4B-8F7A-AF25ADD774B0}" dt="2024-03-12T17:38:20.849" v="3440"/>
          <ac:graphicFrameMkLst>
            <pc:docMk/>
            <pc:sldMk cId="3810020212" sldId="257"/>
            <ac:graphicFrameMk id="5" creationId="{C21F2C7A-F4CB-0FF4-62FD-ED4BB96DB776}"/>
          </ac:graphicFrameMkLst>
        </pc:graphicFrameChg>
        <pc:graphicFrameChg chg="mod">
          <ac:chgData name="Stefan, Chantal" userId="32a90bb8-83ff-4b15-9e26-b584e5277353" providerId="ADAL" clId="{A0FA188E-4539-1B4B-8F7A-AF25ADD774B0}" dt="2024-03-14T16:58:55.853" v="3800" actId="20577"/>
          <ac:graphicFrameMkLst>
            <pc:docMk/>
            <pc:sldMk cId="3810020212" sldId="257"/>
            <ac:graphicFrameMk id="8" creationId="{B7C7AF3F-BD9F-0B75-26A1-87340749A6F0}"/>
          </ac:graphicFrameMkLst>
        </pc:graphicFrameChg>
        <pc:picChg chg="mod">
          <ac:chgData name="Stefan, Chantal" userId="32a90bb8-83ff-4b15-9e26-b584e5277353" providerId="ADAL" clId="{A0FA188E-4539-1B4B-8F7A-AF25ADD774B0}" dt="2024-03-16T16:37:29.342" v="8608" actId="1037"/>
          <ac:picMkLst>
            <pc:docMk/>
            <pc:sldMk cId="3810020212" sldId="257"/>
            <ac:picMk id="9" creationId="{F46AFCFE-1DB8-8B95-EBC1-015010636F99}"/>
          </ac:picMkLst>
        </pc:picChg>
      </pc:sldChg>
      <pc:sldChg chg="addSp delSp modSp new mod modAnim addCm delCm">
        <pc:chgData name="Stefan, Chantal" userId="32a90bb8-83ff-4b15-9e26-b584e5277353" providerId="ADAL" clId="{A0FA188E-4539-1B4B-8F7A-AF25ADD774B0}" dt="2024-03-12T16:11:00.367" v="2253"/>
        <pc:sldMkLst>
          <pc:docMk/>
          <pc:sldMk cId="281733507" sldId="258"/>
        </pc:sldMkLst>
        <pc:spChg chg="mod">
          <ac:chgData name="Stefan, Chantal" userId="32a90bb8-83ff-4b15-9e26-b584e5277353" providerId="ADAL" clId="{A0FA188E-4539-1B4B-8F7A-AF25ADD774B0}" dt="2024-03-11T18:36:01.154" v="2052" actId="948"/>
          <ac:spMkLst>
            <pc:docMk/>
            <pc:sldMk cId="281733507" sldId="258"/>
            <ac:spMk id="2" creationId="{F9697FCB-DA75-253F-2067-78F01CB44722}"/>
          </ac:spMkLst>
        </pc:spChg>
        <pc:spChg chg="del">
          <ac:chgData name="Stefan, Chantal" userId="32a90bb8-83ff-4b15-9e26-b584e5277353" providerId="ADAL" clId="{A0FA188E-4539-1B4B-8F7A-AF25ADD774B0}" dt="2024-03-11T17:14:40.710" v="617" actId="478"/>
          <ac:spMkLst>
            <pc:docMk/>
            <pc:sldMk cId="281733507" sldId="258"/>
            <ac:spMk id="3" creationId="{F7F950E9-369F-6A48-601A-C88387A4DF68}"/>
          </ac:spMkLst>
        </pc:spChg>
        <pc:spChg chg="mod">
          <ac:chgData name="Stefan, Chantal" userId="32a90bb8-83ff-4b15-9e26-b584e5277353" providerId="ADAL" clId="{A0FA188E-4539-1B4B-8F7A-AF25ADD774B0}" dt="2024-03-11T18:34:13.380" v="1968"/>
          <ac:spMkLst>
            <pc:docMk/>
            <pc:sldMk cId="281733507" sldId="258"/>
            <ac:spMk id="4" creationId="{C63B4928-A25D-080B-CBB2-1DA5C0A926D7}"/>
          </ac:spMkLst>
        </pc:spChg>
        <pc:spChg chg="mod">
          <ac:chgData name="Stefan, Chantal" userId="32a90bb8-83ff-4b15-9e26-b584e5277353" providerId="ADAL" clId="{A0FA188E-4539-1B4B-8F7A-AF25ADD774B0}" dt="2024-03-11T18:34:13.380" v="1969"/>
          <ac:spMkLst>
            <pc:docMk/>
            <pc:sldMk cId="281733507" sldId="258"/>
            <ac:spMk id="5" creationId="{6F11A492-E683-EBE2-1514-FE93E34802D6}"/>
          </ac:spMkLst>
        </pc:spChg>
        <pc:spChg chg="del">
          <ac:chgData name="Stefan, Chantal" userId="32a90bb8-83ff-4b15-9e26-b584e5277353" providerId="ADAL" clId="{A0FA188E-4539-1B4B-8F7A-AF25ADD774B0}" dt="2024-03-11T17:40:17.651" v="714" actId="478"/>
          <ac:spMkLst>
            <pc:docMk/>
            <pc:sldMk cId="281733507" sldId="258"/>
            <ac:spMk id="6" creationId="{46AECEB5-4451-6646-68CA-914654C78B1F}"/>
          </ac:spMkLst>
        </pc:spChg>
        <pc:spChg chg="mod">
          <ac:chgData name="Stefan, Chantal" userId="32a90bb8-83ff-4b15-9e26-b584e5277353" providerId="ADAL" clId="{A0FA188E-4539-1B4B-8F7A-AF25ADD774B0}" dt="2024-03-11T18:37:23.676" v="2076" actId="1037"/>
          <ac:spMkLst>
            <pc:docMk/>
            <pc:sldMk cId="281733507" sldId="258"/>
            <ac:spMk id="7" creationId="{D8C3950B-82D9-93C7-FC29-8B8E0C92DB7C}"/>
          </ac:spMkLst>
        </pc:spChg>
        <pc:spChg chg="add del mod modVis">
          <ac:chgData name="Stefan, Chantal" userId="32a90bb8-83ff-4b15-9e26-b584e5277353" providerId="ADAL" clId="{A0FA188E-4539-1B4B-8F7A-AF25ADD774B0}" dt="2024-03-11T16:36:43.421" v="540"/>
          <ac:spMkLst>
            <pc:docMk/>
            <pc:sldMk cId="281733507" sldId="258"/>
            <ac:spMk id="8" creationId="{0208C56F-E274-6292-7779-B1670177CF97}"/>
          </ac:spMkLst>
        </pc:spChg>
        <pc:spChg chg="add del mod modVis">
          <ac:chgData name="Stefan, Chantal" userId="32a90bb8-83ff-4b15-9e26-b584e5277353" providerId="ADAL" clId="{A0FA188E-4539-1B4B-8F7A-AF25ADD774B0}" dt="2024-03-11T16:36:44.290" v="583"/>
          <ac:spMkLst>
            <pc:docMk/>
            <pc:sldMk cId="281733507" sldId="258"/>
            <ac:spMk id="10" creationId="{8763A9C8-07F4-848C-3078-D4782CFED222}"/>
          </ac:spMkLst>
        </pc:spChg>
        <pc:spChg chg="add del mod modVis">
          <ac:chgData name="Stefan, Chantal" userId="32a90bb8-83ff-4b15-9e26-b584e5277353" providerId="ADAL" clId="{A0FA188E-4539-1B4B-8F7A-AF25ADD774B0}" dt="2024-03-11T16:36:45.536" v="614"/>
          <ac:spMkLst>
            <pc:docMk/>
            <pc:sldMk cId="281733507" sldId="258"/>
            <ac:spMk id="11" creationId="{0C787C50-2139-F069-15F5-9173D023F57F}"/>
          </ac:spMkLst>
        </pc:spChg>
        <pc:spChg chg="add mod">
          <ac:chgData name="Stefan, Chantal" userId="32a90bb8-83ff-4b15-9e26-b584e5277353" providerId="ADAL" clId="{A0FA188E-4539-1B4B-8F7A-AF25ADD774B0}" dt="2024-03-11T18:25:20.595" v="1519" actId="1076"/>
          <ac:spMkLst>
            <pc:docMk/>
            <pc:sldMk cId="281733507" sldId="258"/>
            <ac:spMk id="15" creationId="{8FEA4FC0-D60F-AD16-6BCE-988721253B88}"/>
          </ac:spMkLst>
        </pc:spChg>
        <pc:spChg chg="add del mod">
          <ac:chgData name="Stefan, Chantal" userId="32a90bb8-83ff-4b15-9e26-b584e5277353" providerId="ADAL" clId="{A0FA188E-4539-1B4B-8F7A-AF25ADD774B0}" dt="2024-03-11T17:47:28.277" v="873" actId="478"/>
          <ac:spMkLst>
            <pc:docMk/>
            <pc:sldMk cId="281733507" sldId="258"/>
            <ac:spMk id="17" creationId="{D03D3D09-29A0-A671-1035-7AE196680101}"/>
          </ac:spMkLst>
        </pc:spChg>
        <pc:spChg chg="add del mod">
          <ac:chgData name="Stefan, Chantal" userId="32a90bb8-83ff-4b15-9e26-b584e5277353" providerId="ADAL" clId="{A0FA188E-4539-1B4B-8F7A-AF25ADD774B0}" dt="2024-03-11T17:47:28.277" v="873" actId="478"/>
          <ac:spMkLst>
            <pc:docMk/>
            <pc:sldMk cId="281733507" sldId="258"/>
            <ac:spMk id="18" creationId="{95A9A700-DA49-ED49-DC4F-CC1DCF677203}"/>
          </ac:spMkLst>
        </pc:spChg>
        <pc:spChg chg="add del mod">
          <ac:chgData name="Stefan, Chantal" userId="32a90bb8-83ff-4b15-9e26-b584e5277353" providerId="ADAL" clId="{A0FA188E-4539-1B4B-8F7A-AF25ADD774B0}" dt="2024-03-11T17:47:28.277" v="873" actId="478"/>
          <ac:spMkLst>
            <pc:docMk/>
            <pc:sldMk cId="281733507" sldId="258"/>
            <ac:spMk id="19" creationId="{DFAC9DC6-A87C-424E-A5FE-8405269B6996}"/>
          </ac:spMkLst>
        </pc:spChg>
        <pc:spChg chg="add del mod">
          <ac:chgData name="Stefan, Chantal" userId="32a90bb8-83ff-4b15-9e26-b584e5277353" providerId="ADAL" clId="{A0FA188E-4539-1B4B-8F7A-AF25ADD774B0}" dt="2024-03-11T17:47:28.277" v="873" actId="478"/>
          <ac:spMkLst>
            <pc:docMk/>
            <pc:sldMk cId="281733507" sldId="258"/>
            <ac:spMk id="20" creationId="{335BCC20-E269-9DF9-AEB3-48ECE5088189}"/>
          </ac:spMkLst>
        </pc:spChg>
        <pc:spChg chg="add del mod">
          <ac:chgData name="Stefan, Chantal" userId="32a90bb8-83ff-4b15-9e26-b584e5277353" providerId="ADAL" clId="{A0FA188E-4539-1B4B-8F7A-AF25ADD774B0}" dt="2024-03-11T17:47:28.277" v="873" actId="478"/>
          <ac:spMkLst>
            <pc:docMk/>
            <pc:sldMk cId="281733507" sldId="258"/>
            <ac:spMk id="21" creationId="{E781EAA6-B56A-C87F-9B56-9055580D16A3}"/>
          </ac:spMkLst>
        </pc:spChg>
        <pc:spChg chg="add del mod">
          <ac:chgData name="Stefan, Chantal" userId="32a90bb8-83ff-4b15-9e26-b584e5277353" providerId="ADAL" clId="{A0FA188E-4539-1B4B-8F7A-AF25ADD774B0}" dt="2024-03-11T17:47:28.277" v="873" actId="478"/>
          <ac:spMkLst>
            <pc:docMk/>
            <pc:sldMk cId="281733507" sldId="258"/>
            <ac:spMk id="22" creationId="{C227BC50-159E-93BA-4F5A-6234A35AB084}"/>
          </ac:spMkLst>
        </pc:spChg>
        <pc:spChg chg="add del mod">
          <ac:chgData name="Stefan, Chantal" userId="32a90bb8-83ff-4b15-9e26-b584e5277353" providerId="ADAL" clId="{A0FA188E-4539-1B4B-8F7A-AF25ADD774B0}" dt="2024-03-11T18:29:12.690" v="1574" actId="478"/>
          <ac:spMkLst>
            <pc:docMk/>
            <pc:sldMk cId="281733507" sldId="258"/>
            <ac:spMk id="23" creationId="{3DEA0A50-0598-B227-C4BB-507517FF3D8E}"/>
          </ac:spMkLst>
        </pc:spChg>
        <pc:spChg chg="add mod">
          <ac:chgData name="Stefan, Chantal" userId="32a90bb8-83ff-4b15-9e26-b584e5277353" providerId="ADAL" clId="{A0FA188E-4539-1B4B-8F7A-AF25ADD774B0}" dt="2024-03-11T18:26:52.620" v="1549"/>
          <ac:spMkLst>
            <pc:docMk/>
            <pc:sldMk cId="281733507" sldId="258"/>
            <ac:spMk id="24" creationId="{D28B3497-0731-753D-E650-3026E1F09045}"/>
          </ac:spMkLst>
        </pc:spChg>
        <pc:spChg chg="mod">
          <ac:chgData name="Stefan, Chantal" userId="32a90bb8-83ff-4b15-9e26-b584e5277353" providerId="ADAL" clId="{A0FA188E-4539-1B4B-8F7A-AF25ADD774B0}" dt="2024-03-11T18:25:39.899" v="1523"/>
          <ac:spMkLst>
            <pc:docMk/>
            <pc:sldMk cId="281733507" sldId="258"/>
            <ac:spMk id="27" creationId="{38900882-C0A5-8C51-8FE3-1C98F2E6B248}"/>
          </ac:spMkLst>
        </pc:spChg>
        <pc:spChg chg="mod">
          <ac:chgData name="Stefan, Chantal" userId="32a90bb8-83ff-4b15-9e26-b584e5277353" providerId="ADAL" clId="{A0FA188E-4539-1B4B-8F7A-AF25ADD774B0}" dt="2024-03-11T18:25:39.899" v="1523"/>
          <ac:spMkLst>
            <pc:docMk/>
            <pc:sldMk cId="281733507" sldId="258"/>
            <ac:spMk id="28" creationId="{E59CAE4A-0A6B-4999-13DA-B0B509EB9C65}"/>
          </ac:spMkLst>
        </pc:spChg>
        <pc:spChg chg="mod">
          <ac:chgData name="Stefan, Chantal" userId="32a90bb8-83ff-4b15-9e26-b584e5277353" providerId="ADAL" clId="{A0FA188E-4539-1B4B-8F7A-AF25ADD774B0}" dt="2024-03-11T18:25:48.147" v="1525"/>
          <ac:spMkLst>
            <pc:docMk/>
            <pc:sldMk cId="281733507" sldId="258"/>
            <ac:spMk id="30" creationId="{9F8CF502-7A00-FB95-0696-B2576E06C9DF}"/>
          </ac:spMkLst>
        </pc:spChg>
        <pc:spChg chg="mod">
          <ac:chgData name="Stefan, Chantal" userId="32a90bb8-83ff-4b15-9e26-b584e5277353" providerId="ADAL" clId="{A0FA188E-4539-1B4B-8F7A-AF25ADD774B0}" dt="2024-03-11T18:25:48.147" v="1525"/>
          <ac:spMkLst>
            <pc:docMk/>
            <pc:sldMk cId="281733507" sldId="258"/>
            <ac:spMk id="31" creationId="{B1A65D3E-805D-514F-BB85-3CE500396994}"/>
          </ac:spMkLst>
        </pc:spChg>
        <pc:spChg chg="add del mod">
          <ac:chgData name="Stefan, Chantal" userId="32a90bb8-83ff-4b15-9e26-b584e5277353" providerId="ADAL" clId="{A0FA188E-4539-1B4B-8F7A-AF25ADD774B0}" dt="2024-03-11T18:26:56.150" v="1551"/>
          <ac:spMkLst>
            <pc:docMk/>
            <pc:sldMk cId="281733507" sldId="258"/>
            <ac:spMk id="32" creationId="{7D5446D9-23FE-B82E-CA9F-0141FE369523}"/>
          </ac:spMkLst>
        </pc:spChg>
        <pc:spChg chg="add mod">
          <ac:chgData name="Stefan, Chantal" userId="32a90bb8-83ff-4b15-9e26-b584e5277353" providerId="ADAL" clId="{A0FA188E-4539-1B4B-8F7A-AF25ADD774B0}" dt="2024-03-11T18:34:13.383" v="1975"/>
          <ac:spMkLst>
            <pc:docMk/>
            <pc:sldMk cId="281733507" sldId="258"/>
            <ac:spMk id="33" creationId="{A2E1A6B8-63CA-D1F5-A380-61E33D1A776E}"/>
          </ac:spMkLst>
        </pc:spChg>
        <pc:spChg chg="add mod">
          <ac:chgData name="Stefan, Chantal" userId="32a90bb8-83ff-4b15-9e26-b584e5277353" providerId="ADAL" clId="{A0FA188E-4539-1B4B-8F7A-AF25ADD774B0}" dt="2024-03-11T18:34:13.384" v="1976"/>
          <ac:spMkLst>
            <pc:docMk/>
            <pc:sldMk cId="281733507" sldId="258"/>
            <ac:spMk id="34" creationId="{4EBDFD63-7D6F-F57D-02E4-88B63C3E622C}"/>
          </ac:spMkLst>
        </pc:spChg>
        <pc:spChg chg="add mod">
          <ac:chgData name="Stefan, Chantal" userId="32a90bb8-83ff-4b15-9e26-b584e5277353" providerId="ADAL" clId="{A0FA188E-4539-1B4B-8F7A-AF25ADD774B0}" dt="2024-03-11T18:34:13.385" v="1977"/>
          <ac:spMkLst>
            <pc:docMk/>
            <pc:sldMk cId="281733507" sldId="258"/>
            <ac:spMk id="35" creationId="{12880ED5-88C6-A844-1FDD-625AC238D982}"/>
          </ac:spMkLst>
        </pc:spChg>
        <pc:spChg chg="add mod">
          <ac:chgData name="Stefan, Chantal" userId="32a90bb8-83ff-4b15-9e26-b584e5277353" providerId="ADAL" clId="{A0FA188E-4539-1B4B-8F7A-AF25ADD774B0}" dt="2024-03-11T18:34:13.385" v="1978"/>
          <ac:spMkLst>
            <pc:docMk/>
            <pc:sldMk cId="281733507" sldId="258"/>
            <ac:spMk id="36" creationId="{CB5C1964-3EED-3A1D-5298-48E3858328DE}"/>
          </ac:spMkLst>
        </pc:spChg>
        <pc:spChg chg="add mod">
          <ac:chgData name="Stefan, Chantal" userId="32a90bb8-83ff-4b15-9e26-b584e5277353" providerId="ADAL" clId="{A0FA188E-4539-1B4B-8F7A-AF25ADD774B0}" dt="2024-03-11T18:34:13.386" v="1979"/>
          <ac:spMkLst>
            <pc:docMk/>
            <pc:sldMk cId="281733507" sldId="258"/>
            <ac:spMk id="37" creationId="{A4243C85-9D66-5368-7822-95BD77CEA43E}"/>
          </ac:spMkLst>
        </pc:spChg>
        <pc:spChg chg="add mod">
          <ac:chgData name="Stefan, Chantal" userId="32a90bb8-83ff-4b15-9e26-b584e5277353" providerId="ADAL" clId="{A0FA188E-4539-1B4B-8F7A-AF25ADD774B0}" dt="2024-03-11T18:34:13.386" v="1980"/>
          <ac:spMkLst>
            <pc:docMk/>
            <pc:sldMk cId="281733507" sldId="258"/>
            <ac:spMk id="38" creationId="{579D86A3-34DD-9CB7-8575-8BEADA45A351}"/>
          </ac:spMkLst>
        </pc:spChg>
        <pc:spChg chg="add mod">
          <ac:chgData name="Stefan, Chantal" userId="32a90bb8-83ff-4b15-9e26-b584e5277353" providerId="ADAL" clId="{A0FA188E-4539-1B4B-8F7A-AF25ADD774B0}" dt="2024-03-11T18:34:49.319" v="1988" actId="14100"/>
          <ac:spMkLst>
            <pc:docMk/>
            <pc:sldMk cId="281733507" sldId="258"/>
            <ac:spMk id="39" creationId="{75577DDB-3F3B-5762-BA94-C2CDBC96E93F}"/>
          </ac:spMkLst>
        </pc:spChg>
        <pc:spChg chg="add mod">
          <ac:chgData name="Stefan, Chantal" userId="32a90bb8-83ff-4b15-9e26-b584e5277353" providerId="ADAL" clId="{A0FA188E-4539-1B4B-8F7A-AF25ADD774B0}" dt="2024-03-11T18:34:44.770" v="1987" actId="14100"/>
          <ac:spMkLst>
            <pc:docMk/>
            <pc:sldMk cId="281733507" sldId="258"/>
            <ac:spMk id="40" creationId="{006CB311-A2CC-DFD4-7621-B50A0418A722}"/>
          </ac:spMkLst>
        </pc:spChg>
        <pc:spChg chg="add del mod modVis">
          <ac:chgData name="Stefan, Chantal" userId="32a90bb8-83ff-4b15-9e26-b584e5277353" providerId="ADAL" clId="{A0FA188E-4539-1B4B-8F7A-AF25ADD774B0}" dt="2024-03-11T18:35:49.575" v="2021"/>
          <ac:spMkLst>
            <pc:docMk/>
            <pc:sldMk cId="281733507" sldId="258"/>
            <ac:spMk id="41" creationId="{E7EE4199-FABB-9804-B546-CA87BAFAB2E1}"/>
          </ac:spMkLst>
        </pc:spChg>
        <pc:spChg chg="add del mod modVis">
          <ac:chgData name="Stefan, Chantal" userId="32a90bb8-83ff-4b15-9e26-b584e5277353" providerId="ADAL" clId="{A0FA188E-4539-1B4B-8F7A-AF25ADD774B0}" dt="2024-03-11T18:35:56.484" v="2048"/>
          <ac:spMkLst>
            <pc:docMk/>
            <pc:sldMk cId="281733507" sldId="258"/>
            <ac:spMk id="42" creationId="{75BD8168-CA5E-6630-DB06-B2DDAC40B1E8}"/>
          </ac:spMkLst>
        </pc:spChg>
        <pc:spChg chg="add mod">
          <ac:chgData name="Stefan, Chantal" userId="32a90bb8-83ff-4b15-9e26-b584e5277353" providerId="ADAL" clId="{A0FA188E-4539-1B4B-8F7A-AF25ADD774B0}" dt="2024-03-11T18:37:17.531" v="2073" actId="1076"/>
          <ac:spMkLst>
            <pc:docMk/>
            <pc:sldMk cId="281733507" sldId="258"/>
            <ac:spMk id="43" creationId="{D5C49F25-0DE9-3466-AB80-9E3E36C0EDEE}"/>
          </ac:spMkLst>
        </pc:spChg>
        <pc:grpChg chg="add mod">
          <ac:chgData name="Stefan, Chantal" userId="32a90bb8-83ff-4b15-9e26-b584e5277353" providerId="ADAL" clId="{A0FA188E-4539-1B4B-8F7A-AF25ADD774B0}" dt="2024-03-11T18:34:13.382" v="1972"/>
          <ac:grpSpMkLst>
            <pc:docMk/>
            <pc:sldMk cId="281733507" sldId="258"/>
            <ac:grpSpMk id="25" creationId="{BB27325D-B244-6B5D-9649-F31607C51F40}"/>
          </ac:grpSpMkLst>
        </pc:grpChg>
        <pc:grpChg chg="add mod">
          <ac:chgData name="Stefan, Chantal" userId="32a90bb8-83ff-4b15-9e26-b584e5277353" providerId="ADAL" clId="{A0FA188E-4539-1B4B-8F7A-AF25ADD774B0}" dt="2024-03-11T18:34:13.382" v="1973"/>
          <ac:grpSpMkLst>
            <pc:docMk/>
            <pc:sldMk cId="281733507" sldId="258"/>
            <ac:grpSpMk id="26" creationId="{BDAA32D6-474A-9623-0C53-BD18C13F139A}"/>
          </ac:grpSpMkLst>
        </pc:grpChg>
        <pc:grpChg chg="add mod">
          <ac:chgData name="Stefan, Chantal" userId="32a90bb8-83ff-4b15-9e26-b584e5277353" providerId="ADAL" clId="{A0FA188E-4539-1B4B-8F7A-AF25ADD774B0}" dt="2024-03-11T18:34:13.383" v="1974"/>
          <ac:grpSpMkLst>
            <pc:docMk/>
            <pc:sldMk cId="281733507" sldId="258"/>
            <ac:grpSpMk id="29" creationId="{6719822C-1EE9-6DE5-B567-9BD49A6D149B}"/>
          </ac:grpSpMkLst>
        </pc:grpChg>
        <pc:graphicFrameChg chg="add mod modVis replST">
          <ac:chgData name="Stefan, Chantal" userId="32a90bb8-83ff-4b15-9e26-b584e5277353" providerId="ADAL" clId="{A0FA188E-4539-1B4B-8F7A-AF25ADD774B0}" dt="2024-03-11T18:36:01.161" v="2056"/>
          <ac:graphicFrameMkLst>
            <pc:docMk/>
            <pc:sldMk cId="281733507" sldId="258"/>
            <ac:graphicFrameMk id="9" creationId="{4C62DFE1-3C24-3695-1811-CF3086DD6470}"/>
          </ac:graphicFrameMkLst>
        </pc:graphicFrameChg>
        <pc:graphicFrameChg chg="add del mod modGraphic">
          <ac:chgData name="Stefan, Chantal" userId="32a90bb8-83ff-4b15-9e26-b584e5277353" providerId="ADAL" clId="{A0FA188E-4539-1B4B-8F7A-AF25ADD774B0}" dt="2024-03-11T17:36:39.918" v="663" actId="478"/>
          <ac:graphicFrameMkLst>
            <pc:docMk/>
            <pc:sldMk cId="281733507" sldId="258"/>
            <ac:graphicFrameMk id="12" creationId="{68214FFA-EADC-FF9A-719B-F21F9CF8E40C}"/>
          </ac:graphicFrameMkLst>
        </pc:graphicFrameChg>
        <pc:graphicFrameChg chg="add del mod modGraphic">
          <ac:chgData name="Stefan, Chantal" userId="32a90bb8-83ff-4b15-9e26-b584e5277353" providerId="ADAL" clId="{A0FA188E-4539-1B4B-8F7A-AF25ADD774B0}" dt="2024-03-11T18:38:29.342" v="2082"/>
          <ac:graphicFrameMkLst>
            <pc:docMk/>
            <pc:sldMk cId="281733507" sldId="258"/>
            <ac:graphicFrameMk id="13" creationId="{A7C4C3EC-6C51-9107-3EA0-D42FC330F3C8}"/>
          </ac:graphicFrameMkLst>
        </pc:graphicFrameChg>
        <pc:cxnChg chg="add del mod">
          <ac:chgData name="Stefan, Chantal" userId="32a90bb8-83ff-4b15-9e26-b584e5277353" providerId="ADAL" clId="{A0FA188E-4539-1B4B-8F7A-AF25ADD774B0}" dt="2024-03-11T17:45:05.266" v="735" actId="478"/>
          <ac:cxnSpMkLst>
            <pc:docMk/>
            <pc:sldMk cId="281733507" sldId="258"/>
            <ac:cxnSpMk id="14" creationId="{D13FB5C0-8896-36AF-91CE-C72EC6F72CC6}"/>
          </ac:cxnSpMkLst>
        </pc:cxnChg>
        <pc:extLst>
          <p:ext xmlns:p="http://schemas.openxmlformats.org/presentationml/2006/main" uri="{D6D511B9-2390-475A-947B-AFAB55BFBCF1}">
            <pc226:cmChg xmlns:pc226="http://schemas.microsoft.com/office/powerpoint/2022/06/main/command" chg="add del">
              <pc226:chgData name="Stefan, Chantal" userId="32a90bb8-83ff-4b15-9e26-b584e5277353" providerId="ADAL" clId="{A0FA188E-4539-1B4B-8F7A-AF25ADD774B0}" dt="2024-03-12T16:11:00.367" v="2253"/>
              <pc2:cmMkLst xmlns:pc2="http://schemas.microsoft.com/office/powerpoint/2019/9/main/command">
                <pc:docMk/>
                <pc:sldMk cId="281733507" sldId="258"/>
                <pc2:cmMk id="{51D92CA4-0F9F-CB4B-B405-ADED2AEE80CF}"/>
              </pc2:cmMkLst>
            </pc226:cmChg>
          </p:ext>
        </pc:extLst>
      </pc:sldChg>
      <pc:sldChg chg="addSp delSp modSp new del mod">
        <pc:chgData name="Stefan, Chantal" userId="32a90bb8-83ff-4b15-9e26-b584e5277353" providerId="ADAL" clId="{A0FA188E-4539-1B4B-8F7A-AF25ADD774B0}" dt="2024-03-15T13:23:33.847" v="6862" actId="2696"/>
        <pc:sldMkLst>
          <pc:docMk/>
          <pc:sldMk cId="365164293" sldId="259"/>
        </pc:sldMkLst>
        <pc:spChg chg="mod">
          <ac:chgData name="Stefan, Chantal" userId="32a90bb8-83ff-4b15-9e26-b584e5277353" providerId="ADAL" clId="{A0FA188E-4539-1B4B-8F7A-AF25ADD774B0}" dt="2024-03-15T11:41:07.584" v="5778" actId="948"/>
          <ac:spMkLst>
            <pc:docMk/>
            <pc:sldMk cId="365164293" sldId="259"/>
            <ac:spMk id="2" creationId="{AC85C6E5-0874-FE22-B2C6-769FF7F5628F}"/>
          </ac:spMkLst>
        </pc:spChg>
        <pc:spChg chg="del">
          <ac:chgData name="Stefan, Chantal" userId="32a90bb8-83ff-4b15-9e26-b584e5277353" providerId="ADAL" clId="{A0FA188E-4539-1B4B-8F7A-AF25ADD774B0}" dt="2024-03-14T17:47:36.614" v="5341"/>
          <ac:spMkLst>
            <pc:docMk/>
            <pc:sldMk cId="365164293" sldId="259"/>
            <ac:spMk id="3" creationId="{7BA81096-439F-4334-8EF7-E55299C9D3F2}"/>
          </ac:spMkLst>
        </pc:spChg>
        <pc:spChg chg="add del mod modVis">
          <ac:chgData name="Stefan, Chantal" userId="32a90bb8-83ff-4b15-9e26-b584e5277353" providerId="ADAL" clId="{A0FA188E-4539-1B4B-8F7A-AF25ADD774B0}" dt="2024-03-11T18:12:15.969" v="1162"/>
          <ac:spMkLst>
            <pc:docMk/>
            <pc:sldMk cId="365164293" sldId="259"/>
            <ac:spMk id="9" creationId="{07D6DBC4-43A2-2C28-42F5-5635D0823DC2}"/>
          </ac:spMkLst>
        </pc:spChg>
        <pc:spChg chg="add del mod modVis">
          <ac:chgData name="Stefan, Chantal" userId="32a90bb8-83ff-4b15-9e26-b584e5277353" providerId="ADAL" clId="{A0FA188E-4539-1B4B-8F7A-AF25ADD774B0}" dt="2024-03-11T18:12:21.291" v="1190"/>
          <ac:spMkLst>
            <pc:docMk/>
            <pc:sldMk cId="365164293" sldId="259"/>
            <ac:spMk id="10" creationId="{71CE07ED-0019-2687-098C-C04B9BDB2B07}"/>
          </ac:spMkLst>
        </pc:spChg>
        <pc:spChg chg="add del mod">
          <ac:chgData name="Stefan, Chantal" userId="32a90bb8-83ff-4b15-9e26-b584e5277353" providerId="ADAL" clId="{A0FA188E-4539-1B4B-8F7A-AF25ADD774B0}" dt="2024-03-15T11:41:27.587" v="5805"/>
          <ac:spMkLst>
            <pc:docMk/>
            <pc:sldMk cId="365164293" sldId="259"/>
            <ac:spMk id="12" creationId="{77F1ADDB-073F-9CA7-130E-7C470784B3D2}"/>
          </ac:spMkLst>
        </pc:spChg>
        <pc:spChg chg="add del mod modVis">
          <ac:chgData name="Stefan, Chantal" userId="32a90bb8-83ff-4b15-9e26-b584e5277353" providerId="ADAL" clId="{A0FA188E-4539-1B4B-8F7A-AF25ADD774B0}" dt="2024-03-15T11:41:05.673" v="5767"/>
          <ac:spMkLst>
            <pc:docMk/>
            <pc:sldMk cId="365164293" sldId="259"/>
            <ac:spMk id="13" creationId="{5409C215-B05B-B236-D121-9C95DAFFE968}"/>
          </ac:spMkLst>
        </pc:spChg>
        <pc:spChg chg="add del mod modVis">
          <ac:chgData name="Stefan, Chantal" userId="32a90bb8-83ff-4b15-9e26-b584e5277353" providerId="ADAL" clId="{A0FA188E-4539-1B4B-8F7A-AF25ADD774B0}" dt="2024-03-15T11:41:07.613" v="5802"/>
          <ac:spMkLst>
            <pc:docMk/>
            <pc:sldMk cId="365164293" sldId="259"/>
            <ac:spMk id="14" creationId="{1381FF37-A390-1627-310C-24E4BD8899FD}"/>
          </ac:spMkLst>
        </pc:spChg>
        <pc:graphicFrameChg chg="add mod modVis replST">
          <ac:chgData name="Stefan, Chantal" userId="32a90bb8-83ff-4b15-9e26-b584e5277353" providerId="ADAL" clId="{A0FA188E-4539-1B4B-8F7A-AF25ADD774B0}" dt="2024-03-15T11:41:07.616" v="5804"/>
          <ac:graphicFrameMkLst>
            <pc:docMk/>
            <pc:sldMk cId="365164293" sldId="259"/>
            <ac:graphicFrameMk id="8" creationId="{623FBC6D-3652-1BE9-62E2-15BB5E16B90A}"/>
          </ac:graphicFrameMkLst>
        </pc:graphicFrameChg>
        <pc:picChg chg="add del mod">
          <ac:chgData name="Stefan, Chantal" userId="32a90bb8-83ff-4b15-9e26-b584e5277353" providerId="ADAL" clId="{A0FA188E-4539-1B4B-8F7A-AF25ADD774B0}" dt="2024-03-15T11:40:27.572" v="5731" actId="478"/>
          <ac:picMkLst>
            <pc:docMk/>
            <pc:sldMk cId="365164293" sldId="259"/>
            <ac:picMk id="10" creationId="{949FC6E4-0069-C3A1-EED7-44E38845824D}"/>
          </ac:picMkLst>
        </pc:picChg>
        <pc:picChg chg="add mod">
          <ac:chgData name="Stefan, Chantal" userId="32a90bb8-83ff-4b15-9e26-b584e5277353" providerId="ADAL" clId="{A0FA188E-4539-1B4B-8F7A-AF25ADD774B0}" dt="2024-03-15T11:41:34.436" v="5806" actId="27614"/>
          <ac:picMkLst>
            <pc:docMk/>
            <pc:sldMk cId="365164293" sldId="259"/>
            <ac:picMk id="16" creationId="{BD4C5DC5-1C6D-58F5-7F04-93E87FCFF8F3}"/>
          </ac:picMkLst>
        </pc:picChg>
      </pc:sldChg>
      <pc:sldChg chg="addSp delSp modSp add del mod">
        <pc:chgData name="Stefan, Chantal" userId="32a90bb8-83ff-4b15-9e26-b584e5277353" providerId="ADAL" clId="{A0FA188E-4539-1B4B-8F7A-AF25ADD774B0}" dt="2024-03-15T13:33:46.023" v="6908" actId="2696"/>
        <pc:sldMkLst>
          <pc:docMk/>
          <pc:sldMk cId="2317613253" sldId="260"/>
        </pc:sldMkLst>
        <pc:spChg chg="mod">
          <ac:chgData name="Stefan, Chantal" userId="32a90bb8-83ff-4b15-9e26-b584e5277353" providerId="ADAL" clId="{A0FA188E-4539-1B4B-8F7A-AF25ADD774B0}" dt="2024-03-15T11:42:42.358" v="5868" actId="948"/>
          <ac:spMkLst>
            <pc:docMk/>
            <pc:sldMk cId="2317613253" sldId="260"/>
            <ac:spMk id="2" creationId="{AC85C6E5-0874-FE22-B2C6-769FF7F5628F}"/>
          </ac:spMkLst>
        </pc:spChg>
        <pc:spChg chg="del">
          <ac:chgData name="Stefan, Chantal" userId="32a90bb8-83ff-4b15-9e26-b584e5277353" providerId="ADAL" clId="{A0FA188E-4539-1B4B-8F7A-AF25ADD774B0}" dt="2024-03-15T11:42:32.881" v="5807"/>
          <ac:spMkLst>
            <pc:docMk/>
            <pc:sldMk cId="2317613253" sldId="260"/>
            <ac:spMk id="3" creationId="{7BA81096-439F-4334-8EF7-E55299C9D3F2}"/>
          </ac:spMkLst>
        </pc:spChg>
        <pc:spChg chg="add del mod modVis">
          <ac:chgData name="Stefan, Chantal" userId="32a90bb8-83ff-4b15-9e26-b584e5277353" providerId="ADAL" clId="{A0FA188E-4539-1B4B-8F7A-AF25ADD774B0}" dt="2024-03-11T18:12:29.745" v="1219"/>
          <ac:spMkLst>
            <pc:docMk/>
            <pc:sldMk cId="2317613253" sldId="260"/>
            <ac:spMk id="9" creationId="{7CB57678-178C-4A50-EC6D-F9872DF4B5F8}"/>
          </ac:spMkLst>
        </pc:spChg>
        <pc:spChg chg="add del mod modVis">
          <ac:chgData name="Stefan, Chantal" userId="32a90bb8-83ff-4b15-9e26-b584e5277353" providerId="ADAL" clId="{A0FA188E-4539-1B4B-8F7A-AF25ADD774B0}" dt="2024-03-11T18:12:30.388" v="1247"/>
          <ac:spMkLst>
            <pc:docMk/>
            <pc:sldMk cId="2317613253" sldId="260"/>
            <ac:spMk id="10" creationId="{1D536FBA-F67F-9A88-7526-270953AEAD9E}"/>
          </ac:spMkLst>
        </pc:spChg>
        <pc:spChg chg="add del mod modVis">
          <ac:chgData name="Stefan, Chantal" userId="32a90bb8-83ff-4b15-9e26-b584e5277353" providerId="ADAL" clId="{A0FA188E-4539-1B4B-8F7A-AF25ADD774B0}" dt="2024-03-15T11:42:40.372" v="5856"/>
          <ac:spMkLst>
            <pc:docMk/>
            <pc:sldMk cId="2317613253" sldId="260"/>
            <ac:spMk id="11" creationId="{C4FFDF36-8C88-543B-053F-0924578862A6}"/>
          </ac:spMkLst>
        </pc:spChg>
        <pc:spChg chg="add del mod modVis">
          <ac:chgData name="Stefan, Chantal" userId="32a90bb8-83ff-4b15-9e26-b584e5277353" providerId="ADAL" clId="{A0FA188E-4539-1B4B-8F7A-AF25ADD774B0}" dt="2024-03-15T11:42:42.386" v="5892"/>
          <ac:spMkLst>
            <pc:docMk/>
            <pc:sldMk cId="2317613253" sldId="260"/>
            <ac:spMk id="12" creationId="{01E8C877-CE81-2E25-6EAF-C736742029A5}"/>
          </ac:spMkLst>
        </pc:spChg>
        <pc:graphicFrameChg chg="mod">
          <ac:chgData name="Stefan, Chantal" userId="32a90bb8-83ff-4b15-9e26-b584e5277353" providerId="ADAL" clId="{A0FA188E-4539-1B4B-8F7A-AF25ADD774B0}" dt="2024-03-15T11:42:42.389" v="5894"/>
          <ac:graphicFrameMkLst>
            <pc:docMk/>
            <pc:sldMk cId="2317613253" sldId="260"/>
            <ac:graphicFrameMk id="8" creationId="{623FBC6D-3652-1BE9-62E2-15BB5E16B90A}"/>
          </ac:graphicFrameMkLst>
        </pc:graphicFrameChg>
        <pc:picChg chg="add mod">
          <ac:chgData name="Stefan, Chantal" userId="32a90bb8-83ff-4b15-9e26-b584e5277353" providerId="ADAL" clId="{A0FA188E-4539-1B4B-8F7A-AF25ADD774B0}" dt="2024-03-15T11:42:39.746" v="5829" actId="27614"/>
          <ac:picMkLst>
            <pc:docMk/>
            <pc:sldMk cId="2317613253" sldId="260"/>
            <ac:picMk id="10" creationId="{10AAB49F-EC4C-85E1-C65C-721836B795D3}"/>
          </ac:picMkLst>
        </pc:picChg>
      </pc:sldChg>
      <pc:sldChg chg="addSp delSp modSp add del mod">
        <pc:chgData name="Stefan, Chantal" userId="32a90bb8-83ff-4b15-9e26-b584e5277353" providerId="ADAL" clId="{A0FA188E-4539-1B4B-8F7A-AF25ADD774B0}" dt="2024-03-15T13:34:39.731" v="6920" actId="2696"/>
        <pc:sldMkLst>
          <pc:docMk/>
          <pc:sldMk cId="3953730481" sldId="261"/>
        </pc:sldMkLst>
        <pc:spChg chg="mod">
          <ac:chgData name="Stefan, Chantal" userId="32a90bb8-83ff-4b15-9e26-b584e5277353" providerId="ADAL" clId="{A0FA188E-4539-1B4B-8F7A-AF25ADD774B0}" dt="2024-03-11T18:12:37.338" v="1253" actId="948"/>
          <ac:spMkLst>
            <pc:docMk/>
            <pc:sldMk cId="3953730481" sldId="261"/>
            <ac:spMk id="2" creationId="{AC85C6E5-0874-FE22-B2C6-769FF7F5628F}"/>
          </ac:spMkLst>
        </pc:spChg>
        <pc:spChg chg="del">
          <ac:chgData name="Stefan, Chantal" userId="32a90bb8-83ff-4b15-9e26-b584e5277353" providerId="ADAL" clId="{A0FA188E-4539-1B4B-8F7A-AF25ADD774B0}" dt="2024-03-15T11:43:18.765" v="5896"/>
          <ac:spMkLst>
            <pc:docMk/>
            <pc:sldMk cId="3953730481" sldId="261"/>
            <ac:spMk id="3" creationId="{7BA81096-439F-4334-8EF7-E55299C9D3F2}"/>
          </ac:spMkLst>
        </pc:spChg>
        <pc:spChg chg="add del mod modVis">
          <ac:chgData name="Stefan, Chantal" userId="32a90bb8-83ff-4b15-9e26-b584e5277353" providerId="ADAL" clId="{A0FA188E-4539-1B4B-8F7A-AF25ADD774B0}" dt="2024-03-11T18:12:37.368" v="1277"/>
          <ac:spMkLst>
            <pc:docMk/>
            <pc:sldMk cId="3953730481" sldId="261"/>
            <ac:spMk id="9" creationId="{DD643084-6040-B820-3AA3-CAB848882A79}"/>
          </ac:spMkLst>
        </pc:spChg>
        <pc:graphicFrameChg chg="mod">
          <ac:chgData name="Stefan, Chantal" userId="32a90bb8-83ff-4b15-9e26-b584e5277353" providerId="ADAL" clId="{A0FA188E-4539-1B4B-8F7A-AF25ADD774B0}" dt="2024-03-11T18:12:37.370" v="1279"/>
          <ac:graphicFrameMkLst>
            <pc:docMk/>
            <pc:sldMk cId="3953730481" sldId="261"/>
            <ac:graphicFrameMk id="8" creationId="{623FBC6D-3652-1BE9-62E2-15BB5E16B90A}"/>
          </ac:graphicFrameMkLst>
        </pc:graphicFrameChg>
        <pc:picChg chg="add mod">
          <ac:chgData name="Stefan, Chantal" userId="32a90bb8-83ff-4b15-9e26-b584e5277353" providerId="ADAL" clId="{A0FA188E-4539-1B4B-8F7A-AF25ADD774B0}" dt="2024-03-15T11:43:26.847" v="5897" actId="27614"/>
          <ac:picMkLst>
            <pc:docMk/>
            <pc:sldMk cId="3953730481" sldId="261"/>
            <ac:picMk id="10" creationId="{E3F5F9A5-5E0B-AA19-904F-C9C1AF23BCD6}"/>
          </ac:picMkLst>
        </pc:picChg>
      </pc:sldChg>
      <pc:sldChg chg="addSp delSp modSp add mod delAnim modAnim modNotes">
        <pc:chgData name="Stefan, Chantal" userId="32a90bb8-83ff-4b15-9e26-b584e5277353" providerId="ADAL" clId="{A0FA188E-4539-1B4B-8F7A-AF25ADD774B0}" dt="2024-03-16T16:36:58.057" v="8604" actId="1038"/>
        <pc:sldMkLst>
          <pc:docMk/>
          <pc:sldMk cId="2280494226" sldId="262"/>
        </pc:sldMkLst>
        <pc:spChg chg="add del mod modVis">
          <ac:chgData name="Stefan, Chantal" userId="32a90bb8-83ff-4b15-9e26-b584e5277353" providerId="ADAL" clId="{A0FA188E-4539-1B4B-8F7A-AF25ADD774B0}" dt="2024-03-12T16:33:38.938" v="2556"/>
          <ac:spMkLst>
            <pc:docMk/>
            <pc:sldMk cId="2280494226" sldId="262"/>
            <ac:spMk id="2" creationId="{6346D142-46D9-9E44-BCDB-629DC2CF53D1}"/>
          </ac:spMkLst>
        </pc:spChg>
        <pc:spChg chg="add mod">
          <ac:chgData name="Stefan, Chantal" userId="32a90bb8-83ff-4b15-9e26-b584e5277353" providerId="ADAL" clId="{A0FA188E-4539-1B4B-8F7A-AF25ADD774B0}" dt="2024-03-16T16:23:46.595" v="8542" actId="20577"/>
          <ac:spMkLst>
            <pc:docMk/>
            <pc:sldMk cId="2280494226" sldId="262"/>
            <ac:spMk id="2" creationId="{7FF5D2F6-606B-72C4-B8E5-52BB763AF13C}"/>
          </ac:spMkLst>
        </pc:spChg>
        <pc:spChg chg="mod">
          <ac:chgData name="Stefan, Chantal" userId="32a90bb8-83ff-4b15-9e26-b584e5277353" providerId="ADAL" clId="{A0FA188E-4539-1B4B-8F7A-AF25ADD774B0}" dt="2024-03-11T18:39:53.234" v="2087" actId="948"/>
          <ac:spMkLst>
            <pc:docMk/>
            <pc:sldMk cId="2280494226" sldId="262"/>
            <ac:spMk id="2" creationId="{AC85C6E5-0874-FE22-B2C6-769FF7F5628F}"/>
          </ac:spMkLst>
        </pc:spChg>
        <pc:spChg chg="del">
          <ac:chgData name="Stefan, Chantal" userId="32a90bb8-83ff-4b15-9e26-b584e5277353" providerId="ADAL" clId="{A0FA188E-4539-1B4B-8F7A-AF25ADD774B0}" dt="2024-03-11T18:14:06.335" v="1310" actId="478"/>
          <ac:spMkLst>
            <pc:docMk/>
            <pc:sldMk cId="2280494226" sldId="262"/>
            <ac:spMk id="3" creationId="{7BA81096-439F-4334-8EF7-E55299C9D3F2}"/>
          </ac:spMkLst>
        </pc:spChg>
        <pc:spChg chg="mod">
          <ac:chgData name="Stefan, Chantal" userId="32a90bb8-83ff-4b15-9e26-b584e5277353" providerId="ADAL" clId="{A0FA188E-4539-1B4B-8F7A-AF25ADD774B0}" dt="2024-03-11T18:17:08.455" v="1318" actId="207"/>
          <ac:spMkLst>
            <pc:docMk/>
            <pc:sldMk cId="2280494226" sldId="262"/>
            <ac:spMk id="3" creationId="{BCC12792-D598-92B9-78F9-6240AF8B824F}"/>
          </ac:spMkLst>
        </pc:spChg>
        <pc:spChg chg="add del mod modVis">
          <ac:chgData name="Stefan, Chantal" userId="32a90bb8-83ff-4b15-9e26-b584e5277353" providerId="ADAL" clId="{A0FA188E-4539-1B4B-8F7A-AF25ADD774B0}" dt="2024-03-12T16:33:40.762" v="2590"/>
          <ac:spMkLst>
            <pc:docMk/>
            <pc:sldMk cId="2280494226" sldId="262"/>
            <ac:spMk id="3" creationId="{DE190299-EB53-4668-43DE-8AD601645D50}"/>
          </ac:spMkLst>
        </pc:spChg>
        <pc:spChg chg="mod">
          <ac:chgData name="Stefan, Chantal" userId="32a90bb8-83ff-4b15-9e26-b584e5277353" providerId="ADAL" clId="{A0FA188E-4539-1B4B-8F7A-AF25ADD774B0}" dt="2024-03-14T17:20:54.860" v="5009" actId="1035"/>
          <ac:spMkLst>
            <pc:docMk/>
            <pc:sldMk cId="2280494226" sldId="262"/>
            <ac:spMk id="4" creationId="{7F32B3C4-EDEA-3BE6-3771-5BBA46DB20BE}"/>
          </ac:spMkLst>
        </pc:spChg>
        <pc:spChg chg="mod">
          <ac:chgData name="Stefan, Chantal" userId="32a90bb8-83ff-4b15-9e26-b584e5277353" providerId="ADAL" clId="{A0FA188E-4539-1B4B-8F7A-AF25ADD774B0}" dt="2024-03-15T11:17:40.269" v="5526" actId="1036"/>
          <ac:spMkLst>
            <pc:docMk/>
            <pc:sldMk cId="2280494226" sldId="262"/>
            <ac:spMk id="5" creationId="{0F6525AF-F1D2-171B-D496-94DD023797ED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5" creationId="{14AF7053-F95C-1B89-A9A8-603B2368A16F}"/>
          </ac:spMkLst>
        </pc:spChg>
        <pc:spChg chg="mod">
          <ac:chgData name="Stefan, Chantal" userId="32a90bb8-83ff-4b15-9e26-b584e5277353" providerId="ADAL" clId="{A0FA188E-4539-1B4B-8F7A-AF25ADD774B0}" dt="2024-03-15T11:25:06.176" v="5581" actId="948"/>
          <ac:spMkLst>
            <pc:docMk/>
            <pc:sldMk cId="2280494226" sldId="262"/>
            <ac:spMk id="6" creationId="{31DE3DDA-32E5-F57D-BFCF-F5AB85516ACA}"/>
          </ac:spMkLst>
        </pc:spChg>
        <pc:spChg chg="del">
          <ac:chgData name="Stefan, Chantal" userId="32a90bb8-83ff-4b15-9e26-b584e5277353" providerId="ADAL" clId="{A0FA188E-4539-1B4B-8F7A-AF25ADD774B0}" dt="2024-03-11T18:14:10.834" v="1311" actId="478"/>
          <ac:spMkLst>
            <pc:docMk/>
            <pc:sldMk cId="2280494226" sldId="262"/>
            <ac:spMk id="6" creationId="{FB1C59B9-C4BA-C8FC-EDF9-A1AF06333995}"/>
          </ac:spMkLst>
        </pc:spChg>
        <pc:spChg chg="mod">
          <ac:chgData name="Stefan, Chantal" userId="32a90bb8-83ff-4b15-9e26-b584e5277353" providerId="ADAL" clId="{A0FA188E-4539-1B4B-8F7A-AF25ADD774B0}" dt="2024-03-15T11:17:03.655" v="5513" actId="20577"/>
          <ac:spMkLst>
            <pc:docMk/>
            <pc:sldMk cId="2280494226" sldId="262"/>
            <ac:spMk id="7" creationId="{CD0C5E76-2906-C874-5ADC-F54E764D52E9}"/>
          </ac:spMkLst>
        </pc:spChg>
        <pc:spChg chg="mod">
          <ac:chgData name="Stefan, Chantal" userId="32a90bb8-83ff-4b15-9e26-b584e5277353" providerId="ADAL" clId="{A0FA188E-4539-1B4B-8F7A-AF25ADD774B0}" dt="2024-03-11T18:17:08.455" v="1318" actId="207"/>
          <ac:spMkLst>
            <pc:docMk/>
            <pc:sldMk cId="2280494226" sldId="262"/>
            <ac:spMk id="9" creationId="{776D11F0-0432-B76D-821D-102A1E411792}"/>
          </ac:spMkLst>
        </pc:spChg>
        <pc:spChg chg="del mod">
          <ac:chgData name="Stefan, Chantal" userId="32a90bb8-83ff-4b15-9e26-b584e5277353" providerId="ADAL" clId="{A0FA188E-4539-1B4B-8F7A-AF25ADD774B0}" dt="2024-03-15T11:17:20.398" v="5514" actId="478"/>
          <ac:spMkLst>
            <pc:docMk/>
            <pc:sldMk cId="2280494226" sldId="262"/>
            <ac:spMk id="9" creationId="{D19F2B9C-360E-1FA0-51A4-C2131A5BAE8D}"/>
          </ac:spMkLst>
        </pc:spChg>
        <pc:spChg chg="add del mod">
          <ac:chgData name="Stefan, Chantal" userId="32a90bb8-83ff-4b15-9e26-b584e5277353" providerId="ADAL" clId="{A0FA188E-4539-1B4B-8F7A-AF25ADD774B0}" dt="2024-03-15T11:17:27.277" v="5516" actId="478"/>
          <ac:spMkLst>
            <pc:docMk/>
            <pc:sldMk cId="2280494226" sldId="262"/>
            <ac:spMk id="11" creationId="{09017D8E-12AE-125D-32DE-BAC260BEC3A7}"/>
          </ac:spMkLst>
        </pc:spChg>
        <pc:spChg chg="add 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11" creationId="{0C6209DE-718B-EE19-3F64-9C4810018A67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11" creationId="{942E3BDC-E537-F269-852F-C2155279DA99}"/>
          </ac:spMkLst>
        </pc:spChg>
        <pc:spChg chg="mod">
          <ac:chgData name="Stefan, Chantal" userId="32a90bb8-83ff-4b15-9e26-b584e5277353" providerId="ADAL" clId="{A0FA188E-4539-1B4B-8F7A-AF25ADD774B0}" dt="2024-03-11T18:17:08.455" v="1318" actId="207"/>
          <ac:spMkLst>
            <pc:docMk/>
            <pc:sldMk cId="2280494226" sldId="262"/>
            <ac:spMk id="12" creationId="{ACB3234C-062F-F54A-89EA-0C80D5A64862}"/>
          </ac:spMkLst>
        </pc:spChg>
        <pc:spChg chg="add del mod">
          <ac:chgData name="Stefan, Chantal" userId="32a90bb8-83ff-4b15-9e26-b584e5277353" providerId="ADAL" clId="{A0FA188E-4539-1B4B-8F7A-AF25ADD774B0}" dt="2024-03-16T16:23:40.583" v="8531" actId="478"/>
          <ac:spMkLst>
            <pc:docMk/>
            <pc:sldMk cId="2280494226" sldId="262"/>
            <ac:spMk id="12" creationId="{D141EEA0-29E9-FAB5-EC37-21F284A5BC45}"/>
          </ac:spMkLst>
        </pc:spChg>
        <pc:spChg chg="add 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13" creationId="{40F1D684-86FC-379A-D4FA-779BE9599B15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13" creationId="{57B28484-E47B-DF28-25FA-3DCC3B714E4B}"/>
          </ac:spMkLst>
        </pc:spChg>
        <pc:spChg chg="mod">
          <ac:chgData name="Stefan, Chantal" userId="32a90bb8-83ff-4b15-9e26-b584e5277353" providerId="ADAL" clId="{A0FA188E-4539-1B4B-8F7A-AF25ADD774B0}" dt="2024-03-11T18:17:08.455" v="1318" actId="207"/>
          <ac:spMkLst>
            <pc:docMk/>
            <pc:sldMk cId="2280494226" sldId="262"/>
            <ac:spMk id="14" creationId="{CD661511-0A47-9875-8C74-E34304709906}"/>
          </ac:spMkLst>
        </pc:spChg>
        <pc:spChg chg="add 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15" creationId="{2B5874BE-3C7A-16C4-88C5-72E05781D774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15" creationId="{D70D08F4-DE37-8A5E-6A74-BD7D93B83CDB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16" creationId="{30D5F634-DB60-FFC0-739D-691735AA2870}"/>
          </ac:spMkLst>
        </pc:spChg>
        <pc:spChg chg="add 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16" creationId="{C2BDA235-0763-B056-79BB-44D559788A4C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17" creationId="{8FE99FF2-DEAD-BE3E-4AE4-4777B3B76A14}"/>
          </ac:spMkLst>
        </pc:spChg>
        <pc:spChg chg="add 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17" creationId="{D4A24E81-69BF-73EB-022B-D6B3637496A3}"/>
          </ac:spMkLst>
        </pc:spChg>
        <pc:spChg chg="add 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18" creationId="{5EC50DB6-90C8-B22A-737C-14321E354F08}"/>
          </ac:spMkLst>
        </pc:spChg>
        <pc:spChg chg="add 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19" creationId="{42A75F05-E92F-F717-2479-902F3AE484F9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19" creationId="{A54CFBC0-263A-C38D-48FB-0B71DFBC4F39}"/>
          </ac:spMkLst>
        </pc:spChg>
        <pc:spChg chg="add 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20" creationId="{4D85D667-2C2A-F46C-F9C5-83CEF39E8E60}"/>
          </ac:spMkLst>
        </pc:spChg>
        <pc:spChg chg="add 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21" creationId="{3897D2D2-E678-0565-80C1-C2791A5D56B7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21" creationId="{D9CD19A9-113B-C477-D39E-144423580FC2}"/>
          </ac:spMkLst>
        </pc:spChg>
        <pc:spChg chg="add mod">
          <ac:chgData name="Stefan, Chantal" userId="32a90bb8-83ff-4b15-9e26-b584e5277353" providerId="ADAL" clId="{A0FA188E-4539-1B4B-8F7A-AF25ADD774B0}" dt="2024-03-15T11:26:11.020" v="5694" actId="1038"/>
          <ac:spMkLst>
            <pc:docMk/>
            <pc:sldMk cId="2280494226" sldId="262"/>
            <ac:spMk id="23" creationId="{C20A3671-A870-A7B4-31E9-C47A0C435F16}"/>
          </ac:spMkLst>
        </pc:spChg>
        <pc:spChg chg="add del mod modVis">
          <ac:chgData name="Stefan, Chantal" userId="32a90bb8-83ff-4b15-9e26-b584e5277353" providerId="ADAL" clId="{A0FA188E-4539-1B4B-8F7A-AF25ADD774B0}" dt="2024-03-15T11:25:06.247" v="5605"/>
          <ac:spMkLst>
            <pc:docMk/>
            <pc:sldMk cId="2280494226" sldId="262"/>
            <ac:spMk id="25" creationId="{3F4FAA50-2A52-9EFC-0582-55BAD2739F65}"/>
          </ac:spMkLst>
        </pc:spChg>
        <pc:spChg chg="add mod">
          <ac:chgData name="Stefan, Chantal" userId="32a90bb8-83ff-4b15-9e26-b584e5277353" providerId="ADAL" clId="{A0FA188E-4539-1B4B-8F7A-AF25ADD774B0}" dt="2024-03-11T18:21:56.942" v="1377" actId="1036"/>
          <ac:spMkLst>
            <pc:docMk/>
            <pc:sldMk cId="2280494226" sldId="262"/>
            <ac:spMk id="26" creationId="{664326B2-61DC-A089-B9D5-5690BA51522C}"/>
          </ac:spMkLst>
        </pc:spChg>
        <pc:spChg chg="mod">
          <ac:chgData name="Stefan, Chantal" userId="32a90bb8-83ff-4b15-9e26-b584e5277353" providerId="ADAL" clId="{A0FA188E-4539-1B4B-8F7A-AF25ADD774B0}" dt="2024-03-11T18:17:46.887" v="1323" actId="207"/>
          <ac:spMkLst>
            <pc:docMk/>
            <pc:sldMk cId="2280494226" sldId="262"/>
            <ac:spMk id="28" creationId="{70AD6C7E-3188-FF5F-2AB6-1CFA3266562F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28" creationId="{EC3230F1-36F1-A750-A00E-23C4594254E1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29" creationId="{8A62B7B4-4322-67F5-84DE-8835D73574FF}"/>
          </ac:spMkLst>
        </pc:spChg>
        <pc:spChg chg="add mod">
          <ac:chgData name="Stefan, Chantal" userId="32a90bb8-83ff-4b15-9e26-b584e5277353" providerId="ADAL" clId="{A0FA188E-4539-1B4B-8F7A-AF25ADD774B0}" dt="2024-03-11T18:21:31.575" v="1361" actId="1076"/>
          <ac:spMkLst>
            <pc:docMk/>
            <pc:sldMk cId="2280494226" sldId="262"/>
            <ac:spMk id="30" creationId="{C920209D-35F0-00E2-1718-99599BC698E3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31" creationId="{2A793A31-FD0A-EC06-EAEB-071B9D018D5D}"/>
          </ac:spMkLst>
        </pc:spChg>
        <pc:spChg chg="add mod">
          <ac:chgData name="Stefan, Chantal" userId="32a90bb8-83ff-4b15-9e26-b584e5277353" providerId="ADAL" clId="{A0FA188E-4539-1B4B-8F7A-AF25ADD774B0}" dt="2024-03-11T18:21:37.306" v="1362" actId="1076"/>
          <ac:spMkLst>
            <pc:docMk/>
            <pc:sldMk cId="2280494226" sldId="262"/>
            <ac:spMk id="31" creationId="{D1D2DAE9-8E08-E0CB-7960-9EB4A613C270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32" creationId="{63D8F2AA-E1E6-0035-744D-51BE397BBCBC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33" creationId="{F965190C-91E8-3FB7-0D39-C61FA19DCD0B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34" creationId="{F143FCEC-7E31-ED47-8F9F-965617838EBF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35" creationId="{D8061054-E99E-D005-085C-D56632B0FD85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36" creationId="{98EA8550-C4CC-B92E-3C24-0D28D19AE43B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37" creationId="{2807A143-2406-E008-3C0E-9966F63D02CF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39" creationId="{863CACE4-373C-EC7C-A9CA-6AE45F9D8C87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40" creationId="{565F5B33-71BF-4D7D-7CE0-8537143AFF6C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41" creationId="{638EA6CF-9EED-2B71-A3BC-8012372A7F6D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42" creationId="{394C1D98-E038-DC48-2F76-CB5B3464B5EC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44" creationId="{65106C37-F9CC-588E-7F17-A4EF270A8773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45" creationId="{C53F1CCB-821A-CC29-6EBB-6EB16FBC705E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46" creationId="{03741EFF-F16F-EE3F-655A-6F7C8723A931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47" creationId="{F4FF5CD4-5D29-2E90-EDEF-60310B827566}"/>
          </ac:spMkLst>
        </pc:spChg>
        <pc:spChg chg="add 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48" creationId="{494E9E1C-3C3B-B52C-F3EB-D38824231925}"/>
          </ac:spMkLst>
        </pc:spChg>
        <pc:spChg chg="add 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49" creationId="{1FE4A95A-13C4-A841-51E6-A054D01836B8}"/>
          </ac:spMkLst>
        </pc:spChg>
        <pc:spChg chg="add 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50" creationId="{AD1BBBA8-E208-89AA-7978-03D2174B3068}"/>
          </ac:spMkLst>
        </pc:spChg>
        <pc:spChg chg="add 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51" creationId="{F2F077DA-1F98-B58A-ABB0-B20899E9FEB5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53" creationId="{D9504295-B0A9-1C2B-24DF-E594F4569E73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54" creationId="{3FF3A1B9-C148-298C-3DF0-AB0BDD59367D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55" creationId="{2AD66ECB-F7E7-FAD8-2F5B-37C1F802A564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56" creationId="{6E4D1D5D-5F2F-7B1B-465F-1A925AF985B0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56" creationId="{C6BA6BFF-80D4-E5F0-14F2-3B54C3FC5065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57" creationId="{7144FA30-A4C4-7092-0334-C5C81B55A4B5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57" creationId="{FF44148A-4B05-4C0F-D97F-7DB8565200BC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58" creationId="{CF26A895-76DE-12D4-9FCA-C9D816B5A156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59" creationId="{22C3E776-EB1D-3A0C-0B3C-2CA519906F82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59" creationId="{4C0650F3-FAEB-72DB-9A67-7F2E65E6AA52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60" creationId="{5F424F59-5D98-4860-C971-49491985F409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60" creationId="{8872D640-5BE7-ABFE-AFD5-FB43D9648895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61" creationId="{15EE1346-7DA0-A4B7-A0F3-B6BC28A66203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61" creationId="{6D993F4A-5316-B788-58C3-9BED46F77CDA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62" creationId="{60FDEA2E-2168-56D8-D2E2-A5EC2DF8D97E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63" creationId="{2325C9E6-8538-3B28-CBC5-36B8B18F3871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63" creationId="{521FD6F7-FEF4-F08D-4856-664745794C09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64" creationId="{719E33CE-FDDC-0F64-2E92-8A47590D2EC6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64" creationId="{E81156EE-8A4E-6E29-4CE1-2904083B6CF7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65" creationId="{D6BF95BD-C6C4-5774-625A-B62EF478A455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66" creationId="{511B5E18-2498-17A1-D268-70A0772285C1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67" creationId="{1E5B08AD-8C0E-9F60-D54F-FA2B7F9270B4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67" creationId="{D472057D-8F75-3187-FED8-FA48795272C6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68" creationId="{3332FCB5-A090-790F-1B42-C0A317121A73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68" creationId="{F767681B-0B47-DA11-62BF-140C3746B40D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69" creationId="{13A3A597-C65B-27D7-A6E4-9C9ACEE0277C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69" creationId="{2FADC426-3132-1E00-96DB-907518849239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70" creationId="{840EF555-0FF6-CDB6-0A4A-54C83BAC8667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70" creationId="{C1110968-4447-5AFD-A84D-30F4959BB9AD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71" creationId="{3A08B514-28EF-C656-8C64-B8415FB92574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71" creationId="{47915DE9-C849-91C1-99DD-CB97AE7435BA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72" creationId="{9DFCF659-05EA-EF97-5CBF-E546C4116D1D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73" creationId="{55C05DF2-4164-D657-9B44-6E8FD256CF8D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73" creationId="{B4639B7E-638A-558F-973B-E5A05EA15A6E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74" creationId="{0C95B25B-588E-B7BA-BDFD-E8428CDD9805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74" creationId="{D0865039-10AA-E2E6-BB7B-F064DE70738F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75" creationId="{B5FFECAE-D7AC-A6E4-533F-148B04901C9E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75" creationId="{C00CD254-0499-E904-E23A-89D5523029E4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76" creationId="{14DBCC62-A1C7-0E1F-7641-80F6D905F094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77" creationId="{9A95D161-410D-D80E-A0D2-832281D1E7BA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78" creationId="{5A05D1AE-41E0-21BA-0890-4DAB42260A1B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79" creationId="{5B7B1AFE-312F-1EC8-A35D-5CF57DDACA94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82" creationId="{A65750D9-4D9D-AAD5-E8AF-4D0CF3209CD0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83" creationId="{D0FE4E0E-56E7-2E4F-E4C6-BF3A4EE62FBF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84" creationId="{3E24711B-0387-EDFC-63EF-DC55045BDA14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84" creationId="{F92F7ADE-DEE9-C666-8CA7-20588EBE8E1E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85" creationId="{69330F34-9468-EF00-33E0-C1AD5A25A49D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85" creationId="{D0C55627-4441-8F4B-C6E1-6C58434B2D6A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86" creationId="{ED1A415F-8F2D-8DAD-C6E7-E3A6BA67FEFA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87" creationId="{2152D6D5-EA98-32BA-9DFD-F2059E1FBB25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87" creationId="{D237A570-B5B2-C80F-BCAC-AAFCD8B2A59A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88" creationId="{8AD667DF-EC13-CA24-5C57-63ECC08D13D7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88" creationId="{99914018-D303-58C0-A1A1-2F6C17A2D99D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89" creationId="{1C4867BE-B78B-2E4E-8516-788C05B2D566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90" creationId="{B8337F25-F46F-BC8C-FB3C-BB7491B03E50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90" creationId="{C5EDB74D-7327-5540-54B7-7F5385500D7D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91" creationId="{71E6DDBA-7E40-F776-AC0A-72169918E819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92" creationId="{236F669D-DF71-87B7-5A11-90126B57291A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92" creationId="{EC7FF36D-A654-3B88-4178-22A505F2C78E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93" creationId="{CCD8498B-4C57-5641-B865-398A33822BD1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93" creationId="{E5BEB6C5-405B-069E-8F25-CC3F72DC0BEE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94" creationId="{106EA809-322D-1255-051F-4EC992D0F077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94" creationId="{AD4C6735-4256-73A5-D4A2-B3BAC373BA05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95" creationId="{7BBE021F-A319-DA49-47C0-A37D06DF9399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95" creationId="{DC91CCA7-20C6-96BD-3375-13C581AB1C50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96" creationId="{872F8755-D697-BB5C-8D64-E6D3265D9B7E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96" creationId="{BCA81184-2CF9-B466-704B-74105F5A357C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97" creationId="{A43541AF-12E4-F5EF-96D8-6D817B14931D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97" creationId="{EA141E4E-A7AE-DC17-A3B8-99062C01B87D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98" creationId="{4F200124-C405-E342-E792-BB61BE38ADEB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98" creationId="{FEA856F7-4344-7596-A0F6-948C25772200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99" creationId="{6E848541-6BBF-34D3-F4EC-2412424E4614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99" creationId="{A420AEEE-C4A3-F157-22A0-CE9E1C654E8D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100" creationId="{8A298B7E-F042-6E3C-5006-D7E7CF22CBA1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101" creationId="{5CBCDDFC-4EC6-F495-38B6-C11464EB2506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101" creationId="{CEDAAB5B-AFDD-6379-E6B2-80D71D76ACC5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102" creationId="{76FF2444-F060-58AF-FB7B-672DE8142EFE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103" creationId="{A1FB95EA-3C23-094A-D48A-70716EE55F1B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103" creationId="{BC495153-E3BD-F6B3-7DF4-1C408F419717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104" creationId="{BAC67CEF-A04C-D0B7-2B9A-9596FF9AB729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105" creationId="{316F11F6-06D6-C664-63BE-3548E73B9DE8}"/>
          </ac:spMkLst>
        </pc:spChg>
        <pc:spChg chg="mod">
          <ac:chgData name="Stefan, Chantal" userId="32a90bb8-83ff-4b15-9e26-b584e5277353" providerId="ADAL" clId="{A0FA188E-4539-1B4B-8F7A-AF25ADD774B0}" dt="2024-03-11T18:15:47.375" v="1314" actId="207"/>
          <ac:spMkLst>
            <pc:docMk/>
            <pc:sldMk cId="2280494226" sldId="262"/>
            <ac:spMk id="105" creationId="{DC5293EF-BE3C-BB4B-7E85-9C5B310764B3}"/>
          </ac:spMkLst>
        </pc:spChg>
        <pc:spChg chg="add del mod">
          <ac:chgData name="Stefan, Chantal" userId="32a90bb8-83ff-4b15-9e26-b584e5277353" providerId="ADAL" clId="{A0FA188E-4539-1B4B-8F7A-AF25ADD774B0}" dt="2024-03-11T18:20:10.198" v="1335" actId="478"/>
          <ac:spMkLst>
            <pc:docMk/>
            <pc:sldMk cId="2280494226" sldId="262"/>
            <ac:spMk id="111" creationId="{05098451-D466-E4A7-2D97-940262A183AE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111" creationId="{472E413B-2C72-D219-0D90-89222A3A89AD}"/>
          </ac:spMkLst>
        </pc:spChg>
        <pc:spChg chg="add del mod">
          <ac:chgData name="Stefan, Chantal" userId="32a90bb8-83ff-4b15-9e26-b584e5277353" providerId="ADAL" clId="{A0FA188E-4539-1B4B-8F7A-AF25ADD774B0}" dt="2024-03-11T18:20:17.883" v="1338" actId="478"/>
          <ac:spMkLst>
            <pc:docMk/>
            <pc:sldMk cId="2280494226" sldId="262"/>
            <ac:spMk id="112" creationId="{A14A8D50-12BE-3EF8-E276-D49327635DCF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112" creationId="{FEECF63A-E2AA-718B-ADE6-9790B88743FD}"/>
          </ac:spMkLst>
        </pc:spChg>
        <pc:spChg chg="add mod">
          <ac:chgData name="Stefan, Chantal" userId="32a90bb8-83ff-4b15-9e26-b584e5277353" providerId="ADAL" clId="{A0FA188E-4539-1B4B-8F7A-AF25ADD774B0}" dt="2024-03-15T11:17:40.269" v="5526" actId="1036"/>
          <ac:spMkLst>
            <pc:docMk/>
            <pc:sldMk cId="2280494226" sldId="262"/>
            <ac:spMk id="113" creationId="{48CA3208-3B59-83B4-1275-423834BC7A25}"/>
          </ac:spMkLst>
        </pc:spChg>
        <pc:spChg chg="add mod">
          <ac:chgData name="Stefan, Chantal" userId="32a90bb8-83ff-4b15-9e26-b584e5277353" providerId="ADAL" clId="{A0FA188E-4539-1B4B-8F7A-AF25ADD774B0}" dt="2024-03-15T11:17:40.269" v="5526" actId="1036"/>
          <ac:spMkLst>
            <pc:docMk/>
            <pc:sldMk cId="2280494226" sldId="262"/>
            <ac:spMk id="114" creationId="{E9711C70-2BA2-7E93-FC97-709AC6E24080}"/>
          </ac:spMkLst>
        </pc:spChg>
        <pc:spChg chg="add mod">
          <ac:chgData name="Stefan, Chantal" userId="32a90bb8-83ff-4b15-9e26-b584e5277353" providerId="ADAL" clId="{A0FA188E-4539-1B4B-8F7A-AF25ADD774B0}" dt="2024-03-15T11:17:40.269" v="5526" actId="1036"/>
          <ac:spMkLst>
            <pc:docMk/>
            <pc:sldMk cId="2280494226" sldId="262"/>
            <ac:spMk id="115" creationId="{3E0155F0-F352-4ADB-4B60-CA9196175F78}"/>
          </ac:spMkLst>
        </pc:spChg>
        <pc:spChg chg="add mod">
          <ac:chgData name="Stefan, Chantal" userId="32a90bb8-83ff-4b15-9e26-b584e5277353" providerId="ADAL" clId="{A0FA188E-4539-1B4B-8F7A-AF25ADD774B0}" dt="2024-03-15T11:17:40.269" v="5526" actId="1036"/>
          <ac:spMkLst>
            <pc:docMk/>
            <pc:sldMk cId="2280494226" sldId="262"/>
            <ac:spMk id="116" creationId="{DC1842E6-479D-9190-8FED-DBC4056F11FD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123" creationId="{51D05CB5-CB4E-443D-2004-4B57D596D124}"/>
          </ac:spMkLst>
        </pc:spChg>
        <pc:spChg chg="add del mod">
          <ac:chgData name="Stefan, Chantal" userId="32a90bb8-83ff-4b15-9e26-b584e5277353" providerId="ADAL" clId="{A0FA188E-4539-1B4B-8F7A-AF25ADD774B0}" dt="2024-03-11T18:17:02.041" v="1317" actId="478"/>
          <ac:spMkLst>
            <pc:docMk/>
            <pc:sldMk cId="2280494226" sldId="262"/>
            <ac:spMk id="123" creationId="{CC9962D5-9A9B-0C9C-228C-90593684242C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124" creationId="{831BD2BA-FF3C-8107-D655-7CD07A997ECD}"/>
          </ac:spMkLst>
        </pc:spChg>
        <pc:spChg chg="mod">
          <ac:chgData name="Stefan, Chantal" userId="32a90bb8-83ff-4b15-9e26-b584e5277353" providerId="ADAL" clId="{A0FA188E-4539-1B4B-8F7A-AF25ADD774B0}" dt="2024-03-11T18:17:08.455" v="1318" actId="207"/>
          <ac:spMkLst>
            <pc:docMk/>
            <pc:sldMk cId="2280494226" sldId="262"/>
            <ac:spMk id="125" creationId="{E116A914-C8CD-B0E0-51D4-AD972400F134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126" creationId="{C62FD7B7-5805-C182-5D7C-5C18460FD62A}"/>
          </ac:spMkLst>
        </pc:spChg>
        <pc:spChg chg="mod">
          <ac:chgData name="Stefan, Chantal" userId="32a90bb8-83ff-4b15-9e26-b584e5277353" providerId="ADAL" clId="{A0FA188E-4539-1B4B-8F7A-AF25ADD774B0}" dt="2024-03-11T18:17:08.455" v="1318" actId="207"/>
          <ac:spMkLst>
            <pc:docMk/>
            <pc:sldMk cId="2280494226" sldId="262"/>
            <ac:spMk id="127" creationId="{C02BCB92-1B58-3A43-D7FD-A289B62C3EA4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127" creationId="{E2B5F2D0-E495-0994-7883-450995B9574E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128" creationId="{B54A6F95-0166-1BA9-C8AF-7E5ED7491F75}"/>
          </ac:spMkLst>
        </pc:spChg>
        <pc:spChg chg="mod">
          <ac:chgData name="Stefan, Chantal" userId="32a90bb8-83ff-4b15-9e26-b584e5277353" providerId="ADAL" clId="{A0FA188E-4539-1B4B-8F7A-AF25ADD774B0}" dt="2024-03-11T18:17:08.455" v="1318" actId="207"/>
          <ac:spMkLst>
            <pc:docMk/>
            <pc:sldMk cId="2280494226" sldId="262"/>
            <ac:spMk id="128" creationId="{C2B64384-6363-0A4D-522F-6BD427374DFE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129" creationId="{3DE77DC0-B619-9C57-8DA0-DA8BAD572A86}"/>
          </ac:spMkLst>
        </pc:spChg>
        <pc:spChg chg="mod">
          <ac:chgData name="Stefan, Chantal" userId="32a90bb8-83ff-4b15-9e26-b584e5277353" providerId="ADAL" clId="{A0FA188E-4539-1B4B-8F7A-AF25ADD774B0}" dt="2024-03-11T18:17:08.455" v="1318" actId="207"/>
          <ac:spMkLst>
            <pc:docMk/>
            <pc:sldMk cId="2280494226" sldId="262"/>
            <ac:spMk id="129" creationId="{D8425F96-E99F-FDEB-5590-EC686697CE32}"/>
          </ac:spMkLst>
        </pc:spChg>
        <pc:spChg chg="mod">
          <ac:chgData name="Stefan, Chantal" userId="32a90bb8-83ff-4b15-9e26-b584e5277353" providerId="ADAL" clId="{A0FA188E-4539-1B4B-8F7A-AF25ADD774B0}" dt="2024-03-11T18:17:08.455" v="1318" actId="207"/>
          <ac:spMkLst>
            <pc:docMk/>
            <pc:sldMk cId="2280494226" sldId="262"/>
            <ac:spMk id="130" creationId="{2BD1DE63-C349-D0F6-C013-48071477A754}"/>
          </ac:spMkLst>
        </pc:spChg>
        <pc:spChg chg="mod">
          <ac:chgData name="Stefan, Chantal" userId="32a90bb8-83ff-4b15-9e26-b584e5277353" providerId="ADAL" clId="{A0FA188E-4539-1B4B-8F7A-AF25ADD774B0}" dt="2024-03-11T18:17:08.455" v="1318" actId="207"/>
          <ac:spMkLst>
            <pc:docMk/>
            <pc:sldMk cId="2280494226" sldId="262"/>
            <ac:spMk id="131" creationId="{2E49DB10-9017-F902-755F-91B4D63AF192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131" creationId="{2E785F3E-027E-68ED-86BA-1D0DC85ECFA5}"/>
          </ac:spMkLst>
        </pc:spChg>
        <pc:spChg chg="mod">
          <ac:chgData name="Stefan, Chantal" userId="32a90bb8-83ff-4b15-9e26-b584e5277353" providerId="ADAL" clId="{A0FA188E-4539-1B4B-8F7A-AF25ADD774B0}" dt="2024-03-11T18:17:08.455" v="1318" actId="207"/>
          <ac:spMkLst>
            <pc:docMk/>
            <pc:sldMk cId="2280494226" sldId="262"/>
            <ac:spMk id="132" creationId="{50D66CD3-A69B-A833-04A9-2C58644860AB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132" creationId="{FC2D6B1F-1F77-952F-AB35-2574D1EDB011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133" creationId="{009C125B-E20B-8C5B-19D3-4B3430E2DEAF}"/>
          </ac:spMkLst>
        </pc:spChg>
        <pc:spChg chg="add mod">
          <ac:chgData name="Stefan, Chantal" userId="32a90bb8-83ff-4b15-9e26-b584e5277353" providerId="ADAL" clId="{A0FA188E-4539-1B4B-8F7A-AF25ADD774B0}" dt="2024-03-12T15:59:39.644" v="2158" actId="207"/>
          <ac:spMkLst>
            <pc:docMk/>
            <pc:sldMk cId="2280494226" sldId="262"/>
            <ac:spMk id="134" creationId="{5757794B-6B34-E3C9-6C2E-F00B67691E4A}"/>
          </ac:spMkLst>
        </pc:spChg>
        <pc:spChg chg="mod">
          <ac:chgData name="Stefan, Chantal" userId="32a90bb8-83ff-4b15-9e26-b584e5277353" providerId="ADAL" clId="{A0FA188E-4539-1B4B-8F7A-AF25ADD774B0}" dt="2024-03-11T18:17:08.455" v="1318" actId="207"/>
          <ac:spMkLst>
            <pc:docMk/>
            <pc:sldMk cId="2280494226" sldId="262"/>
            <ac:spMk id="134" creationId="{6C388C0B-F540-AD94-D245-00E1EA130700}"/>
          </ac:spMkLst>
        </pc:spChg>
        <pc:spChg chg="mod">
          <ac:chgData name="Stefan, Chantal" userId="32a90bb8-83ff-4b15-9e26-b584e5277353" providerId="ADAL" clId="{A0FA188E-4539-1B4B-8F7A-AF25ADD774B0}" dt="2024-03-11T18:17:08.455" v="1318" actId="207"/>
          <ac:spMkLst>
            <pc:docMk/>
            <pc:sldMk cId="2280494226" sldId="262"/>
            <ac:spMk id="135" creationId="{7FCCBAA6-DB9B-39EF-F6A6-83FD4154E484}"/>
          </ac:spMkLst>
        </pc:spChg>
        <pc:spChg chg="add mod">
          <ac:chgData name="Stefan, Chantal" userId="32a90bb8-83ff-4b15-9e26-b584e5277353" providerId="ADAL" clId="{A0FA188E-4539-1B4B-8F7A-AF25ADD774B0}" dt="2024-03-11T18:21:00.938" v="1356" actId="207"/>
          <ac:spMkLst>
            <pc:docMk/>
            <pc:sldMk cId="2280494226" sldId="262"/>
            <ac:spMk id="135" creationId="{DDF4064A-C513-CE8B-DF8C-59DD473EB160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136" creationId="{993EC435-FA0F-1503-2BD3-F75626E438F8}"/>
          </ac:spMkLst>
        </pc:spChg>
        <pc:spChg chg="mod">
          <ac:chgData name="Stefan, Chantal" userId="32a90bb8-83ff-4b15-9e26-b584e5277353" providerId="ADAL" clId="{A0FA188E-4539-1B4B-8F7A-AF25ADD774B0}" dt="2024-03-11T18:17:08.455" v="1318" actId="207"/>
          <ac:spMkLst>
            <pc:docMk/>
            <pc:sldMk cId="2280494226" sldId="262"/>
            <ac:spMk id="137" creationId="{368E7F75-913E-086B-52ED-CC7AD10C14FC}"/>
          </ac:spMkLst>
        </pc:spChg>
        <pc:spChg chg="add mod">
          <ac:chgData name="Stefan, Chantal" userId="32a90bb8-83ff-4b15-9e26-b584e5277353" providerId="ADAL" clId="{A0FA188E-4539-1B4B-8F7A-AF25ADD774B0}" dt="2024-03-11T18:17:08.455" v="1318" actId="207"/>
          <ac:spMkLst>
            <pc:docMk/>
            <pc:sldMk cId="2280494226" sldId="262"/>
            <ac:spMk id="137" creationId="{F1644B04-7D8F-E067-824D-98BB4FE404E3}"/>
          </ac:spMkLst>
        </pc:spChg>
        <pc:spChg chg="mod">
          <ac:chgData name="Stefan, Chantal" userId="32a90bb8-83ff-4b15-9e26-b584e5277353" providerId="ADAL" clId="{A0FA188E-4539-1B4B-8F7A-AF25ADD774B0}" dt="2024-03-11T18:17:08.455" v="1318" actId="207"/>
          <ac:spMkLst>
            <pc:docMk/>
            <pc:sldMk cId="2280494226" sldId="262"/>
            <ac:spMk id="138" creationId="{E3FC2BD0-245A-392B-603C-73BBA4E581A8}"/>
          </ac:spMkLst>
        </pc:spChg>
        <pc:spChg chg="add mod">
          <ac:chgData name="Stefan, Chantal" userId="32a90bb8-83ff-4b15-9e26-b584e5277353" providerId="ADAL" clId="{A0FA188E-4539-1B4B-8F7A-AF25ADD774B0}" dt="2024-03-11T18:21:24.543" v="1360" actId="1076"/>
          <ac:spMkLst>
            <pc:docMk/>
            <pc:sldMk cId="2280494226" sldId="262"/>
            <ac:spMk id="139" creationId="{1E9F031E-796B-117F-F3DA-F919742A59CE}"/>
          </ac:spMkLst>
        </pc:spChg>
        <pc:spChg chg="mod">
          <ac:chgData name="Stefan, Chantal" userId="32a90bb8-83ff-4b15-9e26-b584e5277353" providerId="ADAL" clId="{A0FA188E-4539-1B4B-8F7A-AF25ADD774B0}" dt="2024-03-12T16:11:02.805" v="2254" actId="207"/>
          <ac:spMkLst>
            <pc:docMk/>
            <pc:sldMk cId="2280494226" sldId="262"/>
            <ac:spMk id="140" creationId="{D3093254-EBE3-8F12-3664-77E05EA8B155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140" creationId="{F79EA65C-F86F-EEDE-CE70-D3C05B71C879}"/>
          </ac:spMkLst>
        </pc:spChg>
        <pc:spChg chg="add mod">
          <ac:chgData name="Stefan, Chantal" userId="32a90bb8-83ff-4b15-9e26-b584e5277353" providerId="ADAL" clId="{A0FA188E-4539-1B4B-8F7A-AF25ADD774B0}" dt="2024-03-11T18:21:43.055" v="1367" actId="1035"/>
          <ac:spMkLst>
            <pc:docMk/>
            <pc:sldMk cId="2280494226" sldId="262"/>
            <ac:spMk id="141" creationId="{1AC1EED3-5B3C-296B-F238-F453D32FD66C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142" creationId="{23692D5F-CFDE-4A33-18D6-3A7659FF32EB}"/>
          </ac:spMkLst>
        </pc:spChg>
        <pc:spChg chg="del mod">
          <ac:chgData name="Stefan, Chantal" userId="32a90bb8-83ff-4b15-9e26-b584e5277353" providerId="ADAL" clId="{A0FA188E-4539-1B4B-8F7A-AF25ADD774B0}" dt="2024-03-11T18:23:06.641" v="1430" actId="478"/>
          <ac:spMkLst>
            <pc:docMk/>
            <pc:sldMk cId="2280494226" sldId="262"/>
            <ac:spMk id="142" creationId="{FDCB42F9-C198-2C11-F3A7-C5B329C311AF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143" creationId="{1FFADE27-8AB2-37F4-C646-85CB0FB22357}"/>
          </ac:spMkLst>
        </pc:spChg>
        <pc:spChg chg="mod">
          <ac:chgData name="Stefan, Chantal" userId="32a90bb8-83ff-4b15-9e26-b584e5277353" providerId="ADAL" clId="{A0FA188E-4539-1B4B-8F7A-AF25ADD774B0}" dt="2024-03-11T18:17:08.455" v="1318" actId="207"/>
          <ac:spMkLst>
            <pc:docMk/>
            <pc:sldMk cId="2280494226" sldId="262"/>
            <ac:spMk id="143" creationId="{AA862922-086B-7D4B-517E-86248A2DEF7D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144" creationId="{77331ED3-8066-E6D0-BE97-42F51D3B9D88}"/>
          </ac:spMkLst>
        </pc:spChg>
        <pc:spChg chg="mod">
          <ac:chgData name="Stefan, Chantal" userId="32a90bb8-83ff-4b15-9e26-b584e5277353" providerId="ADAL" clId="{A0FA188E-4539-1B4B-8F7A-AF25ADD774B0}" dt="2024-03-11T18:17:08.455" v="1318" actId="207"/>
          <ac:spMkLst>
            <pc:docMk/>
            <pc:sldMk cId="2280494226" sldId="262"/>
            <ac:spMk id="144" creationId="{D8AAE14F-D8A5-8F77-B965-997B99FA424D}"/>
          </ac:spMkLst>
        </pc:spChg>
        <pc:spChg chg="del mod">
          <ac:chgData name="Stefan, Chantal" userId="32a90bb8-83ff-4b15-9e26-b584e5277353" providerId="ADAL" clId="{A0FA188E-4539-1B4B-8F7A-AF25ADD774B0}" dt="2024-03-11T18:23:04.077" v="1429" actId="478"/>
          <ac:spMkLst>
            <pc:docMk/>
            <pc:sldMk cId="2280494226" sldId="262"/>
            <ac:spMk id="145" creationId="{39E6DC03-C134-F2D5-989F-26D1EB4D8570}"/>
          </ac:spMkLst>
        </pc:spChg>
        <pc:spChg chg="mod">
          <ac:chgData name="Stefan, Chantal" userId="32a90bb8-83ff-4b15-9e26-b584e5277353" providerId="ADAL" clId="{A0FA188E-4539-1B4B-8F7A-AF25ADD774B0}" dt="2024-03-11T18:23:16.491" v="1439" actId="20577"/>
          <ac:spMkLst>
            <pc:docMk/>
            <pc:sldMk cId="2280494226" sldId="262"/>
            <ac:spMk id="146" creationId="{19E7AD5E-DCB2-0732-0B9B-DA1F779FCB20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146" creationId="{E80EF6C1-8737-34AB-9475-F58593366A11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155" creationId="{C97B510A-4BA4-035C-7718-C3E1F7A7D9A5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156" creationId="{AC11B83F-B119-AA51-AA87-A7CA8F6D37B3}"/>
          </ac:spMkLst>
        </pc:spChg>
        <pc:spChg chg="mod">
          <ac:chgData name="Stefan, Chantal" userId="32a90bb8-83ff-4b15-9e26-b584e5277353" providerId="ADAL" clId="{A0FA188E-4539-1B4B-8F7A-AF25ADD774B0}" dt="2024-03-11T18:17:08.455" v="1318" actId="207"/>
          <ac:spMkLst>
            <pc:docMk/>
            <pc:sldMk cId="2280494226" sldId="262"/>
            <ac:spMk id="156" creationId="{F362C270-C8E4-2C06-F640-A411228C6E0E}"/>
          </ac:spMkLst>
        </pc:spChg>
        <pc:spChg chg="mod">
          <ac:chgData name="Stefan, Chantal" userId="32a90bb8-83ff-4b15-9e26-b584e5277353" providerId="ADAL" clId="{A0FA188E-4539-1B4B-8F7A-AF25ADD774B0}" dt="2024-03-11T18:17:08.455" v="1318" actId="207"/>
          <ac:spMkLst>
            <pc:docMk/>
            <pc:sldMk cId="2280494226" sldId="262"/>
            <ac:spMk id="157" creationId="{18610251-7CF3-EFB7-8CC8-BB6AEB7F224F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158" creationId="{473F0757-74CB-E410-7687-FD0E76D7EE56}"/>
          </ac:spMkLst>
        </pc:spChg>
        <pc:spChg chg="mod">
          <ac:chgData name="Stefan, Chantal" userId="32a90bb8-83ff-4b15-9e26-b584e5277353" providerId="ADAL" clId="{A0FA188E-4539-1B4B-8F7A-AF25ADD774B0}" dt="2024-03-11T18:17:08.455" v="1318" actId="207"/>
          <ac:spMkLst>
            <pc:docMk/>
            <pc:sldMk cId="2280494226" sldId="262"/>
            <ac:spMk id="158" creationId="{F63FEDBD-0DEE-B1D2-1AA0-F92B2B7E754A}"/>
          </ac:spMkLst>
        </pc:spChg>
        <pc:spChg chg="mod">
          <ac:chgData name="Stefan, Chantal" userId="32a90bb8-83ff-4b15-9e26-b584e5277353" providerId="ADAL" clId="{A0FA188E-4539-1B4B-8F7A-AF25ADD774B0}" dt="2024-03-11T18:17:08.455" v="1318" actId="207"/>
          <ac:spMkLst>
            <pc:docMk/>
            <pc:sldMk cId="2280494226" sldId="262"/>
            <ac:spMk id="159" creationId="{BB8B3FAD-D93E-CDAD-E057-B990D47C6859}"/>
          </ac:spMkLst>
        </pc:spChg>
        <pc:spChg chg="mod">
          <ac:chgData name="Stefan, Chantal" userId="32a90bb8-83ff-4b15-9e26-b584e5277353" providerId="ADAL" clId="{A0FA188E-4539-1B4B-8F7A-AF25ADD774B0}" dt="2024-03-11T18:17:08.455" v="1318" actId="207"/>
          <ac:spMkLst>
            <pc:docMk/>
            <pc:sldMk cId="2280494226" sldId="262"/>
            <ac:spMk id="160" creationId="{98DCF972-EE6E-0F11-A9CE-AD4BD22F19A7}"/>
          </ac:spMkLst>
        </pc:spChg>
        <pc:spChg chg="mod">
          <ac:chgData name="Stefan, Chantal" userId="32a90bb8-83ff-4b15-9e26-b584e5277353" providerId="ADAL" clId="{A0FA188E-4539-1B4B-8F7A-AF25ADD774B0}" dt="2024-03-11T18:17:08.455" v="1318" actId="207"/>
          <ac:spMkLst>
            <pc:docMk/>
            <pc:sldMk cId="2280494226" sldId="262"/>
            <ac:spMk id="161" creationId="{2CF550C4-6A53-3484-BA57-4D8A903A0DDF}"/>
          </ac:spMkLst>
        </pc:spChg>
        <pc:spChg chg="mod">
          <ac:chgData name="Stefan, Chantal" userId="32a90bb8-83ff-4b15-9e26-b584e5277353" providerId="ADAL" clId="{A0FA188E-4539-1B4B-8F7A-AF25ADD774B0}" dt="2024-03-11T18:17:29.456" v="1320" actId="207"/>
          <ac:spMkLst>
            <pc:docMk/>
            <pc:sldMk cId="2280494226" sldId="262"/>
            <ac:spMk id="161" creationId="{6F61AC19-A04C-C29E-F29D-3D408EB3D06D}"/>
          </ac:spMkLst>
        </pc:spChg>
        <pc:spChg chg="mod">
          <ac:chgData name="Stefan, Chantal" userId="32a90bb8-83ff-4b15-9e26-b584e5277353" providerId="ADAL" clId="{A0FA188E-4539-1B4B-8F7A-AF25ADD774B0}" dt="2024-03-11T18:17:08.455" v="1318" actId="207"/>
          <ac:spMkLst>
            <pc:docMk/>
            <pc:sldMk cId="2280494226" sldId="262"/>
            <ac:spMk id="162" creationId="{074B1A89-8A76-CCE7-51A9-DE74676BB4D0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162" creationId="{7AEDFEBB-4996-0055-F8FA-DAF24C5807D5}"/>
          </ac:spMkLst>
        </pc:spChg>
        <pc:spChg chg="mod">
          <ac:chgData name="Stefan, Chantal" userId="32a90bb8-83ff-4b15-9e26-b584e5277353" providerId="ADAL" clId="{A0FA188E-4539-1B4B-8F7A-AF25ADD774B0}" dt="2024-03-11T18:17:08.455" v="1318" actId="207"/>
          <ac:spMkLst>
            <pc:docMk/>
            <pc:sldMk cId="2280494226" sldId="262"/>
            <ac:spMk id="163" creationId="{3718FC7D-5C6A-B35E-7053-49E1AC09626A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164" creationId="{2BA2A470-3890-A65A-43E1-F04513424A1D}"/>
          </ac:spMkLst>
        </pc:spChg>
        <pc:spChg chg="mod">
          <ac:chgData name="Stefan, Chantal" userId="32a90bb8-83ff-4b15-9e26-b584e5277353" providerId="ADAL" clId="{A0FA188E-4539-1B4B-8F7A-AF25ADD774B0}" dt="2024-03-11T18:17:08.455" v="1318" actId="207"/>
          <ac:spMkLst>
            <pc:docMk/>
            <pc:sldMk cId="2280494226" sldId="262"/>
            <ac:spMk id="164" creationId="{72B0BA5D-F488-E3E6-5EDF-4D50ED8257D4}"/>
          </ac:spMkLst>
        </pc:spChg>
        <pc:spChg chg="add del mod">
          <ac:chgData name="Stefan, Chantal" userId="32a90bb8-83ff-4b15-9e26-b584e5277353" providerId="ADAL" clId="{A0FA188E-4539-1B4B-8F7A-AF25ADD774B0}" dt="2024-03-11T18:24:35.090" v="1513"/>
          <ac:spMkLst>
            <pc:docMk/>
            <pc:sldMk cId="2280494226" sldId="262"/>
            <ac:spMk id="310" creationId="{8ADEB936-0DB5-C4D8-C263-189969DCFBE5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312" creationId="{23E19DED-C2E2-63E7-F6A8-5FA926C471DA}"/>
          </ac:spMkLst>
        </pc:spChg>
        <pc:spChg chg="add mod">
          <ac:chgData name="Stefan, Chantal" userId="32a90bb8-83ff-4b15-9e26-b584e5277353" providerId="ADAL" clId="{A0FA188E-4539-1B4B-8F7A-AF25ADD774B0}" dt="2024-03-11T18:40:00.369" v="2095" actId="20577"/>
          <ac:spMkLst>
            <pc:docMk/>
            <pc:sldMk cId="2280494226" sldId="262"/>
            <ac:spMk id="312" creationId="{B6BC0F2A-EDDF-2222-6861-162BC2D9989B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314" creationId="{6B844BB3-3BD6-FC96-FD22-FD21698D0870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315" creationId="{5B1D9821-F5D0-922F-7482-3F7BE65AAA18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316" creationId="{EED4B55E-C10D-1421-D9E8-91579EC5AD02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317" creationId="{1675DB2C-7EEF-B5FC-712C-65B704772957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318" creationId="{310EE5B7-FE7A-1DE7-BBA8-0F727235AA29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319" creationId="{7432CB1F-921C-871F-E8B3-04D0A2AD2DB3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320" creationId="{12F26D4D-8A78-FB57-2A6C-BD051D460DBD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321" creationId="{D6B585AA-2FF2-0F79-D182-BEBDE63F515C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322" creationId="{C8C0441E-A5B2-DCC9-2488-3CE9ADDC0DBE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324" creationId="{DAEBB166-D85E-AEC2-A20E-C05A6598E35C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325" creationId="{E9C8822A-E69E-6CA4-246C-4A950B30258A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326" creationId="{AD1CB07F-E7FF-06E5-75D8-1B0EBB52E606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327" creationId="{8E845B41-3445-D605-27A3-187716D87808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329" creationId="{1B7B4407-CBA8-AB14-AEC9-FD60B2D6B3C1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330" creationId="{694F46D4-53FA-2928-78EB-942282CB4E69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331" creationId="{98E2CB05-4B2D-6597-683E-3CB10ED64B5D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332" creationId="{E205F081-66A3-FA1E-57A0-4657C730769D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333" creationId="{CBA29A14-D2CE-F19E-63B5-B2680427D919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334" creationId="{6196336E-B94C-FF74-7D0A-D29A42FEEE2E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335" creationId="{34E864C9-EA34-3F4A-A415-2CB8E3B9B320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337" creationId="{5A41C6A4-5D78-3BE6-EFAF-C5D13BE89AC4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338" creationId="{7D23743B-5C80-0A95-A0E3-068754B664DD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340" creationId="{958032ED-88AC-288B-3093-631550B89323}"/>
          </ac:spMkLst>
        </pc:spChg>
        <pc:spChg chg="mod">
          <ac:chgData name="Stefan, Chantal" userId="32a90bb8-83ff-4b15-9e26-b584e5277353" providerId="ADAL" clId="{A0FA188E-4539-1B4B-8F7A-AF25ADD774B0}" dt="2024-03-11T18:17:08.455" v="1318" actId="207"/>
          <ac:spMkLst>
            <pc:docMk/>
            <pc:sldMk cId="2280494226" sldId="262"/>
            <ac:spMk id="341" creationId="{AF312E21-A051-6431-229D-F04D50C904C1}"/>
          </ac:spMkLst>
        </pc:spChg>
        <pc:spChg chg="mod">
          <ac:chgData name="Stefan, Chantal" userId="32a90bb8-83ff-4b15-9e26-b584e5277353" providerId="ADAL" clId="{A0FA188E-4539-1B4B-8F7A-AF25ADD774B0}" dt="2024-03-11T18:17:08.455" v="1318" actId="207"/>
          <ac:spMkLst>
            <pc:docMk/>
            <pc:sldMk cId="2280494226" sldId="262"/>
            <ac:spMk id="343" creationId="{E11E711F-A6AF-0A9D-B619-83EF9DA0415C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344" creationId="{97DC524A-D757-B0B3-7A90-3C76AB5BB589}"/>
          </ac:spMkLst>
        </pc:spChg>
        <pc:spChg chg="mod">
          <ac:chgData name="Stefan, Chantal" userId="32a90bb8-83ff-4b15-9e26-b584e5277353" providerId="ADAL" clId="{A0FA188E-4539-1B4B-8F7A-AF25ADD774B0}" dt="2024-03-11T18:17:08.455" v="1318" actId="207"/>
          <ac:spMkLst>
            <pc:docMk/>
            <pc:sldMk cId="2280494226" sldId="262"/>
            <ac:spMk id="345" creationId="{02476D0B-EF8C-C4A4-68C4-638F80560495}"/>
          </ac:spMkLst>
        </pc:spChg>
        <pc:spChg chg="mod">
          <ac:chgData name="Stefan, Chantal" userId="32a90bb8-83ff-4b15-9e26-b584e5277353" providerId="ADAL" clId="{A0FA188E-4539-1B4B-8F7A-AF25ADD774B0}" dt="2024-03-11T18:22:18.537" v="1398"/>
          <ac:spMkLst>
            <pc:docMk/>
            <pc:sldMk cId="2280494226" sldId="262"/>
            <ac:spMk id="346" creationId="{0390E62A-E1E5-0F7B-1629-E17B7E112186}"/>
          </ac:spMkLst>
        </pc:spChg>
        <pc:grpChg chg="add mod">
          <ac:chgData name="Stefan, Chantal" userId="32a90bb8-83ff-4b15-9e26-b584e5277353" providerId="ADAL" clId="{A0FA188E-4539-1B4B-8F7A-AF25ADD774B0}" dt="2024-03-11T18:15:34.844" v="1312"/>
          <ac:grpSpMkLst>
            <pc:docMk/>
            <pc:sldMk cId="2280494226" sldId="262"/>
            <ac:grpSpMk id="22" creationId="{4EC4ACF2-6B4F-70A6-FEF4-4A9B4DAE73FF}"/>
          </ac:grpSpMkLst>
        </pc:grpChg>
        <pc:grpChg chg="mod">
          <ac:chgData name="Stefan, Chantal" userId="32a90bb8-83ff-4b15-9e26-b584e5277353" providerId="ADAL" clId="{A0FA188E-4539-1B4B-8F7A-AF25ADD774B0}" dt="2024-03-11T18:15:34.844" v="1312"/>
          <ac:grpSpMkLst>
            <pc:docMk/>
            <pc:sldMk cId="2280494226" sldId="262"/>
            <ac:grpSpMk id="23" creationId="{B461722F-F474-3645-1876-C5E82867D4A1}"/>
          </ac:grpSpMkLst>
        </pc:grpChg>
        <pc:grpChg chg="mod">
          <ac:chgData name="Stefan, Chantal" userId="32a90bb8-83ff-4b15-9e26-b584e5277353" providerId="ADAL" clId="{A0FA188E-4539-1B4B-8F7A-AF25ADD774B0}" dt="2024-03-11T18:15:34.844" v="1312"/>
          <ac:grpSpMkLst>
            <pc:docMk/>
            <pc:sldMk cId="2280494226" sldId="262"/>
            <ac:grpSpMk id="24" creationId="{90D8443E-C29B-5082-18E2-681D87316D17}"/>
          </ac:grpSpMkLst>
        </pc:grpChg>
        <pc:grpChg chg="mod">
          <ac:chgData name="Stefan, Chantal" userId="32a90bb8-83ff-4b15-9e26-b584e5277353" providerId="ADAL" clId="{A0FA188E-4539-1B4B-8F7A-AF25ADD774B0}" dt="2024-03-11T18:15:34.844" v="1312"/>
          <ac:grpSpMkLst>
            <pc:docMk/>
            <pc:sldMk cId="2280494226" sldId="262"/>
            <ac:grpSpMk id="25" creationId="{299693ED-FC63-955B-511B-B653BB3CA46B}"/>
          </ac:grpSpMkLst>
        </pc:grpChg>
        <pc:grpChg chg="mod">
          <ac:chgData name="Stefan, Chantal" userId="32a90bb8-83ff-4b15-9e26-b584e5277353" providerId="ADAL" clId="{A0FA188E-4539-1B4B-8F7A-AF25ADD774B0}" dt="2024-03-15T11:22:59.985" v="5579" actId="1037"/>
          <ac:grpSpMkLst>
            <pc:docMk/>
            <pc:sldMk cId="2280494226" sldId="262"/>
            <ac:grpSpMk id="25" creationId="{3634F5FD-A553-24D8-91BA-475935201A6E}"/>
          </ac:grpSpMkLst>
        </pc:grpChg>
        <pc:grpChg chg="mod">
          <ac:chgData name="Stefan, Chantal" userId="32a90bb8-83ff-4b15-9e26-b584e5277353" providerId="ADAL" clId="{A0FA188E-4539-1B4B-8F7A-AF25ADD774B0}" dt="2024-03-11T18:15:34.844" v="1312"/>
          <ac:grpSpMkLst>
            <pc:docMk/>
            <pc:sldMk cId="2280494226" sldId="262"/>
            <ac:grpSpMk id="26" creationId="{C1AE0F6A-6524-AA5B-762C-7B0C3C4E4E3B}"/>
          </ac:grpSpMkLst>
        </pc:grpChg>
        <pc:grpChg chg="add mod">
          <ac:chgData name="Stefan, Chantal" userId="32a90bb8-83ff-4b15-9e26-b584e5277353" providerId="ADAL" clId="{A0FA188E-4539-1B4B-8F7A-AF25ADD774B0}" dt="2024-03-11T18:16:56.262" v="1316"/>
          <ac:grpSpMkLst>
            <pc:docMk/>
            <pc:sldMk cId="2280494226" sldId="262"/>
            <ac:grpSpMk id="27" creationId="{14500DB1-49B4-269A-CA7D-CE68F5141D34}"/>
          </ac:grpSpMkLst>
        </pc:grpChg>
        <pc:grpChg chg="mod">
          <ac:chgData name="Stefan, Chantal" userId="32a90bb8-83ff-4b15-9e26-b584e5277353" providerId="ADAL" clId="{A0FA188E-4539-1B4B-8F7A-AF25ADD774B0}" dt="2024-03-11T18:15:34.844" v="1312"/>
          <ac:grpSpMkLst>
            <pc:docMk/>
            <pc:sldMk cId="2280494226" sldId="262"/>
            <ac:grpSpMk id="27" creationId="{AB88C432-3433-F00C-353E-75B0DACB5895}"/>
          </ac:grpSpMkLst>
        </pc:grpChg>
        <pc:grpChg chg="mod">
          <ac:chgData name="Stefan, Chantal" userId="32a90bb8-83ff-4b15-9e26-b584e5277353" providerId="ADAL" clId="{A0FA188E-4539-1B4B-8F7A-AF25ADD774B0}" dt="2024-03-11T18:15:34.844" v="1312"/>
          <ac:grpSpMkLst>
            <pc:docMk/>
            <pc:sldMk cId="2280494226" sldId="262"/>
            <ac:grpSpMk id="30" creationId="{41355F52-41D8-FB68-B165-A5B15105E1BE}"/>
          </ac:grpSpMkLst>
        </pc:grpChg>
        <pc:grpChg chg="add mod">
          <ac:chgData name="Stefan, Chantal" userId="32a90bb8-83ff-4b15-9e26-b584e5277353" providerId="ADAL" clId="{A0FA188E-4539-1B4B-8F7A-AF25ADD774B0}" dt="2024-03-11T18:22:49.570" v="1428" actId="1076"/>
          <ac:grpSpMkLst>
            <pc:docMk/>
            <pc:sldMk cId="2280494226" sldId="262"/>
            <ac:grpSpMk id="32" creationId="{02406768-0449-606A-C6BD-86FB82B86982}"/>
          </ac:grpSpMkLst>
        </pc:grpChg>
        <pc:grpChg chg="mod">
          <ac:chgData name="Stefan, Chantal" userId="32a90bb8-83ff-4b15-9e26-b584e5277353" providerId="ADAL" clId="{A0FA188E-4539-1B4B-8F7A-AF25ADD774B0}" dt="2024-03-11T18:22:18.537" v="1398"/>
          <ac:grpSpMkLst>
            <pc:docMk/>
            <pc:sldMk cId="2280494226" sldId="262"/>
            <ac:grpSpMk id="33" creationId="{F824D3C4-BE62-82DC-CDDB-3F5FAE59ECD8}"/>
          </ac:grpSpMkLst>
        </pc:grpChg>
        <pc:grpChg chg="mod">
          <ac:chgData name="Stefan, Chantal" userId="32a90bb8-83ff-4b15-9e26-b584e5277353" providerId="ADAL" clId="{A0FA188E-4539-1B4B-8F7A-AF25ADD774B0}" dt="2024-03-11T18:22:18.537" v="1398"/>
          <ac:grpSpMkLst>
            <pc:docMk/>
            <pc:sldMk cId="2280494226" sldId="262"/>
            <ac:grpSpMk id="34" creationId="{A5E7C014-408B-47D0-3636-D734C3337AE4}"/>
          </ac:grpSpMkLst>
        </pc:grpChg>
        <pc:grpChg chg="mod">
          <ac:chgData name="Stefan, Chantal" userId="32a90bb8-83ff-4b15-9e26-b584e5277353" providerId="ADAL" clId="{A0FA188E-4539-1B4B-8F7A-AF25ADD774B0}" dt="2024-03-11T18:22:18.537" v="1398"/>
          <ac:grpSpMkLst>
            <pc:docMk/>
            <pc:sldMk cId="2280494226" sldId="262"/>
            <ac:grpSpMk id="35" creationId="{6122669A-5948-E2FF-57B6-55F4C5F1C801}"/>
          </ac:grpSpMkLst>
        </pc:grpChg>
        <pc:grpChg chg="mod">
          <ac:chgData name="Stefan, Chantal" userId="32a90bb8-83ff-4b15-9e26-b584e5277353" providerId="ADAL" clId="{A0FA188E-4539-1B4B-8F7A-AF25ADD774B0}" dt="2024-03-11T18:22:18.537" v="1398"/>
          <ac:grpSpMkLst>
            <pc:docMk/>
            <pc:sldMk cId="2280494226" sldId="262"/>
            <ac:grpSpMk id="36" creationId="{03ED0F99-E11B-48A4-BB86-5255DF2C8710}"/>
          </ac:grpSpMkLst>
        </pc:grpChg>
        <pc:grpChg chg="mod">
          <ac:chgData name="Stefan, Chantal" userId="32a90bb8-83ff-4b15-9e26-b584e5277353" providerId="ADAL" clId="{A0FA188E-4539-1B4B-8F7A-AF25ADD774B0}" dt="2024-03-11T18:22:18.537" v="1398"/>
          <ac:grpSpMkLst>
            <pc:docMk/>
            <pc:sldMk cId="2280494226" sldId="262"/>
            <ac:grpSpMk id="37" creationId="{5629EB3A-8DCA-10B0-6417-15D371F16749}"/>
          </ac:grpSpMkLst>
        </pc:grpChg>
        <pc:grpChg chg="mod">
          <ac:chgData name="Stefan, Chantal" userId="32a90bb8-83ff-4b15-9e26-b584e5277353" providerId="ADAL" clId="{A0FA188E-4539-1B4B-8F7A-AF25ADD774B0}" dt="2024-03-11T18:22:18.537" v="1398"/>
          <ac:grpSpMkLst>
            <pc:docMk/>
            <pc:sldMk cId="2280494226" sldId="262"/>
            <ac:grpSpMk id="38" creationId="{11130583-1E65-4432-BCA0-D9F0EA437ACA}"/>
          </ac:grpSpMkLst>
        </pc:grpChg>
        <pc:grpChg chg="mod">
          <ac:chgData name="Stefan, Chantal" userId="32a90bb8-83ff-4b15-9e26-b584e5277353" providerId="ADAL" clId="{A0FA188E-4539-1B4B-8F7A-AF25ADD774B0}" dt="2024-03-11T18:15:34.844" v="1312"/>
          <ac:grpSpMkLst>
            <pc:docMk/>
            <pc:sldMk cId="2280494226" sldId="262"/>
            <ac:grpSpMk id="38" creationId="{5D1B2906-1CF6-8973-9C2F-A3BF029E78D9}"/>
          </ac:grpSpMkLst>
        </pc:grpChg>
        <pc:grpChg chg="mod">
          <ac:chgData name="Stefan, Chantal" userId="32a90bb8-83ff-4b15-9e26-b584e5277353" providerId="ADAL" clId="{A0FA188E-4539-1B4B-8F7A-AF25ADD774B0}" dt="2024-03-11T18:22:18.537" v="1398"/>
          <ac:grpSpMkLst>
            <pc:docMk/>
            <pc:sldMk cId="2280494226" sldId="262"/>
            <ac:grpSpMk id="39" creationId="{064BDBE0-F6E4-815C-EFFB-33F54033D30C}"/>
          </ac:grpSpMkLst>
        </pc:grpChg>
        <pc:grpChg chg="mod">
          <ac:chgData name="Stefan, Chantal" userId="32a90bb8-83ff-4b15-9e26-b584e5277353" providerId="ADAL" clId="{A0FA188E-4539-1B4B-8F7A-AF25ADD774B0}" dt="2024-03-11T18:22:18.537" v="1398"/>
          <ac:grpSpMkLst>
            <pc:docMk/>
            <pc:sldMk cId="2280494226" sldId="262"/>
            <ac:grpSpMk id="40" creationId="{93832155-482E-0640-EED7-C6E83BF9474F}"/>
          </ac:grpSpMkLst>
        </pc:grpChg>
        <pc:grpChg chg="mod">
          <ac:chgData name="Stefan, Chantal" userId="32a90bb8-83ff-4b15-9e26-b584e5277353" providerId="ADAL" clId="{A0FA188E-4539-1B4B-8F7A-AF25ADD774B0}" dt="2024-03-11T18:22:18.537" v="1398"/>
          <ac:grpSpMkLst>
            <pc:docMk/>
            <pc:sldMk cId="2280494226" sldId="262"/>
            <ac:grpSpMk id="41" creationId="{C707013D-8972-C5AD-9C46-19CDD6EAC763}"/>
          </ac:grpSpMkLst>
        </pc:grpChg>
        <pc:grpChg chg="mod">
          <ac:chgData name="Stefan, Chantal" userId="32a90bb8-83ff-4b15-9e26-b584e5277353" providerId="ADAL" clId="{A0FA188E-4539-1B4B-8F7A-AF25ADD774B0}" dt="2024-03-11T18:22:18.537" v="1398"/>
          <ac:grpSpMkLst>
            <pc:docMk/>
            <pc:sldMk cId="2280494226" sldId="262"/>
            <ac:grpSpMk id="42" creationId="{7A7D8273-A173-F2B3-44CE-656DA096E699}"/>
          </ac:grpSpMkLst>
        </pc:grpChg>
        <pc:grpChg chg="mod">
          <ac:chgData name="Stefan, Chantal" userId="32a90bb8-83ff-4b15-9e26-b584e5277353" providerId="ADAL" clId="{A0FA188E-4539-1B4B-8F7A-AF25ADD774B0}" dt="2024-03-11T18:22:18.537" v="1398"/>
          <ac:grpSpMkLst>
            <pc:docMk/>
            <pc:sldMk cId="2280494226" sldId="262"/>
            <ac:grpSpMk id="43" creationId="{4EB50F0C-D8D7-6088-E4CF-B925E2017812}"/>
          </ac:grpSpMkLst>
        </pc:grpChg>
        <pc:grpChg chg="mod">
          <ac:chgData name="Stefan, Chantal" userId="32a90bb8-83ff-4b15-9e26-b584e5277353" providerId="ADAL" clId="{A0FA188E-4539-1B4B-8F7A-AF25ADD774B0}" dt="2024-03-11T18:15:34.844" v="1312"/>
          <ac:grpSpMkLst>
            <pc:docMk/>
            <pc:sldMk cId="2280494226" sldId="262"/>
            <ac:grpSpMk id="43" creationId="{A405D2EF-86D1-1DBF-B478-CA1A3A9CA030}"/>
          </ac:grpSpMkLst>
        </pc:grpChg>
        <pc:grpChg chg="mod">
          <ac:chgData name="Stefan, Chantal" userId="32a90bb8-83ff-4b15-9e26-b584e5277353" providerId="ADAL" clId="{A0FA188E-4539-1B4B-8F7A-AF25ADD774B0}" dt="2024-03-11T18:22:18.537" v="1398"/>
          <ac:grpSpMkLst>
            <pc:docMk/>
            <pc:sldMk cId="2280494226" sldId="262"/>
            <ac:grpSpMk id="44" creationId="{7C8B851A-C12D-6592-819A-3290FE57FCAE}"/>
          </ac:grpSpMkLst>
        </pc:grpChg>
        <pc:grpChg chg="mod">
          <ac:chgData name="Stefan, Chantal" userId="32a90bb8-83ff-4b15-9e26-b584e5277353" providerId="ADAL" clId="{A0FA188E-4539-1B4B-8F7A-AF25ADD774B0}" dt="2024-03-11T18:22:18.537" v="1398"/>
          <ac:grpSpMkLst>
            <pc:docMk/>
            <pc:sldMk cId="2280494226" sldId="262"/>
            <ac:grpSpMk id="45" creationId="{E83E84B8-F24B-1CC0-10E4-6A6839FB5A7E}"/>
          </ac:grpSpMkLst>
        </pc:grpChg>
        <pc:grpChg chg="mod">
          <ac:chgData name="Stefan, Chantal" userId="32a90bb8-83ff-4b15-9e26-b584e5277353" providerId="ADAL" clId="{A0FA188E-4539-1B4B-8F7A-AF25ADD774B0}" dt="2024-03-11T18:22:18.537" v="1398"/>
          <ac:grpSpMkLst>
            <pc:docMk/>
            <pc:sldMk cId="2280494226" sldId="262"/>
            <ac:grpSpMk id="46" creationId="{19442F6F-7D9E-185D-3016-1479A44E7731}"/>
          </ac:grpSpMkLst>
        </pc:grpChg>
        <pc:grpChg chg="mod">
          <ac:chgData name="Stefan, Chantal" userId="32a90bb8-83ff-4b15-9e26-b584e5277353" providerId="ADAL" clId="{A0FA188E-4539-1B4B-8F7A-AF25ADD774B0}" dt="2024-03-11T18:22:18.537" v="1398"/>
          <ac:grpSpMkLst>
            <pc:docMk/>
            <pc:sldMk cId="2280494226" sldId="262"/>
            <ac:grpSpMk id="47" creationId="{D420995C-864A-0487-C4C9-14B3C40A157D}"/>
          </ac:grpSpMkLst>
        </pc:grpChg>
        <pc:grpChg chg="mod">
          <ac:chgData name="Stefan, Chantal" userId="32a90bb8-83ff-4b15-9e26-b584e5277353" providerId="ADAL" clId="{A0FA188E-4539-1B4B-8F7A-AF25ADD774B0}" dt="2024-03-11T18:22:18.537" v="1398"/>
          <ac:grpSpMkLst>
            <pc:docMk/>
            <pc:sldMk cId="2280494226" sldId="262"/>
            <ac:grpSpMk id="48" creationId="{67775F16-5199-B83C-EF02-5E2D57CA339A}"/>
          </ac:grpSpMkLst>
        </pc:grpChg>
        <pc:grpChg chg="mod">
          <ac:chgData name="Stefan, Chantal" userId="32a90bb8-83ff-4b15-9e26-b584e5277353" providerId="ADAL" clId="{A0FA188E-4539-1B4B-8F7A-AF25ADD774B0}" dt="2024-03-11T18:22:18.537" v="1398"/>
          <ac:grpSpMkLst>
            <pc:docMk/>
            <pc:sldMk cId="2280494226" sldId="262"/>
            <ac:grpSpMk id="49" creationId="{A50CCCDB-13D8-A56B-E331-2FD367B4A2E1}"/>
          </ac:grpSpMkLst>
        </pc:grpChg>
        <pc:grpChg chg="mod">
          <ac:chgData name="Stefan, Chantal" userId="32a90bb8-83ff-4b15-9e26-b584e5277353" providerId="ADAL" clId="{A0FA188E-4539-1B4B-8F7A-AF25ADD774B0}" dt="2024-03-11T18:22:18.537" v="1398"/>
          <ac:grpSpMkLst>
            <pc:docMk/>
            <pc:sldMk cId="2280494226" sldId="262"/>
            <ac:grpSpMk id="50" creationId="{12BD2D2B-9FE4-2745-320C-DD8E09A54920}"/>
          </ac:grpSpMkLst>
        </pc:grpChg>
        <pc:grpChg chg="mod">
          <ac:chgData name="Stefan, Chantal" userId="32a90bb8-83ff-4b15-9e26-b584e5277353" providerId="ADAL" clId="{A0FA188E-4539-1B4B-8F7A-AF25ADD774B0}" dt="2024-03-11T18:22:18.537" v="1398"/>
          <ac:grpSpMkLst>
            <pc:docMk/>
            <pc:sldMk cId="2280494226" sldId="262"/>
            <ac:grpSpMk id="51" creationId="{24AE96EC-08EA-B4B7-82A3-153B6C3B535A}"/>
          </ac:grpSpMkLst>
        </pc:grpChg>
        <pc:grpChg chg="mod">
          <ac:chgData name="Stefan, Chantal" userId="32a90bb8-83ff-4b15-9e26-b584e5277353" providerId="ADAL" clId="{A0FA188E-4539-1B4B-8F7A-AF25ADD774B0}" dt="2024-03-11T18:22:18.537" v="1398"/>
          <ac:grpSpMkLst>
            <pc:docMk/>
            <pc:sldMk cId="2280494226" sldId="262"/>
            <ac:grpSpMk id="52" creationId="{47D0017C-30B2-0C4F-9AED-09C6D2E23761}"/>
          </ac:grpSpMkLst>
        </pc:grpChg>
        <pc:grpChg chg="add mod">
          <ac:chgData name="Stefan, Chantal" userId="32a90bb8-83ff-4b15-9e26-b584e5277353" providerId="ADAL" clId="{A0FA188E-4539-1B4B-8F7A-AF25ADD774B0}" dt="2024-03-11T18:15:34.844" v="1312"/>
          <ac:grpSpMkLst>
            <pc:docMk/>
            <pc:sldMk cId="2280494226" sldId="262"/>
            <ac:grpSpMk id="52" creationId="{61CFBE74-4CA9-C4A6-8D91-57327C00C08C}"/>
          </ac:grpSpMkLst>
        </pc:grpChg>
        <pc:grpChg chg="mod">
          <ac:chgData name="Stefan, Chantal" userId="32a90bb8-83ff-4b15-9e26-b584e5277353" providerId="ADAL" clId="{A0FA188E-4539-1B4B-8F7A-AF25ADD774B0}" dt="2024-03-11T18:15:34.844" v="1312"/>
          <ac:grpSpMkLst>
            <pc:docMk/>
            <pc:sldMk cId="2280494226" sldId="262"/>
            <ac:grpSpMk id="53" creationId="{83BE03BC-558B-79F6-2FD7-63CBCE386E54}"/>
          </ac:grpSpMkLst>
        </pc:grpChg>
        <pc:grpChg chg="mod">
          <ac:chgData name="Stefan, Chantal" userId="32a90bb8-83ff-4b15-9e26-b584e5277353" providerId="ADAL" clId="{A0FA188E-4539-1B4B-8F7A-AF25ADD774B0}" dt="2024-03-11T18:15:34.844" v="1312"/>
          <ac:grpSpMkLst>
            <pc:docMk/>
            <pc:sldMk cId="2280494226" sldId="262"/>
            <ac:grpSpMk id="54" creationId="{DA0806F4-1A95-73DC-9486-2AA4AFA54B70}"/>
          </ac:grpSpMkLst>
        </pc:grpChg>
        <pc:grpChg chg="mod">
          <ac:chgData name="Stefan, Chantal" userId="32a90bb8-83ff-4b15-9e26-b584e5277353" providerId="ADAL" clId="{A0FA188E-4539-1B4B-8F7A-AF25ADD774B0}" dt="2024-03-11T18:15:34.844" v="1312"/>
          <ac:grpSpMkLst>
            <pc:docMk/>
            <pc:sldMk cId="2280494226" sldId="262"/>
            <ac:grpSpMk id="55" creationId="{4A489412-7630-0CC5-AC76-CBB437F9979C}"/>
          </ac:grpSpMkLst>
        </pc:grpChg>
        <pc:grpChg chg="mod">
          <ac:chgData name="Stefan, Chantal" userId="32a90bb8-83ff-4b15-9e26-b584e5277353" providerId="ADAL" clId="{A0FA188E-4539-1B4B-8F7A-AF25ADD774B0}" dt="2024-03-11T18:15:34.844" v="1312"/>
          <ac:grpSpMkLst>
            <pc:docMk/>
            <pc:sldMk cId="2280494226" sldId="262"/>
            <ac:grpSpMk id="58" creationId="{0A32AF00-824E-0114-4E75-33511E5C04B9}"/>
          </ac:grpSpMkLst>
        </pc:grpChg>
        <pc:grpChg chg="mod">
          <ac:chgData name="Stefan, Chantal" userId="32a90bb8-83ff-4b15-9e26-b584e5277353" providerId="ADAL" clId="{A0FA188E-4539-1B4B-8F7A-AF25ADD774B0}" dt="2024-03-11T18:22:18.537" v="1398"/>
          <ac:grpSpMkLst>
            <pc:docMk/>
            <pc:sldMk cId="2280494226" sldId="262"/>
            <ac:grpSpMk id="62" creationId="{E0A06A82-BC58-517B-9315-1A54E3CC3E20}"/>
          </ac:grpSpMkLst>
        </pc:grpChg>
        <pc:grpChg chg="mod">
          <ac:chgData name="Stefan, Chantal" userId="32a90bb8-83ff-4b15-9e26-b584e5277353" providerId="ADAL" clId="{A0FA188E-4539-1B4B-8F7A-AF25ADD774B0}" dt="2024-03-11T18:15:34.844" v="1312"/>
          <ac:grpSpMkLst>
            <pc:docMk/>
            <pc:sldMk cId="2280494226" sldId="262"/>
            <ac:grpSpMk id="65" creationId="{90FE60ED-501B-9C63-1E02-33D3B56D863A}"/>
          </ac:grpSpMkLst>
        </pc:grpChg>
        <pc:grpChg chg="mod">
          <ac:chgData name="Stefan, Chantal" userId="32a90bb8-83ff-4b15-9e26-b584e5277353" providerId="ADAL" clId="{A0FA188E-4539-1B4B-8F7A-AF25ADD774B0}" dt="2024-03-11T18:15:34.844" v="1312"/>
          <ac:grpSpMkLst>
            <pc:docMk/>
            <pc:sldMk cId="2280494226" sldId="262"/>
            <ac:grpSpMk id="66" creationId="{497C57D9-B525-4E04-4EF0-5DFE8D572DF1}"/>
          </ac:grpSpMkLst>
        </pc:grpChg>
        <pc:grpChg chg="mod">
          <ac:chgData name="Stefan, Chantal" userId="32a90bb8-83ff-4b15-9e26-b584e5277353" providerId="ADAL" clId="{A0FA188E-4539-1B4B-8F7A-AF25ADD774B0}" dt="2024-03-11T18:15:34.844" v="1312"/>
          <ac:grpSpMkLst>
            <pc:docMk/>
            <pc:sldMk cId="2280494226" sldId="262"/>
            <ac:grpSpMk id="72" creationId="{69DDB2A5-F568-8E6E-B995-9DE145B80186}"/>
          </ac:grpSpMkLst>
        </pc:grpChg>
        <pc:grpChg chg="mod">
          <ac:chgData name="Stefan, Chantal" userId="32a90bb8-83ff-4b15-9e26-b584e5277353" providerId="ADAL" clId="{A0FA188E-4539-1B4B-8F7A-AF25ADD774B0}" dt="2024-03-11T18:22:18.537" v="1398"/>
          <ac:grpSpMkLst>
            <pc:docMk/>
            <pc:sldMk cId="2280494226" sldId="262"/>
            <ac:grpSpMk id="76" creationId="{74B4DA2E-1850-480C-848D-031A7F5B8CB3}"/>
          </ac:grpSpMkLst>
        </pc:grpChg>
        <pc:grpChg chg="add mod">
          <ac:chgData name="Stefan, Chantal" userId="32a90bb8-83ff-4b15-9e26-b584e5277353" providerId="ADAL" clId="{A0FA188E-4539-1B4B-8F7A-AF25ADD774B0}" dt="2024-03-11T18:15:34.844" v="1312"/>
          <ac:grpSpMkLst>
            <pc:docMk/>
            <pc:sldMk cId="2280494226" sldId="262"/>
            <ac:grpSpMk id="77" creationId="{D6C8B34C-86C7-3666-762A-869132B2EEB3}"/>
          </ac:grpSpMkLst>
        </pc:grpChg>
        <pc:grpChg chg="mod">
          <ac:chgData name="Stefan, Chantal" userId="32a90bb8-83ff-4b15-9e26-b584e5277353" providerId="ADAL" clId="{A0FA188E-4539-1B4B-8F7A-AF25ADD774B0}" dt="2024-03-11T18:15:34.844" v="1312"/>
          <ac:grpSpMkLst>
            <pc:docMk/>
            <pc:sldMk cId="2280494226" sldId="262"/>
            <ac:grpSpMk id="78" creationId="{A6A15C2D-7A25-0CF1-EE50-12D7752A5910}"/>
          </ac:grpSpMkLst>
        </pc:grpChg>
        <pc:grpChg chg="mod">
          <ac:chgData name="Stefan, Chantal" userId="32a90bb8-83ff-4b15-9e26-b584e5277353" providerId="ADAL" clId="{A0FA188E-4539-1B4B-8F7A-AF25ADD774B0}" dt="2024-03-11T18:15:34.844" v="1312"/>
          <ac:grpSpMkLst>
            <pc:docMk/>
            <pc:sldMk cId="2280494226" sldId="262"/>
            <ac:grpSpMk id="79" creationId="{84D3619E-2025-6392-576E-C3BCED3236D3}"/>
          </ac:grpSpMkLst>
        </pc:grpChg>
        <pc:grpChg chg="mod">
          <ac:chgData name="Stefan, Chantal" userId="32a90bb8-83ff-4b15-9e26-b584e5277353" providerId="ADAL" clId="{A0FA188E-4539-1B4B-8F7A-AF25ADD774B0}" dt="2024-03-11T18:15:34.844" v="1312"/>
          <ac:grpSpMkLst>
            <pc:docMk/>
            <pc:sldMk cId="2280494226" sldId="262"/>
            <ac:grpSpMk id="80" creationId="{AD054F1A-5858-8103-DE30-AC3BE2431A2C}"/>
          </ac:grpSpMkLst>
        </pc:grpChg>
        <pc:grpChg chg="mod">
          <ac:chgData name="Stefan, Chantal" userId="32a90bb8-83ff-4b15-9e26-b584e5277353" providerId="ADAL" clId="{A0FA188E-4539-1B4B-8F7A-AF25ADD774B0}" dt="2024-03-11T18:22:18.537" v="1398"/>
          <ac:grpSpMkLst>
            <pc:docMk/>
            <pc:sldMk cId="2280494226" sldId="262"/>
            <ac:grpSpMk id="80" creationId="{F8C3B871-031B-F6FF-40F2-81E0B1F41D2E}"/>
          </ac:grpSpMkLst>
        </pc:grpChg>
        <pc:grpChg chg="mod">
          <ac:chgData name="Stefan, Chantal" userId="32a90bb8-83ff-4b15-9e26-b584e5277353" providerId="ADAL" clId="{A0FA188E-4539-1B4B-8F7A-AF25ADD774B0}" dt="2024-03-11T18:22:18.537" v="1398"/>
          <ac:grpSpMkLst>
            <pc:docMk/>
            <pc:sldMk cId="2280494226" sldId="262"/>
            <ac:grpSpMk id="81" creationId="{27305DC2-49A9-B3C1-8E06-269765303982}"/>
          </ac:grpSpMkLst>
        </pc:grpChg>
        <pc:grpChg chg="mod">
          <ac:chgData name="Stefan, Chantal" userId="32a90bb8-83ff-4b15-9e26-b584e5277353" providerId="ADAL" clId="{A0FA188E-4539-1B4B-8F7A-AF25ADD774B0}" dt="2024-03-11T18:15:34.844" v="1312"/>
          <ac:grpSpMkLst>
            <pc:docMk/>
            <pc:sldMk cId="2280494226" sldId="262"/>
            <ac:grpSpMk id="81" creationId="{92E9CB63-707D-FD58-3685-4580FF0962D2}"/>
          </ac:grpSpMkLst>
        </pc:grpChg>
        <pc:grpChg chg="mod">
          <ac:chgData name="Stefan, Chantal" userId="32a90bb8-83ff-4b15-9e26-b584e5277353" providerId="ADAL" clId="{A0FA188E-4539-1B4B-8F7A-AF25ADD774B0}" dt="2024-03-11T18:22:18.537" v="1398"/>
          <ac:grpSpMkLst>
            <pc:docMk/>
            <pc:sldMk cId="2280494226" sldId="262"/>
            <ac:grpSpMk id="82" creationId="{B425E9DE-7ACD-4A4D-3765-DE763B0BD3B3}"/>
          </ac:grpSpMkLst>
        </pc:grpChg>
        <pc:grpChg chg="mod">
          <ac:chgData name="Stefan, Chantal" userId="32a90bb8-83ff-4b15-9e26-b584e5277353" providerId="ADAL" clId="{A0FA188E-4539-1B4B-8F7A-AF25ADD774B0}" dt="2024-03-11T18:22:18.537" v="1398"/>
          <ac:grpSpMkLst>
            <pc:docMk/>
            <pc:sldMk cId="2280494226" sldId="262"/>
            <ac:grpSpMk id="83" creationId="{7EE1C2AF-F729-9925-5D34-526219AA33BB}"/>
          </ac:grpSpMkLst>
        </pc:grpChg>
        <pc:grpChg chg="mod">
          <ac:chgData name="Stefan, Chantal" userId="32a90bb8-83ff-4b15-9e26-b584e5277353" providerId="ADAL" clId="{A0FA188E-4539-1B4B-8F7A-AF25ADD774B0}" dt="2024-03-11T18:15:34.844" v="1312"/>
          <ac:grpSpMkLst>
            <pc:docMk/>
            <pc:sldMk cId="2280494226" sldId="262"/>
            <ac:grpSpMk id="86" creationId="{723F31A3-C5E7-6FC8-1FAB-389023CB9A82}"/>
          </ac:grpSpMkLst>
        </pc:grpChg>
        <pc:grpChg chg="mod">
          <ac:chgData name="Stefan, Chantal" userId="32a90bb8-83ff-4b15-9e26-b584e5277353" providerId="ADAL" clId="{A0FA188E-4539-1B4B-8F7A-AF25ADD774B0}" dt="2024-03-11T18:15:34.844" v="1312"/>
          <ac:grpSpMkLst>
            <pc:docMk/>
            <pc:sldMk cId="2280494226" sldId="262"/>
            <ac:grpSpMk id="89" creationId="{B02E01AC-E3A4-0102-1E64-8CBB6A31A013}"/>
          </ac:grpSpMkLst>
        </pc:grpChg>
        <pc:grpChg chg="mod">
          <ac:chgData name="Stefan, Chantal" userId="32a90bb8-83ff-4b15-9e26-b584e5277353" providerId="ADAL" clId="{A0FA188E-4539-1B4B-8F7A-AF25ADD774B0}" dt="2024-03-11T18:22:18.537" v="1398"/>
          <ac:grpSpMkLst>
            <pc:docMk/>
            <pc:sldMk cId="2280494226" sldId="262"/>
            <ac:grpSpMk id="91" creationId="{3B697DA6-EFAD-3A6F-574A-8F3CD1E9C1AE}"/>
          </ac:grpSpMkLst>
        </pc:grpChg>
        <pc:grpChg chg="mod">
          <ac:chgData name="Stefan, Chantal" userId="32a90bb8-83ff-4b15-9e26-b584e5277353" providerId="ADAL" clId="{A0FA188E-4539-1B4B-8F7A-AF25ADD774B0}" dt="2024-03-11T18:15:34.844" v="1312"/>
          <ac:grpSpMkLst>
            <pc:docMk/>
            <pc:sldMk cId="2280494226" sldId="262"/>
            <ac:grpSpMk id="100" creationId="{E856C07D-79D1-86B6-502D-C6BB1113AA1E}"/>
          </ac:grpSpMkLst>
        </pc:grpChg>
        <pc:grpChg chg="mod">
          <ac:chgData name="Stefan, Chantal" userId="32a90bb8-83ff-4b15-9e26-b584e5277353" providerId="ADAL" clId="{A0FA188E-4539-1B4B-8F7A-AF25ADD774B0}" dt="2024-03-11T18:15:34.844" v="1312"/>
          <ac:grpSpMkLst>
            <pc:docMk/>
            <pc:sldMk cId="2280494226" sldId="262"/>
            <ac:grpSpMk id="102" creationId="{ED9857DF-CCC4-7513-B2D7-47BFA45D1785}"/>
          </ac:grpSpMkLst>
        </pc:grpChg>
        <pc:grpChg chg="mod">
          <ac:chgData name="Stefan, Chantal" userId="32a90bb8-83ff-4b15-9e26-b584e5277353" providerId="ADAL" clId="{A0FA188E-4539-1B4B-8F7A-AF25ADD774B0}" dt="2024-03-11T18:22:18.537" v="1398"/>
          <ac:grpSpMkLst>
            <pc:docMk/>
            <pc:sldMk cId="2280494226" sldId="262"/>
            <ac:grpSpMk id="104" creationId="{C15C0ACA-7700-5A9C-7D32-3CFC985EEF5E}"/>
          </ac:grpSpMkLst>
        </pc:grpChg>
        <pc:grpChg chg="add del mod">
          <ac:chgData name="Stefan, Chantal" userId="32a90bb8-83ff-4b15-9e26-b584e5277353" providerId="ADAL" clId="{A0FA188E-4539-1B4B-8F7A-AF25ADD774B0}" dt="2024-03-11T18:19:51.797" v="1331" actId="478"/>
          <ac:grpSpMkLst>
            <pc:docMk/>
            <pc:sldMk cId="2280494226" sldId="262"/>
            <ac:grpSpMk id="124" creationId="{E0C95C97-5C03-ECF1-E0E1-5F102FBC5FBE}"/>
          </ac:grpSpMkLst>
        </pc:grpChg>
        <pc:grpChg chg="mod">
          <ac:chgData name="Stefan, Chantal" userId="32a90bb8-83ff-4b15-9e26-b584e5277353" providerId="ADAL" clId="{A0FA188E-4539-1B4B-8F7A-AF25ADD774B0}" dt="2024-03-11T18:22:18.537" v="1398"/>
          <ac:grpSpMkLst>
            <pc:docMk/>
            <pc:sldMk cId="2280494226" sldId="262"/>
            <ac:grpSpMk id="125" creationId="{F08E6957-5A51-8E90-3F75-26A5E308BB00}"/>
          </ac:grpSpMkLst>
        </pc:grpChg>
        <pc:grpChg chg="mod">
          <ac:chgData name="Stefan, Chantal" userId="32a90bb8-83ff-4b15-9e26-b584e5277353" providerId="ADAL" clId="{A0FA188E-4539-1B4B-8F7A-AF25ADD774B0}" dt="2024-03-11T18:16:56.262" v="1316"/>
          <ac:grpSpMkLst>
            <pc:docMk/>
            <pc:sldMk cId="2280494226" sldId="262"/>
            <ac:grpSpMk id="126" creationId="{BD8E0AC5-BDE7-5248-9272-5FBFC4C1FA33}"/>
          </ac:grpSpMkLst>
        </pc:grpChg>
        <pc:grpChg chg="mod">
          <ac:chgData name="Stefan, Chantal" userId="32a90bb8-83ff-4b15-9e26-b584e5277353" providerId="ADAL" clId="{A0FA188E-4539-1B4B-8F7A-AF25ADD774B0}" dt="2024-03-11T18:22:18.537" v="1398"/>
          <ac:grpSpMkLst>
            <pc:docMk/>
            <pc:sldMk cId="2280494226" sldId="262"/>
            <ac:grpSpMk id="130" creationId="{F2372CDC-5198-81B6-2FF1-4318128CD3D6}"/>
          </ac:grpSpMkLst>
        </pc:grpChg>
        <pc:grpChg chg="add del mod">
          <ac:chgData name="Stefan, Chantal" userId="32a90bb8-83ff-4b15-9e26-b584e5277353" providerId="ADAL" clId="{A0FA188E-4539-1B4B-8F7A-AF25ADD774B0}" dt="2024-03-11T18:19:56.101" v="1332" actId="478"/>
          <ac:grpSpMkLst>
            <pc:docMk/>
            <pc:sldMk cId="2280494226" sldId="262"/>
            <ac:grpSpMk id="133" creationId="{4C7CE445-53CA-2407-332B-336F9FD5D29D}"/>
          </ac:grpSpMkLst>
        </pc:grpChg>
        <pc:grpChg chg="add del mod">
          <ac:chgData name="Stefan, Chantal" userId="32a90bb8-83ff-4b15-9e26-b584e5277353" providerId="ADAL" clId="{A0FA188E-4539-1B4B-8F7A-AF25ADD774B0}" dt="2024-03-14T17:09:03.799" v="4039" actId="478"/>
          <ac:grpSpMkLst>
            <pc:docMk/>
            <pc:sldMk cId="2280494226" sldId="262"/>
            <ac:grpSpMk id="136" creationId="{0E3A85A9-B796-D8EF-00AF-844D561616F9}"/>
          </ac:grpSpMkLst>
        </pc:grpChg>
        <pc:grpChg chg="mod">
          <ac:chgData name="Stefan, Chantal" userId="32a90bb8-83ff-4b15-9e26-b584e5277353" providerId="ADAL" clId="{A0FA188E-4539-1B4B-8F7A-AF25ADD774B0}" dt="2024-03-11T18:22:18.537" v="1398"/>
          <ac:grpSpMkLst>
            <pc:docMk/>
            <pc:sldMk cId="2280494226" sldId="262"/>
            <ac:grpSpMk id="138" creationId="{B01B24B7-AC08-BBB0-E6C3-25DF229993D4}"/>
          </ac:grpSpMkLst>
        </pc:grpChg>
        <pc:grpChg chg="add del mod">
          <ac:chgData name="Stefan, Chantal" userId="32a90bb8-83ff-4b15-9e26-b584e5277353" providerId="ADAL" clId="{A0FA188E-4539-1B4B-8F7A-AF25ADD774B0}" dt="2024-03-14T17:09:02.206" v="4038" actId="478"/>
          <ac:grpSpMkLst>
            <pc:docMk/>
            <pc:sldMk cId="2280494226" sldId="262"/>
            <ac:grpSpMk id="139" creationId="{4FB8E99C-98D2-81AD-C636-084FD600279E}"/>
          </ac:grpSpMkLst>
        </pc:grpChg>
        <pc:grpChg chg="mod">
          <ac:chgData name="Stefan, Chantal" userId="32a90bb8-83ff-4b15-9e26-b584e5277353" providerId="ADAL" clId="{A0FA188E-4539-1B4B-8F7A-AF25ADD774B0}" dt="2024-03-11T18:16:56.262" v="1316"/>
          <ac:grpSpMkLst>
            <pc:docMk/>
            <pc:sldMk cId="2280494226" sldId="262"/>
            <ac:grpSpMk id="141" creationId="{FF470354-DEAA-C260-4D5B-A6E7880C1923}"/>
          </ac:grpSpMkLst>
        </pc:grpChg>
        <pc:grpChg chg="mod">
          <ac:chgData name="Stefan, Chantal" userId="32a90bb8-83ff-4b15-9e26-b584e5277353" providerId="ADAL" clId="{A0FA188E-4539-1B4B-8F7A-AF25ADD774B0}" dt="2024-03-11T18:22:18.537" v="1398"/>
          <ac:grpSpMkLst>
            <pc:docMk/>
            <pc:sldMk cId="2280494226" sldId="262"/>
            <ac:grpSpMk id="145" creationId="{B01D0AF5-9C72-F72D-BBEF-FBF9501925B7}"/>
          </ac:grpSpMkLst>
        </pc:grpChg>
        <pc:grpChg chg="add del mod">
          <ac:chgData name="Stefan, Chantal" userId="32a90bb8-83ff-4b15-9e26-b584e5277353" providerId="ADAL" clId="{A0FA188E-4539-1B4B-8F7A-AF25ADD774B0}" dt="2024-03-11T18:20:22.090" v="1339" actId="478"/>
          <ac:grpSpMkLst>
            <pc:docMk/>
            <pc:sldMk cId="2280494226" sldId="262"/>
            <ac:grpSpMk id="155" creationId="{7ACA0AB5-0908-2715-A7BB-F2F4466BB856}"/>
          </ac:grpSpMkLst>
        </pc:grpChg>
        <pc:grpChg chg="add mod">
          <ac:chgData name="Stefan, Chantal" userId="32a90bb8-83ff-4b15-9e26-b584e5277353" providerId="ADAL" clId="{A0FA188E-4539-1B4B-8F7A-AF25ADD774B0}" dt="2024-03-11T18:17:29.456" v="1320" actId="207"/>
          <ac:grpSpMkLst>
            <pc:docMk/>
            <pc:sldMk cId="2280494226" sldId="262"/>
            <ac:grpSpMk id="159" creationId="{59B090E7-8782-E387-5313-9B32D6BCDE35}"/>
          </ac:grpSpMkLst>
        </pc:grpChg>
        <pc:grpChg chg="mod">
          <ac:chgData name="Stefan, Chantal" userId="32a90bb8-83ff-4b15-9e26-b584e5277353" providerId="ADAL" clId="{A0FA188E-4539-1B4B-8F7A-AF25ADD774B0}" dt="2024-03-11T18:22:18.537" v="1398"/>
          <ac:grpSpMkLst>
            <pc:docMk/>
            <pc:sldMk cId="2280494226" sldId="262"/>
            <ac:grpSpMk id="160" creationId="{2D4A9DC7-32A5-6E4A-FD2E-8B05D2302AD9}"/>
          </ac:grpSpMkLst>
        </pc:grpChg>
        <pc:grpChg chg="mod">
          <ac:chgData name="Stefan, Chantal" userId="32a90bb8-83ff-4b15-9e26-b584e5277353" providerId="ADAL" clId="{A0FA188E-4539-1B4B-8F7A-AF25ADD774B0}" dt="2024-03-11T18:22:18.537" v="1398"/>
          <ac:grpSpMkLst>
            <pc:docMk/>
            <pc:sldMk cId="2280494226" sldId="262"/>
            <ac:grpSpMk id="323" creationId="{54BCF006-875A-F333-B4D5-6A1DA34D4DE7}"/>
          </ac:grpSpMkLst>
        </pc:grpChg>
        <pc:grpChg chg="mod">
          <ac:chgData name="Stefan, Chantal" userId="32a90bb8-83ff-4b15-9e26-b584e5277353" providerId="ADAL" clId="{A0FA188E-4539-1B4B-8F7A-AF25ADD774B0}" dt="2024-03-11T18:22:18.537" v="1398"/>
          <ac:grpSpMkLst>
            <pc:docMk/>
            <pc:sldMk cId="2280494226" sldId="262"/>
            <ac:grpSpMk id="328" creationId="{77BCC51A-5E7D-18CA-2D46-C1105106B66D}"/>
          </ac:grpSpMkLst>
        </pc:grpChg>
        <pc:grpChg chg="mod">
          <ac:chgData name="Stefan, Chantal" userId="32a90bb8-83ff-4b15-9e26-b584e5277353" providerId="ADAL" clId="{A0FA188E-4539-1B4B-8F7A-AF25ADD774B0}" dt="2024-03-11T18:22:18.537" v="1398"/>
          <ac:grpSpMkLst>
            <pc:docMk/>
            <pc:sldMk cId="2280494226" sldId="262"/>
            <ac:grpSpMk id="336" creationId="{231AAFDF-59FC-6557-F52C-D6A504E18BEF}"/>
          </ac:grpSpMkLst>
        </pc:grpChg>
        <pc:grpChg chg="add mod">
          <ac:chgData name="Stefan, Chantal" userId="32a90bb8-83ff-4b15-9e26-b584e5277353" providerId="ADAL" clId="{A0FA188E-4539-1B4B-8F7A-AF25ADD774B0}" dt="2024-03-11T18:16:56.262" v="1316"/>
          <ac:grpSpMkLst>
            <pc:docMk/>
            <pc:sldMk cId="2280494226" sldId="262"/>
            <ac:grpSpMk id="339" creationId="{909E7E99-6522-DB65-92E2-A45406CCC637}"/>
          </ac:grpSpMkLst>
        </pc:grpChg>
        <pc:grpChg chg="mod">
          <ac:chgData name="Stefan, Chantal" userId="32a90bb8-83ff-4b15-9e26-b584e5277353" providerId="ADAL" clId="{A0FA188E-4539-1B4B-8F7A-AF25ADD774B0}" dt="2024-03-11T18:22:18.537" v="1398"/>
          <ac:grpSpMkLst>
            <pc:docMk/>
            <pc:sldMk cId="2280494226" sldId="262"/>
            <ac:grpSpMk id="342" creationId="{ABEC623F-2991-DE69-7921-B73272C3D271}"/>
          </ac:grpSpMkLst>
        </pc:grpChg>
        <pc:graphicFrameChg chg="mod">
          <ac:chgData name="Stefan, Chantal" userId="32a90bb8-83ff-4b15-9e26-b584e5277353" providerId="ADAL" clId="{A0FA188E-4539-1B4B-8F7A-AF25ADD774B0}" dt="2024-03-15T11:25:06.258" v="5607"/>
          <ac:graphicFrameMkLst>
            <pc:docMk/>
            <pc:sldMk cId="2280494226" sldId="262"/>
            <ac:graphicFrameMk id="8" creationId="{623FBC6D-3652-1BE9-62E2-15BB5E16B90A}"/>
          </ac:graphicFrameMkLst>
        </pc:graphicFrameChg>
        <pc:picChg chg="add del mod">
          <ac:chgData name="Stefan, Chantal" userId="32a90bb8-83ff-4b15-9e26-b584e5277353" providerId="ADAL" clId="{A0FA188E-4539-1B4B-8F7A-AF25ADD774B0}" dt="2024-03-15T11:21:58.072" v="5565" actId="478"/>
          <ac:picMkLst>
            <pc:docMk/>
            <pc:sldMk cId="2280494226" sldId="262"/>
            <ac:picMk id="14" creationId="{5214031D-3E1E-B730-2EA4-53FEBEF82D7E}"/>
          </ac:picMkLst>
        </pc:picChg>
        <pc:picChg chg="add del mod">
          <ac:chgData name="Stefan, Chantal" userId="32a90bb8-83ff-4b15-9e26-b584e5277353" providerId="ADAL" clId="{A0FA188E-4539-1B4B-8F7A-AF25ADD774B0}" dt="2024-03-15T11:21:59.626" v="5566" actId="478"/>
          <ac:picMkLst>
            <pc:docMk/>
            <pc:sldMk cId="2280494226" sldId="262"/>
            <ac:picMk id="16" creationId="{5BE3321A-DB61-7B6A-1C8D-59843E7E2EAD}"/>
          </ac:picMkLst>
        </pc:picChg>
        <pc:picChg chg="add mod">
          <ac:chgData name="Stefan, Chantal" userId="32a90bb8-83ff-4b15-9e26-b584e5277353" providerId="ADAL" clId="{A0FA188E-4539-1B4B-8F7A-AF25ADD774B0}" dt="2024-03-15T11:21:45.624" v="5563" actId="207"/>
          <ac:picMkLst>
            <pc:docMk/>
            <pc:sldMk cId="2280494226" sldId="262"/>
            <ac:picMk id="18" creationId="{422850B9-8A84-ECD2-8C23-93006499977D}"/>
          </ac:picMkLst>
        </pc:picChg>
        <pc:picChg chg="add mod">
          <ac:chgData name="Stefan, Chantal" userId="32a90bb8-83ff-4b15-9e26-b584e5277353" providerId="ADAL" clId="{A0FA188E-4539-1B4B-8F7A-AF25ADD774B0}" dt="2024-03-15T11:21:10.423" v="5555" actId="207"/>
          <ac:picMkLst>
            <pc:docMk/>
            <pc:sldMk cId="2280494226" sldId="262"/>
            <ac:picMk id="20" creationId="{38961174-3C2F-2E4D-F2C0-9992DF6FF309}"/>
          </ac:picMkLst>
        </pc:picChg>
        <pc:picChg chg="add mod">
          <ac:chgData name="Stefan, Chantal" userId="32a90bb8-83ff-4b15-9e26-b584e5277353" providerId="ADAL" clId="{A0FA188E-4539-1B4B-8F7A-AF25ADD774B0}" dt="2024-03-15T11:21:26.142" v="5559" actId="207"/>
          <ac:picMkLst>
            <pc:docMk/>
            <pc:sldMk cId="2280494226" sldId="262"/>
            <ac:picMk id="22" creationId="{2F86AF0E-F4F4-9854-B441-D6D7175596F2}"/>
          </ac:picMkLst>
        </pc:picChg>
        <pc:picChg chg="add mod">
          <ac:chgData name="Stefan, Chantal" userId="32a90bb8-83ff-4b15-9e26-b584e5277353" providerId="ADAL" clId="{A0FA188E-4539-1B4B-8F7A-AF25ADD774B0}" dt="2024-03-16T16:36:58.057" v="8604" actId="1038"/>
          <ac:picMkLst>
            <pc:docMk/>
            <pc:sldMk cId="2280494226" sldId="262"/>
            <ac:picMk id="24" creationId="{98C9E88B-6D96-68C9-CDD9-0CA836442901}"/>
          </ac:picMkLst>
        </pc:picChg>
        <pc:cxnChg chg="add mod">
          <ac:chgData name="Stefan, Chantal" userId="32a90bb8-83ff-4b15-9e26-b584e5277353" providerId="ADAL" clId="{A0FA188E-4539-1B4B-8F7A-AF25ADD774B0}" dt="2024-03-11T18:15:34.844" v="1312"/>
          <ac:cxnSpMkLst>
            <pc:docMk/>
            <pc:sldMk cId="2280494226" sldId="262"/>
            <ac:cxnSpMk id="9" creationId="{B6E317EF-0736-F969-1206-80B8929334C2}"/>
          </ac:cxnSpMkLst>
        </pc:cxnChg>
        <pc:cxnChg chg="add mod">
          <ac:chgData name="Stefan, Chantal" userId="32a90bb8-83ff-4b15-9e26-b584e5277353" providerId="ADAL" clId="{A0FA188E-4539-1B4B-8F7A-AF25ADD774B0}" dt="2024-03-11T18:15:34.844" v="1312"/>
          <ac:cxnSpMkLst>
            <pc:docMk/>
            <pc:sldMk cId="2280494226" sldId="262"/>
            <ac:cxnSpMk id="10" creationId="{82E87576-98A8-E08C-155E-E1C992DBB4AD}"/>
          </ac:cxnSpMkLst>
        </pc:cxnChg>
        <pc:cxnChg chg="add mod">
          <ac:chgData name="Stefan, Chantal" userId="32a90bb8-83ff-4b15-9e26-b584e5277353" providerId="ADAL" clId="{A0FA188E-4539-1B4B-8F7A-AF25ADD774B0}" dt="2024-03-11T18:15:34.844" v="1312"/>
          <ac:cxnSpMkLst>
            <pc:docMk/>
            <pc:sldMk cId="2280494226" sldId="262"/>
            <ac:cxnSpMk id="12" creationId="{F7DBC73D-3093-B2A6-0DF4-AA38D92CC8D5}"/>
          </ac:cxnSpMkLst>
        </pc:cxnChg>
        <pc:cxnChg chg="add mod">
          <ac:chgData name="Stefan, Chantal" userId="32a90bb8-83ff-4b15-9e26-b584e5277353" providerId="ADAL" clId="{A0FA188E-4539-1B4B-8F7A-AF25ADD774B0}" dt="2024-03-11T18:15:34.844" v="1312"/>
          <ac:cxnSpMkLst>
            <pc:docMk/>
            <pc:sldMk cId="2280494226" sldId="262"/>
            <ac:cxnSpMk id="14" creationId="{9E9C12E6-0F0B-2527-2F0F-8189E85965D7}"/>
          </ac:cxnSpMkLst>
        </pc:cxnChg>
        <pc:cxnChg chg="mod">
          <ac:chgData name="Stefan, Chantal" userId="32a90bb8-83ff-4b15-9e26-b584e5277353" providerId="ADAL" clId="{A0FA188E-4539-1B4B-8F7A-AF25ADD774B0}" dt="2024-03-11T18:17:52.604" v="1324" actId="13822"/>
          <ac:cxnSpMkLst>
            <pc:docMk/>
            <pc:sldMk cId="2280494226" sldId="262"/>
            <ac:cxnSpMk id="29" creationId="{480707F6-64D3-A671-909C-26A24DED0EE8}"/>
          </ac:cxnSpMkLst>
        </pc:cxnChg>
        <pc:cxnChg chg="add mod">
          <ac:chgData name="Stefan, Chantal" userId="32a90bb8-83ff-4b15-9e26-b584e5277353" providerId="ADAL" clId="{A0FA188E-4539-1B4B-8F7A-AF25ADD774B0}" dt="2024-03-11T18:21:50.770" v="1371" actId="1035"/>
          <ac:cxnSpMkLst>
            <pc:docMk/>
            <pc:sldMk cId="2280494226" sldId="262"/>
            <ac:cxnSpMk id="157" creationId="{6C2CA613-DBA1-4F7A-DCAC-C39F4B9F3B5D}"/>
          </ac:cxnSpMkLst>
        </pc:cxnChg>
        <pc:cxnChg chg="mod">
          <ac:chgData name="Stefan, Chantal" userId="32a90bb8-83ff-4b15-9e26-b584e5277353" providerId="ADAL" clId="{A0FA188E-4539-1B4B-8F7A-AF25ADD774B0}" dt="2024-03-11T18:17:41.089" v="1322" actId="13822"/>
          <ac:cxnSpMkLst>
            <pc:docMk/>
            <pc:sldMk cId="2280494226" sldId="262"/>
            <ac:cxnSpMk id="163" creationId="{B4459502-EB78-5A02-4B38-81E2434E0225}"/>
          </ac:cxnSpMkLst>
        </pc:cxnChg>
        <pc:cxnChg chg="add mod">
          <ac:chgData name="Stefan, Chantal" userId="32a90bb8-83ff-4b15-9e26-b584e5277353" providerId="ADAL" clId="{A0FA188E-4539-1B4B-8F7A-AF25ADD774B0}" dt="2024-03-11T18:21:41.092" v="1363" actId="1076"/>
          <ac:cxnSpMkLst>
            <pc:docMk/>
            <pc:sldMk cId="2280494226" sldId="262"/>
            <ac:cxnSpMk id="310" creationId="{7DA3088E-F00A-07A8-7DAD-A8D2BE563114}"/>
          </ac:cxnSpMkLst>
        </pc:cxnChg>
        <pc:cxnChg chg="add mod">
          <ac:chgData name="Stefan, Chantal" userId="32a90bb8-83ff-4b15-9e26-b584e5277353" providerId="ADAL" clId="{A0FA188E-4539-1B4B-8F7A-AF25ADD774B0}" dt="2024-03-11T18:16:56.262" v="1316"/>
          <ac:cxnSpMkLst>
            <pc:docMk/>
            <pc:sldMk cId="2280494226" sldId="262"/>
            <ac:cxnSpMk id="313" creationId="{E671E9D4-EFF0-CA4B-CFD1-538D257D1F73}"/>
          </ac:cxnSpMkLst>
        </pc:cxnChg>
      </pc:sldChg>
      <pc:sldChg chg="modSp add mod ord">
        <pc:chgData name="Stefan, Chantal" userId="32a90bb8-83ff-4b15-9e26-b584e5277353" providerId="ADAL" clId="{A0FA188E-4539-1B4B-8F7A-AF25ADD774B0}" dt="2024-03-12T15:57:43.133" v="2122"/>
        <pc:sldMkLst>
          <pc:docMk/>
          <pc:sldMk cId="2919704884" sldId="263"/>
        </pc:sldMkLst>
        <pc:spChg chg="mod">
          <ac:chgData name="Stefan, Chantal" userId="32a90bb8-83ff-4b15-9e26-b584e5277353" providerId="ADAL" clId="{A0FA188E-4539-1B4B-8F7A-AF25ADD774B0}" dt="2024-03-12T15:57:43.109" v="2118" actId="948"/>
          <ac:spMkLst>
            <pc:docMk/>
            <pc:sldMk cId="2919704884" sldId="263"/>
            <ac:spMk id="2" creationId="{AC85C6E5-0874-FE22-B2C6-769FF7F5628F}"/>
          </ac:spMkLst>
        </pc:spChg>
        <pc:graphicFrameChg chg="mod">
          <ac:chgData name="Stefan, Chantal" userId="32a90bb8-83ff-4b15-9e26-b584e5277353" providerId="ADAL" clId="{A0FA188E-4539-1B4B-8F7A-AF25ADD774B0}" dt="2024-03-12T15:57:43.133" v="2122"/>
          <ac:graphicFrameMkLst>
            <pc:docMk/>
            <pc:sldMk cId="2919704884" sldId="263"/>
            <ac:graphicFrameMk id="8" creationId="{623FBC6D-3652-1BE9-62E2-15BB5E16B90A}"/>
          </ac:graphicFrameMkLst>
        </pc:graphicFrameChg>
      </pc:sldChg>
      <pc:sldChg chg="addSp delSp modSp mod delCm">
        <pc:chgData name="Stefan, Chantal" userId="32a90bb8-83ff-4b15-9e26-b584e5277353" providerId="ADAL" clId="{A0FA188E-4539-1B4B-8F7A-AF25ADD774B0}" dt="2024-03-16T16:29:37.400" v="8599" actId="207"/>
        <pc:sldMkLst>
          <pc:docMk/>
          <pc:sldMk cId="3387421209" sldId="264"/>
        </pc:sldMkLst>
        <pc:spChg chg="mod">
          <ac:chgData name="Stefan, Chantal" userId="32a90bb8-83ff-4b15-9e26-b584e5277353" providerId="ADAL" clId="{A0FA188E-4539-1B4B-8F7A-AF25ADD774B0}" dt="2024-03-12T17:52:09.685" v="3676" actId="948"/>
          <ac:spMkLst>
            <pc:docMk/>
            <pc:sldMk cId="3387421209" sldId="264"/>
            <ac:spMk id="2" creationId="{8F597122-A0E0-C071-C13E-A03BCEC52192}"/>
          </ac:spMkLst>
        </pc:spChg>
        <pc:spChg chg="mod">
          <ac:chgData name="Stefan, Chantal" userId="32a90bb8-83ff-4b15-9e26-b584e5277353" providerId="ADAL" clId="{A0FA188E-4539-1B4B-8F7A-AF25ADD774B0}" dt="2024-03-12T17:16:44.726" v="3187" actId="1076"/>
          <ac:spMkLst>
            <pc:docMk/>
            <pc:sldMk cId="3387421209" sldId="264"/>
            <ac:spMk id="3" creationId="{5B4D2AD1-0172-3647-09F7-A37565CCC2F3}"/>
          </ac:spMkLst>
        </pc:spChg>
        <pc:spChg chg="mod">
          <ac:chgData name="Stefan, Chantal" userId="32a90bb8-83ff-4b15-9e26-b584e5277353" providerId="ADAL" clId="{A0FA188E-4539-1B4B-8F7A-AF25ADD774B0}" dt="2024-03-12T17:47:00.945" v="3474"/>
          <ac:spMkLst>
            <pc:docMk/>
            <pc:sldMk cId="3387421209" sldId="264"/>
            <ac:spMk id="5" creationId="{1A58B3A6-149D-D632-06C3-64EBB3A64C86}"/>
          </ac:spMkLst>
        </pc:spChg>
        <pc:spChg chg="add del mod modVis">
          <ac:chgData name="Stefan, Chantal" userId="32a90bb8-83ff-4b15-9e26-b584e5277353" providerId="ADAL" clId="{A0FA188E-4539-1B4B-8F7A-AF25ADD774B0}" dt="2024-03-12T16:21:11.410" v="2514"/>
          <ac:spMkLst>
            <pc:docMk/>
            <pc:sldMk cId="3387421209" sldId="264"/>
            <ac:spMk id="7" creationId="{1DF24C60-B018-D886-4CF1-C7BC59530D36}"/>
          </ac:spMkLst>
        </pc:spChg>
        <pc:spChg chg="mod">
          <ac:chgData name="Stefan, Chantal" userId="32a90bb8-83ff-4b15-9e26-b584e5277353" providerId="ADAL" clId="{A0FA188E-4539-1B4B-8F7A-AF25ADD774B0}" dt="2024-03-12T17:45:17.924" v="3472" actId="20577"/>
          <ac:spMkLst>
            <pc:docMk/>
            <pc:sldMk cId="3387421209" sldId="264"/>
            <ac:spMk id="7" creationId="{915B4520-526B-01A2-00C1-3372369DC82B}"/>
          </ac:spMkLst>
        </pc:spChg>
        <pc:spChg chg="add del mod modVis">
          <ac:chgData name="Stefan, Chantal" userId="32a90bb8-83ff-4b15-9e26-b584e5277353" providerId="ADAL" clId="{A0FA188E-4539-1B4B-8F7A-AF25ADD774B0}" dt="2024-03-12T17:07:31.060" v="3142"/>
          <ac:spMkLst>
            <pc:docMk/>
            <pc:sldMk cId="3387421209" sldId="264"/>
            <ac:spMk id="10" creationId="{D3F3E953-9BD4-DD2A-B020-C9400A0088BA}"/>
          </ac:spMkLst>
        </pc:spChg>
        <pc:spChg chg="mod">
          <ac:chgData name="Stefan, Chantal" userId="32a90bb8-83ff-4b15-9e26-b584e5277353" providerId="ADAL" clId="{A0FA188E-4539-1B4B-8F7A-AF25ADD774B0}" dt="2024-03-15T12:58:30.130" v="5921" actId="1076"/>
          <ac:spMkLst>
            <pc:docMk/>
            <pc:sldMk cId="3387421209" sldId="264"/>
            <ac:spMk id="10" creationId="{F3B1A1D4-C3E2-1BBD-1546-48D9444C19E6}"/>
          </ac:spMkLst>
        </pc:spChg>
        <pc:spChg chg="add del mod modVis">
          <ac:chgData name="Stefan, Chantal" userId="32a90bb8-83ff-4b15-9e26-b584e5277353" providerId="ADAL" clId="{A0FA188E-4539-1B4B-8F7A-AF25ADD774B0}" dt="2024-03-12T17:07:33.572" v="3170"/>
          <ac:spMkLst>
            <pc:docMk/>
            <pc:sldMk cId="3387421209" sldId="264"/>
            <ac:spMk id="12" creationId="{18CC07D1-B199-4CB5-3FD1-4AEF9CDE273E}"/>
          </ac:spMkLst>
        </pc:spChg>
        <pc:spChg chg="add del mod modVis">
          <ac:chgData name="Stefan, Chantal" userId="32a90bb8-83ff-4b15-9e26-b584e5277353" providerId="ADAL" clId="{A0FA188E-4539-1B4B-8F7A-AF25ADD774B0}" dt="2024-03-12T17:50:42.078" v="3508"/>
          <ac:spMkLst>
            <pc:docMk/>
            <pc:sldMk cId="3387421209" sldId="264"/>
            <ac:spMk id="13" creationId="{344300A3-AFDA-598F-68C6-9196A77913CF}"/>
          </ac:spMkLst>
        </pc:spChg>
        <pc:spChg chg="add del mod">
          <ac:chgData name="Stefan, Chantal" userId="32a90bb8-83ff-4b15-9e26-b584e5277353" providerId="ADAL" clId="{A0FA188E-4539-1B4B-8F7A-AF25ADD774B0}" dt="2024-03-15T12:58:36.669" v="5924" actId="478"/>
          <ac:spMkLst>
            <pc:docMk/>
            <pc:sldMk cId="3387421209" sldId="264"/>
            <ac:spMk id="13" creationId="{62E15BFB-2334-7AAD-B2F5-9231F7BC8C51}"/>
          </ac:spMkLst>
        </pc:spChg>
        <pc:spChg chg="add del mod modVis">
          <ac:chgData name="Stefan, Chantal" userId="32a90bb8-83ff-4b15-9e26-b584e5277353" providerId="ADAL" clId="{A0FA188E-4539-1B4B-8F7A-AF25ADD774B0}" dt="2024-03-12T17:50:43.188" v="3539"/>
          <ac:spMkLst>
            <pc:docMk/>
            <pc:sldMk cId="3387421209" sldId="264"/>
            <ac:spMk id="15" creationId="{2FB0AB52-4C2C-DCA4-7774-6BF1D5776169}"/>
          </ac:spMkLst>
        </pc:spChg>
        <pc:spChg chg="add del mod">
          <ac:chgData name="Stefan, Chantal" userId="32a90bb8-83ff-4b15-9e26-b584e5277353" providerId="ADAL" clId="{A0FA188E-4539-1B4B-8F7A-AF25ADD774B0}" dt="2024-03-15T12:58:33.681" v="5923" actId="767"/>
          <ac:spMkLst>
            <pc:docMk/>
            <pc:sldMk cId="3387421209" sldId="264"/>
            <ac:spMk id="15" creationId="{F5847A9E-BC70-DB8F-FD85-C5421B1AB656}"/>
          </ac:spMkLst>
        </pc:spChg>
        <pc:spChg chg="add del mod">
          <ac:chgData name="Stefan, Chantal" userId="32a90bb8-83ff-4b15-9e26-b584e5277353" providerId="ADAL" clId="{A0FA188E-4539-1B4B-8F7A-AF25ADD774B0}" dt="2024-03-15T12:58:28.858" v="5920" actId="767"/>
          <ac:spMkLst>
            <pc:docMk/>
            <pc:sldMk cId="3387421209" sldId="264"/>
            <ac:spMk id="17" creationId="{811005AC-E877-01F4-DF5A-7E8533067C60}"/>
          </ac:spMkLst>
        </pc:spChg>
        <pc:spChg chg="add del mod modVis">
          <ac:chgData name="Stefan, Chantal" userId="32a90bb8-83ff-4b15-9e26-b584e5277353" providerId="ADAL" clId="{A0FA188E-4539-1B4B-8F7A-AF25ADD774B0}" dt="2024-03-12T17:52:01.843" v="3572"/>
          <ac:spMkLst>
            <pc:docMk/>
            <pc:sldMk cId="3387421209" sldId="264"/>
            <ac:spMk id="17" creationId="{A408AC7C-10C0-141C-B1FD-13BFDBE68A1B}"/>
          </ac:spMkLst>
        </pc:spChg>
        <pc:spChg chg="add del mod">
          <ac:chgData name="Stefan, Chantal" userId="32a90bb8-83ff-4b15-9e26-b584e5277353" providerId="ADAL" clId="{A0FA188E-4539-1B4B-8F7A-AF25ADD774B0}" dt="2024-03-15T12:58:28.228" v="5919" actId="767"/>
          <ac:spMkLst>
            <pc:docMk/>
            <pc:sldMk cId="3387421209" sldId="264"/>
            <ac:spMk id="19" creationId="{1D9FF42B-5AAD-6871-ECFC-E35D1A2BF0A6}"/>
          </ac:spMkLst>
        </pc:spChg>
        <pc:spChg chg="add del mod modVis">
          <ac:chgData name="Stefan, Chantal" userId="32a90bb8-83ff-4b15-9e26-b584e5277353" providerId="ADAL" clId="{A0FA188E-4539-1B4B-8F7A-AF25ADD774B0}" dt="2024-03-12T17:52:02.636" v="3600"/>
          <ac:spMkLst>
            <pc:docMk/>
            <pc:sldMk cId="3387421209" sldId="264"/>
            <ac:spMk id="19" creationId="{D366501A-95C4-BFCC-1272-F9388650AD9D}"/>
          </ac:spMkLst>
        </pc:spChg>
        <pc:spChg chg="add del mod modVis">
          <ac:chgData name="Stefan, Chantal" userId="32a90bb8-83ff-4b15-9e26-b584e5277353" providerId="ADAL" clId="{A0FA188E-4539-1B4B-8F7A-AF25ADD774B0}" dt="2024-03-12T17:52:04.123" v="3630"/>
          <ac:spMkLst>
            <pc:docMk/>
            <pc:sldMk cId="3387421209" sldId="264"/>
            <ac:spMk id="21" creationId="{CB0E545C-341B-9A68-EF88-130F47C88D7F}"/>
          </ac:spMkLst>
        </pc:spChg>
        <pc:spChg chg="add del mod modVis">
          <ac:chgData name="Stefan, Chantal" userId="32a90bb8-83ff-4b15-9e26-b584e5277353" providerId="ADAL" clId="{A0FA188E-4539-1B4B-8F7A-AF25ADD774B0}" dt="2024-03-12T17:52:07.489" v="3663"/>
          <ac:spMkLst>
            <pc:docMk/>
            <pc:sldMk cId="3387421209" sldId="264"/>
            <ac:spMk id="23" creationId="{EF4016BF-13C8-09C7-F9A2-4B8998E74947}"/>
          </ac:spMkLst>
        </pc:spChg>
        <pc:spChg chg="add del mod modVis">
          <ac:chgData name="Stefan, Chantal" userId="32a90bb8-83ff-4b15-9e26-b584e5277353" providerId="ADAL" clId="{A0FA188E-4539-1B4B-8F7A-AF25ADD774B0}" dt="2024-03-12T17:52:09.721" v="3700"/>
          <ac:spMkLst>
            <pc:docMk/>
            <pc:sldMk cId="3387421209" sldId="264"/>
            <ac:spMk id="25" creationId="{B7B48217-E80E-FDA4-51CB-D2A3684E923D}"/>
          </ac:spMkLst>
        </pc:spChg>
        <pc:grpChg chg="mod">
          <ac:chgData name="Stefan, Chantal" userId="32a90bb8-83ff-4b15-9e26-b584e5277353" providerId="ADAL" clId="{A0FA188E-4539-1B4B-8F7A-AF25ADD774B0}" dt="2024-03-15T12:58:37.559" v="5925" actId="1076"/>
          <ac:grpSpMkLst>
            <pc:docMk/>
            <pc:sldMk cId="3387421209" sldId="264"/>
            <ac:grpSpMk id="12" creationId="{A02DE836-1881-513F-9AF4-04300847D60F}"/>
          </ac:grpSpMkLst>
        </pc:grpChg>
        <pc:graphicFrameChg chg="mod">
          <ac:chgData name="Stefan, Chantal" userId="32a90bb8-83ff-4b15-9e26-b584e5277353" providerId="ADAL" clId="{A0FA188E-4539-1B4B-8F7A-AF25ADD774B0}" dt="2024-03-12T17:52:09.723" v="3702"/>
          <ac:graphicFrameMkLst>
            <pc:docMk/>
            <pc:sldMk cId="3387421209" sldId="264"/>
            <ac:graphicFrameMk id="11" creationId="{08943EC7-42AB-7DFE-9077-6ADCFC513D11}"/>
          </ac:graphicFrameMkLst>
        </pc:graphicFrameChg>
        <pc:picChg chg="add mod">
          <ac:chgData name="Stefan, Chantal" userId="32a90bb8-83ff-4b15-9e26-b584e5277353" providerId="ADAL" clId="{A0FA188E-4539-1B4B-8F7A-AF25ADD774B0}" dt="2024-03-16T16:29:37.400" v="8599" actId="207"/>
          <ac:picMkLst>
            <pc:docMk/>
            <pc:sldMk cId="3387421209" sldId="264"/>
            <ac:picMk id="14" creationId="{658EF99A-6F28-98C5-411A-B623B75A36EC}"/>
          </ac:picMkLst>
        </pc:picChg>
        <pc:picChg chg="add mod">
          <ac:chgData name="Stefan, Chantal" userId="32a90bb8-83ff-4b15-9e26-b584e5277353" providerId="ADAL" clId="{A0FA188E-4539-1B4B-8F7A-AF25ADD774B0}" dt="2024-03-16T16:29:37.400" v="8599" actId="207"/>
          <ac:picMkLst>
            <pc:docMk/>
            <pc:sldMk cId="3387421209" sldId="264"/>
            <ac:picMk id="16" creationId="{5D2C53B3-57C4-3F03-6C66-9CF01C0D5573}"/>
          </ac:picMkLst>
        </pc:picChg>
        <pc:picChg chg="add mod">
          <ac:chgData name="Stefan, Chantal" userId="32a90bb8-83ff-4b15-9e26-b584e5277353" providerId="ADAL" clId="{A0FA188E-4539-1B4B-8F7A-AF25ADD774B0}" dt="2024-03-16T16:29:37.400" v="8599" actId="207"/>
          <ac:picMkLst>
            <pc:docMk/>
            <pc:sldMk cId="3387421209" sldId="264"/>
            <ac:picMk id="18" creationId="{81283D06-C7CA-8F73-26EA-ED6BC3876379}"/>
          </ac:picMkLst>
        </pc:picChg>
        <pc:picChg chg="add mod">
          <ac:chgData name="Stefan, Chantal" userId="32a90bb8-83ff-4b15-9e26-b584e5277353" providerId="ADAL" clId="{A0FA188E-4539-1B4B-8F7A-AF25ADD774B0}" dt="2024-03-16T16:29:37.400" v="8599" actId="207"/>
          <ac:picMkLst>
            <pc:docMk/>
            <pc:sldMk cId="3387421209" sldId="264"/>
            <ac:picMk id="20" creationId="{B364EB2D-535A-E55A-7484-2C3F0B0C4A2E}"/>
          </ac:picMkLst>
        </pc:picChg>
        <pc:picChg chg="add mod">
          <ac:chgData name="Stefan, Chantal" userId="32a90bb8-83ff-4b15-9e26-b584e5277353" providerId="ADAL" clId="{A0FA188E-4539-1B4B-8F7A-AF25ADD774B0}" dt="2024-03-16T16:29:37.400" v="8599" actId="207"/>
          <ac:picMkLst>
            <pc:docMk/>
            <pc:sldMk cId="3387421209" sldId="264"/>
            <ac:picMk id="22" creationId="{38019879-3A2C-64C5-7EC9-CF50B4807D51}"/>
          </ac:picMkLst>
        </pc:picChg>
        <pc:picChg chg="add mod">
          <ac:chgData name="Stefan, Chantal" userId="32a90bb8-83ff-4b15-9e26-b584e5277353" providerId="ADAL" clId="{A0FA188E-4539-1B4B-8F7A-AF25ADD774B0}" dt="2024-03-16T16:29:37.400" v="8599" actId="207"/>
          <ac:picMkLst>
            <pc:docMk/>
            <pc:sldMk cId="3387421209" sldId="264"/>
            <ac:picMk id="24" creationId="{A858C3C7-2175-D4C6-1AD6-0EAEBE3A1FB5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Stefan, Chantal" userId="32a90bb8-83ff-4b15-9e26-b584e5277353" providerId="ADAL" clId="{A0FA188E-4539-1B4B-8F7A-AF25ADD774B0}" dt="2024-03-12T17:15:41.062" v="3183"/>
              <pc2:cmMkLst xmlns:pc2="http://schemas.microsoft.com/office/powerpoint/2019/9/main/command">
                <pc:docMk/>
                <pc:sldMk cId="3387421209" sldId="264"/>
                <pc2:cmMk id="{8960A329-A978-45A4-85A8-AC3844CD7D7D}"/>
              </pc2:cmMkLst>
            </pc226:cmChg>
          </p:ext>
        </pc:extLst>
      </pc:sldChg>
      <pc:sldChg chg="addSp delSp modSp mod">
        <pc:chgData name="Stefan, Chantal" userId="32a90bb8-83ff-4b15-9e26-b584e5277353" providerId="ADAL" clId="{A0FA188E-4539-1B4B-8F7A-AF25ADD774B0}" dt="2024-03-12T21:25:35.622" v="3792" actId="13926"/>
        <pc:sldMkLst>
          <pc:docMk/>
          <pc:sldMk cId="608544505" sldId="265"/>
        </pc:sldMkLst>
        <pc:spChg chg="mod">
          <ac:chgData name="Stefan, Chantal" userId="32a90bb8-83ff-4b15-9e26-b584e5277353" providerId="ADAL" clId="{A0FA188E-4539-1B4B-8F7A-AF25ADD774B0}" dt="2024-03-12T17:06:00.274" v="3090" actId="948"/>
          <ac:spMkLst>
            <pc:docMk/>
            <pc:sldMk cId="608544505" sldId="265"/>
            <ac:spMk id="2" creationId="{2E4B0CCE-FC5A-ED5C-B9AC-ABFECF6BE5B6}"/>
          </ac:spMkLst>
        </pc:spChg>
        <pc:spChg chg="mod">
          <ac:chgData name="Stefan, Chantal" userId="32a90bb8-83ff-4b15-9e26-b584e5277353" providerId="ADAL" clId="{A0FA188E-4539-1B4B-8F7A-AF25ADD774B0}" dt="2024-03-12T16:17:12.417" v="2344" actId="207"/>
          <ac:spMkLst>
            <pc:docMk/>
            <pc:sldMk cId="608544505" sldId="265"/>
            <ac:spMk id="9" creationId="{33C84BEE-C6D9-46E7-589C-4E273A4ECF02}"/>
          </ac:spMkLst>
        </pc:spChg>
        <pc:spChg chg="mod">
          <ac:chgData name="Stefan, Chantal" userId="32a90bb8-83ff-4b15-9e26-b584e5277353" providerId="ADAL" clId="{A0FA188E-4539-1B4B-8F7A-AF25ADD774B0}" dt="2024-03-12T16:16:52.270" v="2341" actId="207"/>
          <ac:spMkLst>
            <pc:docMk/>
            <pc:sldMk cId="608544505" sldId="265"/>
            <ac:spMk id="10" creationId="{D44BBC73-67DC-A95F-0A2F-12B5159E8D38}"/>
          </ac:spMkLst>
        </pc:spChg>
        <pc:spChg chg="mod">
          <ac:chgData name="Stefan, Chantal" userId="32a90bb8-83ff-4b15-9e26-b584e5277353" providerId="ADAL" clId="{A0FA188E-4539-1B4B-8F7A-AF25ADD774B0}" dt="2024-03-12T16:15:46.518" v="2330" actId="207"/>
          <ac:spMkLst>
            <pc:docMk/>
            <pc:sldMk cId="608544505" sldId="265"/>
            <ac:spMk id="15" creationId="{59FAC658-366B-0BB4-2B06-03EEF390A62E}"/>
          </ac:spMkLst>
        </pc:spChg>
        <pc:spChg chg="mod">
          <ac:chgData name="Stefan, Chantal" userId="32a90bb8-83ff-4b15-9e26-b584e5277353" providerId="ADAL" clId="{A0FA188E-4539-1B4B-8F7A-AF25ADD774B0}" dt="2024-03-12T16:16:25.055" v="2333" actId="207"/>
          <ac:spMkLst>
            <pc:docMk/>
            <pc:sldMk cId="608544505" sldId="265"/>
            <ac:spMk id="16" creationId="{65CB1989-44B5-2193-EC4F-6534D8CC4437}"/>
          </ac:spMkLst>
        </pc:spChg>
        <pc:spChg chg="mod">
          <ac:chgData name="Stefan, Chantal" userId="32a90bb8-83ff-4b15-9e26-b584e5277353" providerId="ADAL" clId="{A0FA188E-4539-1B4B-8F7A-AF25ADD774B0}" dt="2024-03-12T16:14:00.598" v="2321" actId="1038"/>
          <ac:spMkLst>
            <pc:docMk/>
            <pc:sldMk cId="608544505" sldId="265"/>
            <ac:spMk id="25" creationId="{E9109D6B-B7B1-3D2D-27E5-7CDBF6B0D07B}"/>
          </ac:spMkLst>
        </pc:spChg>
        <pc:spChg chg="mod">
          <ac:chgData name="Stefan, Chantal" userId="32a90bb8-83ff-4b15-9e26-b584e5277353" providerId="ADAL" clId="{A0FA188E-4539-1B4B-8F7A-AF25ADD774B0}" dt="2024-03-12T16:13:58.681" v="2320" actId="1038"/>
          <ac:spMkLst>
            <pc:docMk/>
            <pc:sldMk cId="608544505" sldId="265"/>
            <ac:spMk id="26" creationId="{C59314B6-EC0E-FF3D-4026-3F3D1E905434}"/>
          </ac:spMkLst>
        </pc:spChg>
        <pc:spChg chg="mod">
          <ac:chgData name="Stefan, Chantal" userId="32a90bb8-83ff-4b15-9e26-b584e5277353" providerId="ADAL" clId="{A0FA188E-4539-1B4B-8F7A-AF25ADD774B0}" dt="2024-03-12T16:14:02.345" v="2322" actId="1038"/>
          <ac:spMkLst>
            <pc:docMk/>
            <pc:sldMk cId="608544505" sldId="265"/>
            <ac:spMk id="27" creationId="{7B552EF9-30A3-CC02-237E-6CA8E4A93624}"/>
          </ac:spMkLst>
        </pc:spChg>
        <pc:spChg chg="mod">
          <ac:chgData name="Stefan, Chantal" userId="32a90bb8-83ff-4b15-9e26-b584e5277353" providerId="ADAL" clId="{A0FA188E-4539-1B4B-8F7A-AF25ADD774B0}" dt="2024-03-12T16:13:36.058" v="2317" actId="1035"/>
          <ac:spMkLst>
            <pc:docMk/>
            <pc:sldMk cId="608544505" sldId="265"/>
            <ac:spMk id="31" creationId="{720C1A92-B751-4587-1261-3D00EDE74AB1}"/>
          </ac:spMkLst>
        </pc:spChg>
        <pc:spChg chg="mod">
          <ac:chgData name="Stefan, Chantal" userId="32a90bb8-83ff-4b15-9e26-b584e5277353" providerId="ADAL" clId="{A0FA188E-4539-1B4B-8F7A-AF25ADD774B0}" dt="2024-03-12T16:13:17.932" v="2311" actId="1038"/>
          <ac:spMkLst>
            <pc:docMk/>
            <pc:sldMk cId="608544505" sldId="265"/>
            <ac:spMk id="32" creationId="{0A0E09C7-EB3F-55E1-1A9F-65190E7E4CAA}"/>
          </ac:spMkLst>
        </pc:spChg>
        <pc:spChg chg="mod">
          <ac:chgData name="Stefan, Chantal" userId="32a90bb8-83ff-4b15-9e26-b584e5277353" providerId="ADAL" clId="{A0FA188E-4539-1B4B-8F7A-AF25ADD774B0}" dt="2024-03-12T16:13:33.671" v="2316" actId="1038"/>
          <ac:spMkLst>
            <pc:docMk/>
            <pc:sldMk cId="608544505" sldId="265"/>
            <ac:spMk id="33" creationId="{794AD692-468C-1BD4-76BC-EDB149F4FB08}"/>
          </ac:spMkLst>
        </pc:spChg>
        <pc:spChg chg="mod">
          <ac:chgData name="Stefan, Chantal" userId="32a90bb8-83ff-4b15-9e26-b584e5277353" providerId="ADAL" clId="{A0FA188E-4539-1B4B-8F7A-AF25ADD774B0}" dt="2024-03-12T16:13:42.196" v="2318" actId="1037"/>
          <ac:spMkLst>
            <pc:docMk/>
            <pc:sldMk cId="608544505" sldId="265"/>
            <ac:spMk id="34" creationId="{54967ADD-6CBA-7514-71E7-4DF2C02D43CC}"/>
          </ac:spMkLst>
        </pc:spChg>
        <pc:spChg chg="mod">
          <ac:chgData name="Stefan, Chantal" userId="32a90bb8-83ff-4b15-9e26-b584e5277353" providerId="ADAL" clId="{A0FA188E-4539-1B4B-8F7A-AF25ADD774B0}" dt="2024-03-12T16:13:46.689" v="2319" actId="1037"/>
          <ac:spMkLst>
            <pc:docMk/>
            <pc:sldMk cId="608544505" sldId="265"/>
            <ac:spMk id="35" creationId="{BA0C484E-7214-7612-57A8-6B050D50E66A}"/>
          </ac:spMkLst>
        </pc:spChg>
        <pc:spChg chg="del mod">
          <ac:chgData name="Stefan, Chantal" userId="32a90bb8-83ff-4b15-9e26-b584e5277353" providerId="ADAL" clId="{A0FA188E-4539-1B4B-8F7A-AF25ADD774B0}" dt="2024-03-12T16:11:19.008" v="2256" actId="478"/>
          <ac:spMkLst>
            <pc:docMk/>
            <pc:sldMk cId="608544505" sldId="265"/>
            <ac:spMk id="36" creationId="{75977D96-F21A-1542-3F0A-97CE146DF4A1}"/>
          </ac:spMkLst>
        </pc:spChg>
        <pc:spChg chg="mod">
          <ac:chgData name="Stefan, Chantal" userId="32a90bb8-83ff-4b15-9e26-b584e5277353" providerId="ADAL" clId="{A0FA188E-4539-1B4B-8F7A-AF25ADD774B0}" dt="2024-03-12T19:26:17.348" v="3788" actId="12"/>
          <ac:spMkLst>
            <pc:docMk/>
            <pc:sldMk cId="608544505" sldId="265"/>
            <ac:spMk id="37" creationId="{6A26EC3D-BDB0-8E56-5E32-CFAD8ECF2BD0}"/>
          </ac:spMkLst>
        </pc:spChg>
        <pc:spChg chg="mod">
          <ac:chgData name="Stefan, Chantal" userId="32a90bb8-83ff-4b15-9e26-b584e5277353" providerId="ADAL" clId="{A0FA188E-4539-1B4B-8F7A-AF25ADD774B0}" dt="2024-03-12T21:25:35.622" v="3792" actId="13926"/>
          <ac:spMkLst>
            <pc:docMk/>
            <pc:sldMk cId="608544505" sldId="265"/>
            <ac:spMk id="38" creationId="{05C40CDF-AB9D-3759-4D46-A2FEE1C66174}"/>
          </ac:spMkLst>
        </pc:spChg>
        <pc:spChg chg="mod">
          <ac:chgData name="Stefan, Chantal" userId="32a90bb8-83ff-4b15-9e26-b584e5277353" providerId="ADAL" clId="{A0FA188E-4539-1B4B-8F7A-AF25ADD774B0}" dt="2024-03-12T19:26:26.281" v="3790" actId="12"/>
          <ac:spMkLst>
            <pc:docMk/>
            <pc:sldMk cId="608544505" sldId="265"/>
            <ac:spMk id="39" creationId="{8D591D79-48FE-8121-F995-FFCBDB09EBF8}"/>
          </ac:spMkLst>
        </pc:spChg>
        <pc:spChg chg="mod">
          <ac:chgData name="Stefan, Chantal" userId="32a90bb8-83ff-4b15-9e26-b584e5277353" providerId="ADAL" clId="{A0FA188E-4539-1B4B-8F7A-AF25ADD774B0}" dt="2024-03-12T19:26:33.033" v="3791" actId="12"/>
          <ac:spMkLst>
            <pc:docMk/>
            <pc:sldMk cId="608544505" sldId="265"/>
            <ac:spMk id="40" creationId="{0F4E42AE-6223-1976-3B65-AB7771A74CB7}"/>
          </ac:spMkLst>
        </pc:spChg>
        <pc:spChg chg="add mod">
          <ac:chgData name="Stefan, Chantal" userId="32a90bb8-83ff-4b15-9e26-b584e5277353" providerId="ADAL" clId="{A0FA188E-4539-1B4B-8F7A-AF25ADD774B0}" dt="2024-03-12T16:12:08.314" v="2278" actId="1035"/>
          <ac:spMkLst>
            <pc:docMk/>
            <pc:sldMk cId="608544505" sldId="265"/>
            <ac:spMk id="75" creationId="{21D4EF20-BE5D-F780-B942-6C51901289CC}"/>
          </ac:spMkLst>
        </pc:spChg>
        <pc:spChg chg="add del mod modVis">
          <ac:chgData name="Stefan, Chantal" userId="32a90bb8-83ff-4b15-9e26-b584e5277353" providerId="ADAL" clId="{A0FA188E-4539-1B4B-8F7A-AF25ADD774B0}" dt="2024-03-12T16:19:29.349" v="2394" actId="962"/>
          <ac:spMkLst>
            <pc:docMk/>
            <pc:sldMk cId="608544505" sldId="265"/>
            <ac:spMk id="76" creationId="{6B0142A8-6B49-0585-8B99-F46A9FD9B807}"/>
          </ac:spMkLst>
        </pc:spChg>
        <pc:spChg chg="add del mod modVis">
          <ac:chgData name="Stefan, Chantal" userId="32a90bb8-83ff-4b15-9e26-b584e5277353" providerId="ADAL" clId="{A0FA188E-4539-1B4B-8F7A-AF25ADD774B0}" dt="2024-03-12T16:19:32.974" v="2422"/>
          <ac:spMkLst>
            <pc:docMk/>
            <pc:sldMk cId="608544505" sldId="265"/>
            <ac:spMk id="77" creationId="{CE7A1B33-77CF-BA00-A839-4ACF45A4C0E6}"/>
          </ac:spMkLst>
        </pc:spChg>
        <pc:spChg chg="add del mod modVis">
          <ac:chgData name="Stefan, Chantal" userId="32a90bb8-83ff-4b15-9e26-b584e5277353" providerId="ADAL" clId="{A0FA188E-4539-1B4B-8F7A-AF25ADD774B0}" dt="2024-03-12T16:19:37.893" v="2457"/>
          <ac:spMkLst>
            <pc:docMk/>
            <pc:sldMk cId="608544505" sldId="265"/>
            <ac:spMk id="78" creationId="{3D5DC5EF-D2EB-A98D-B36F-EC514EE0CD8D}"/>
          </ac:spMkLst>
        </pc:spChg>
        <pc:spChg chg="add del mod modVis">
          <ac:chgData name="Stefan, Chantal" userId="32a90bb8-83ff-4b15-9e26-b584e5277353" providerId="ADAL" clId="{A0FA188E-4539-1B4B-8F7A-AF25ADD774B0}" dt="2024-03-12T16:19:41.245" v="2486"/>
          <ac:spMkLst>
            <pc:docMk/>
            <pc:sldMk cId="608544505" sldId="265"/>
            <ac:spMk id="79" creationId="{D7FA831C-1076-AC44-3C39-D131258CCDB4}"/>
          </ac:spMkLst>
        </pc:spChg>
        <pc:spChg chg="add del mod modVis">
          <ac:chgData name="Stefan, Chantal" userId="32a90bb8-83ff-4b15-9e26-b584e5277353" providerId="ADAL" clId="{A0FA188E-4539-1B4B-8F7A-AF25ADD774B0}" dt="2024-03-12T17:05:28.177" v="2917"/>
          <ac:spMkLst>
            <pc:docMk/>
            <pc:sldMk cId="608544505" sldId="265"/>
            <ac:spMk id="80" creationId="{66AC237C-752B-25AE-00A4-E53DB20FDD4E}"/>
          </ac:spMkLst>
        </pc:spChg>
        <pc:spChg chg="add del mod modVis">
          <ac:chgData name="Stefan, Chantal" userId="32a90bb8-83ff-4b15-9e26-b584e5277353" providerId="ADAL" clId="{A0FA188E-4539-1B4B-8F7A-AF25ADD774B0}" dt="2024-03-12T17:05:33.609" v="2948"/>
          <ac:spMkLst>
            <pc:docMk/>
            <pc:sldMk cId="608544505" sldId="265"/>
            <ac:spMk id="81" creationId="{521BBFFE-ACBC-4FA8-AEF0-0093774319EC}"/>
          </ac:spMkLst>
        </pc:spChg>
        <pc:spChg chg="add del mod modVis">
          <ac:chgData name="Stefan, Chantal" userId="32a90bb8-83ff-4b15-9e26-b584e5277353" providerId="ADAL" clId="{A0FA188E-4539-1B4B-8F7A-AF25ADD774B0}" dt="2024-03-12T17:05:37.589" v="2977"/>
          <ac:spMkLst>
            <pc:docMk/>
            <pc:sldMk cId="608544505" sldId="265"/>
            <ac:spMk id="82" creationId="{9D4C537E-CA6D-09F8-36C8-F73984FCE43E}"/>
          </ac:spMkLst>
        </pc:spChg>
        <pc:spChg chg="add del mod modVis">
          <ac:chgData name="Stefan, Chantal" userId="32a90bb8-83ff-4b15-9e26-b584e5277353" providerId="ADAL" clId="{A0FA188E-4539-1B4B-8F7A-AF25ADD774B0}" dt="2024-03-12T17:05:41.209" v="3027"/>
          <ac:spMkLst>
            <pc:docMk/>
            <pc:sldMk cId="608544505" sldId="265"/>
            <ac:spMk id="83" creationId="{E143AB59-18F8-B43F-6F84-560EAC3B2A7F}"/>
          </ac:spMkLst>
        </pc:spChg>
        <pc:spChg chg="add del mod modVis">
          <ac:chgData name="Stefan, Chantal" userId="32a90bb8-83ff-4b15-9e26-b584e5277353" providerId="ADAL" clId="{A0FA188E-4539-1B4B-8F7A-AF25ADD774B0}" dt="2024-03-12T17:05:45.868" v="3058"/>
          <ac:spMkLst>
            <pc:docMk/>
            <pc:sldMk cId="608544505" sldId="265"/>
            <ac:spMk id="84" creationId="{860D7C79-2626-B38D-C67C-679E1DA38DC4}"/>
          </ac:spMkLst>
        </pc:spChg>
        <pc:spChg chg="add del mod modVis">
          <ac:chgData name="Stefan, Chantal" userId="32a90bb8-83ff-4b15-9e26-b584e5277353" providerId="ADAL" clId="{A0FA188E-4539-1B4B-8F7A-AF25ADD774B0}" dt="2024-03-12T17:05:46.437" v="3086"/>
          <ac:spMkLst>
            <pc:docMk/>
            <pc:sldMk cId="608544505" sldId="265"/>
            <ac:spMk id="85" creationId="{EF505625-13D7-15ED-51E4-0A92A0C7DDF6}"/>
          </ac:spMkLst>
        </pc:spChg>
        <pc:spChg chg="add del mod modVis">
          <ac:chgData name="Stefan, Chantal" userId="32a90bb8-83ff-4b15-9e26-b584e5277353" providerId="ADAL" clId="{A0FA188E-4539-1B4B-8F7A-AF25ADD774B0}" dt="2024-03-12T17:06:00.305" v="3114"/>
          <ac:spMkLst>
            <pc:docMk/>
            <pc:sldMk cId="608544505" sldId="265"/>
            <ac:spMk id="86" creationId="{B989A86D-0729-AA8B-B7A3-C7877D062CA1}"/>
          </ac:spMkLst>
        </pc:spChg>
        <pc:graphicFrameChg chg="mod">
          <ac:chgData name="Stefan, Chantal" userId="32a90bb8-83ff-4b15-9e26-b584e5277353" providerId="ADAL" clId="{A0FA188E-4539-1B4B-8F7A-AF25ADD774B0}" dt="2024-03-12T17:06:00.310" v="3116"/>
          <ac:graphicFrameMkLst>
            <pc:docMk/>
            <pc:sldMk cId="608544505" sldId="265"/>
            <ac:graphicFrameMk id="43" creationId="{BC7D7C00-2BAE-4A45-B8E1-AB1A2D36F599}"/>
          </ac:graphicFrameMkLst>
        </pc:graphicFrameChg>
      </pc:sldChg>
      <pc:sldChg chg="addSp delSp modSp new mod ord">
        <pc:chgData name="Stefan, Chantal" userId="32a90bb8-83ff-4b15-9e26-b584e5277353" providerId="ADAL" clId="{A0FA188E-4539-1B4B-8F7A-AF25ADD774B0}" dt="2024-03-16T16:17:47.115" v="8481" actId="1035"/>
        <pc:sldMkLst>
          <pc:docMk/>
          <pc:sldMk cId="4051930809" sldId="267"/>
        </pc:sldMkLst>
        <pc:spChg chg="mod">
          <ac:chgData name="Stefan, Chantal" userId="32a90bb8-83ff-4b15-9e26-b584e5277353" providerId="ADAL" clId="{A0FA188E-4539-1B4B-8F7A-AF25ADD774B0}" dt="2024-03-16T16:13:51.698" v="8398"/>
          <ac:spMkLst>
            <pc:docMk/>
            <pc:sldMk cId="4051930809" sldId="267"/>
            <ac:spMk id="2" creationId="{5D5A4734-B0FD-AC5F-DAF9-501963EB375B}"/>
          </ac:spMkLst>
        </pc:spChg>
        <pc:spChg chg="del">
          <ac:chgData name="Stefan, Chantal" userId="32a90bb8-83ff-4b15-9e26-b584e5277353" providerId="ADAL" clId="{A0FA188E-4539-1B4B-8F7A-AF25ADD774B0}" dt="2024-03-14T17:43:11.749" v="5012" actId="478"/>
          <ac:spMkLst>
            <pc:docMk/>
            <pc:sldMk cId="4051930809" sldId="267"/>
            <ac:spMk id="3" creationId="{B4BBCF12-4062-B272-E579-BE70BF36EDD5}"/>
          </ac:spMkLst>
        </pc:spChg>
        <pc:spChg chg="mod">
          <ac:chgData name="Stefan, Chantal" userId="32a90bb8-83ff-4b15-9e26-b584e5277353" providerId="ADAL" clId="{A0FA188E-4539-1B4B-8F7A-AF25ADD774B0}" dt="2024-03-16T16:15:02.244" v="8455" actId="1076"/>
          <ac:spMkLst>
            <pc:docMk/>
            <pc:sldMk cId="4051930809" sldId="267"/>
            <ac:spMk id="3" creationId="{FC5629B0-2FC0-753A-C1CB-A0A4786033C8}"/>
          </ac:spMkLst>
        </pc:spChg>
        <pc:spChg chg="mod">
          <ac:chgData name="Stefan, Chantal" userId="32a90bb8-83ff-4b15-9e26-b584e5277353" providerId="ADAL" clId="{A0FA188E-4539-1B4B-8F7A-AF25ADD774B0}" dt="2024-03-16T16:13:51.700" v="8399"/>
          <ac:spMkLst>
            <pc:docMk/>
            <pc:sldMk cId="4051930809" sldId="267"/>
            <ac:spMk id="4" creationId="{7BB5A9C6-6CCF-E85B-AE61-D66A9F018CD7}"/>
          </ac:spMkLst>
        </pc:spChg>
        <pc:spChg chg="add del mod">
          <ac:chgData name="Stefan, Chantal" userId="32a90bb8-83ff-4b15-9e26-b584e5277353" providerId="ADAL" clId="{A0FA188E-4539-1B4B-8F7A-AF25ADD774B0}" dt="2024-03-16T16:09:21.284" v="8063" actId="478"/>
          <ac:spMkLst>
            <pc:docMk/>
            <pc:sldMk cId="4051930809" sldId="267"/>
            <ac:spMk id="5" creationId="{8B28E194-4488-5EFC-CBAA-3C0584CEE868}"/>
          </ac:spMkLst>
        </pc:spChg>
        <pc:spChg chg="mod">
          <ac:chgData name="Stefan, Chantal" userId="32a90bb8-83ff-4b15-9e26-b584e5277353" providerId="ADAL" clId="{A0FA188E-4539-1B4B-8F7A-AF25ADD774B0}" dt="2024-03-16T16:13:51.700" v="8400"/>
          <ac:spMkLst>
            <pc:docMk/>
            <pc:sldMk cId="4051930809" sldId="267"/>
            <ac:spMk id="6" creationId="{1D5D9469-6180-5735-9166-22E48B1FA2C6}"/>
          </ac:spMkLst>
        </pc:spChg>
        <pc:spChg chg="mod">
          <ac:chgData name="Stefan, Chantal" userId="32a90bb8-83ff-4b15-9e26-b584e5277353" providerId="ADAL" clId="{A0FA188E-4539-1B4B-8F7A-AF25ADD774B0}" dt="2024-03-16T16:13:51.701" v="8401"/>
          <ac:spMkLst>
            <pc:docMk/>
            <pc:sldMk cId="4051930809" sldId="267"/>
            <ac:spMk id="7" creationId="{C318C474-F6DC-27D1-5EF8-B886A7F62ED7}"/>
          </ac:spMkLst>
        </pc:spChg>
        <pc:spChg chg="add mod">
          <ac:chgData name="Stefan, Chantal" userId="32a90bb8-83ff-4b15-9e26-b584e5277353" providerId="ADAL" clId="{A0FA188E-4539-1B4B-8F7A-AF25ADD774B0}" dt="2024-03-16T16:13:51.701" v="8402"/>
          <ac:spMkLst>
            <pc:docMk/>
            <pc:sldMk cId="4051930809" sldId="267"/>
            <ac:spMk id="9" creationId="{1BD951FE-CD8A-7822-DAC6-5EEC88EEC1E1}"/>
          </ac:spMkLst>
        </pc:spChg>
        <pc:spChg chg="mod">
          <ac:chgData name="Stefan, Chantal" userId="32a90bb8-83ff-4b15-9e26-b584e5277353" providerId="ADAL" clId="{A0FA188E-4539-1B4B-8F7A-AF25ADD774B0}" dt="2024-03-16T16:17:47.115" v="8481" actId="1035"/>
          <ac:spMkLst>
            <pc:docMk/>
            <pc:sldMk cId="4051930809" sldId="267"/>
            <ac:spMk id="10" creationId="{0C716443-7B6A-ABB9-F621-D593F96CABDB}"/>
          </ac:spMkLst>
        </pc:spChg>
        <pc:spChg chg="add del mod">
          <ac:chgData name="Stefan, Chantal" userId="32a90bb8-83ff-4b15-9e26-b584e5277353" providerId="ADAL" clId="{A0FA188E-4539-1B4B-8F7A-AF25ADD774B0}" dt="2024-03-14T17:43:55.693" v="5036" actId="478"/>
          <ac:spMkLst>
            <pc:docMk/>
            <pc:sldMk cId="4051930809" sldId="267"/>
            <ac:spMk id="10" creationId="{FF30E21E-880E-9F98-7FF6-C1B7AF191B64}"/>
          </ac:spMkLst>
        </pc:spChg>
        <pc:spChg chg="mod">
          <ac:chgData name="Stefan, Chantal" userId="32a90bb8-83ff-4b15-9e26-b584e5277353" providerId="ADAL" clId="{A0FA188E-4539-1B4B-8F7A-AF25ADD774B0}" dt="2024-03-16T16:15:07.528" v="8456" actId="1076"/>
          <ac:spMkLst>
            <pc:docMk/>
            <pc:sldMk cId="4051930809" sldId="267"/>
            <ac:spMk id="11" creationId="{8705AED9-A006-9F75-AA77-7A59B54CE4F4}"/>
          </ac:spMkLst>
        </pc:spChg>
        <pc:spChg chg="add del mod">
          <ac:chgData name="Stefan, Chantal" userId="32a90bb8-83ff-4b15-9e26-b584e5277353" providerId="ADAL" clId="{A0FA188E-4539-1B4B-8F7A-AF25ADD774B0}" dt="2024-03-14T17:43:55.693" v="5036" actId="478"/>
          <ac:spMkLst>
            <pc:docMk/>
            <pc:sldMk cId="4051930809" sldId="267"/>
            <ac:spMk id="11" creationId="{AA8EF38C-EFCF-5124-7BAB-4D4B0907470A}"/>
          </ac:spMkLst>
        </pc:spChg>
        <pc:spChg chg="add del mod">
          <ac:chgData name="Stefan, Chantal" userId="32a90bb8-83ff-4b15-9e26-b584e5277353" providerId="ADAL" clId="{A0FA188E-4539-1B4B-8F7A-AF25ADD774B0}" dt="2024-03-14T17:43:55.693" v="5036" actId="478"/>
          <ac:spMkLst>
            <pc:docMk/>
            <pc:sldMk cId="4051930809" sldId="267"/>
            <ac:spMk id="12" creationId="{71C11513-15FB-45E6-5C08-49A63EF365F4}"/>
          </ac:spMkLst>
        </pc:spChg>
        <pc:spChg chg="mod">
          <ac:chgData name="Stefan, Chantal" userId="32a90bb8-83ff-4b15-9e26-b584e5277353" providerId="ADAL" clId="{A0FA188E-4539-1B4B-8F7A-AF25ADD774B0}" dt="2024-03-16T16:13:51.707" v="8417"/>
          <ac:spMkLst>
            <pc:docMk/>
            <pc:sldMk cId="4051930809" sldId="267"/>
            <ac:spMk id="12" creationId="{DB5FD6F9-6199-F4CE-6493-5E9EEDD2651A}"/>
          </ac:spMkLst>
        </pc:spChg>
        <pc:spChg chg="mod">
          <ac:chgData name="Stefan, Chantal" userId="32a90bb8-83ff-4b15-9e26-b584e5277353" providerId="ADAL" clId="{A0FA188E-4539-1B4B-8F7A-AF25ADD774B0}" dt="2024-03-16T16:15:12.645" v="8457" actId="1076"/>
          <ac:spMkLst>
            <pc:docMk/>
            <pc:sldMk cId="4051930809" sldId="267"/>
            <ac:spMk id="13" creationId="{C985C973-C37D-7778-810A-E1D9A826C561}"/>
          </ac:spMkLst>
        </pc:spChg>
        <pc:spChg chg="add del mod">
          <ac:chgData name="Stefan, Chantal" userId="32a90bb8-83ff-4b15-9e26-b584e5277353" providerId="ADAL" clId="{A0FA188E-4539-1B4B-8F7A-AF25ADD774B0}" dt="2024-03-14T17:43:55.693" v="5036" actId="478"/>
          <ac:spMkLst>
            <pc:docMk/>
            <pc:sldMk cId="4051930809" sldId="267"/>
            <ac:spMk id="13" creationId="{EB016DF1-34A5-6A6B-10B3-D2C9A8B6202A}"/>
          </ac:spMkLst>
        </pc:spChg>
        <pc:spChg chg="mod">
          <ac:chgData name="Stefan, Chantal" userId="32a90bb8-83ff-4b15-9e26-b584e5277353" providerId="ADAL" clId="{A0FA188E-4539-1B4B-8F7A-AF25ADD774B0}" dt="2024-03-16T16:15:30.892" v="8464" actId="1036"/>
          <ac:spMkLst>
            <pc:docMk/>
            <pc:sldMk cId="4051930809" sldId="267"/>
            <ac:spMk id="14" creationId="{5531761B-BFA2-FB5B-AE25-CBA68AC59981}"/>
          </ac:spMkLst>
        </pc:spChg>
        <pc:spChg chg="add del mod">
          <ac:chgData name="Stefan, Chantal" userId="32a90bb8-83ff-4b15-9e26-b584e5277353" providerId="ADAL" clId="{A0FA188E-4539-1B4B-8F7A-AF25ADD774B0}" dt="2024-03-14T17:44:00.529" v="5037" actId="478"/>
          <ac:spMkLst>
            <pc:docMk/>
            <pc:sldMk cId="4051930809" sldId="267"/>
            <ac:spMk id="14" creationId="{C8452BFC-09D8-1060-003E-B7BFC2A75AA5}"/>
          </ac:spMkLst>
        </pc:spChg>
        <pc:spChg chg="mod">
          <ac:chgData name="Stefan, Chantal" userId="32a90bb8-83ff-4b15-9e26-b584e5277353" providerId="ADAL" clId="{A0FA188E-4539-1B4B-8F7A-AF25ADD774B0}" dt="2024-03-16T16:15:16.663" v="8458" actId="1076"/>
          <ac:spMkLst>
            <pc:docMk/>
            <pc:sldMk cId="4051930809" sldId="267"/>
            <ac:spMk id="15" creationId="{9A05F18A-D151-CF95-A91C-50EDEAA95994}"/>
          </ac:spMkLst>
        </pc:spChg>
        <pc:spChg chg="add del mod">
          <ac:chgData name="Stefan, Chantal" userId="32a90bb8-83ff-4b15-9e26-b584e5277353" providerId="ADAL" clId="{A0FA188E-4539-1B4B-8F7A-AF25ADD774B0}" dt="2024-03-14T17:44:03.024" v="5038" actId="478"/>
          <ac:spMkLst>
            <pc:docMk/>
            <pc:sldMk cId="4051930809" sldId="267"/>
            <ac:spMk id="15" creationId="{9D8E2910-CEC9-EA12-5DB9-A79DD1927314}"/>
          </ac:spMkLst>
        </pc:spChg>
        <pc:spChg chg="add del mod">
          <ac:chgData name="Stefan, Chantal" userId="32a90bb8-83ff-4b15-9e26-b584e5277353" providerId="ADAL" clId="{A0FA188E-4539-1B4B-8F7A-AF25ADD774B0}" dt="2024-03-14T17:43:36.589" v="5033" actId="478"/>
          <ac:spMkLst>
            <pc:docMk/>
            <pc:sldMk cId="4051930809" sldId="267"/>
            <ac:spMk id="16" creationId="{69C8CAA6-FB70-4295-B286-73B6349022C5}"/>
          </ac:spMkLst>
        </pc:spChg>
        <pc:spChg chg="mod">
          <ac:chgData name="Stefan, Chantal" userId="32a90bb8-83ff-4b15-9e26-b584e5277353" providerId="ADAL" clId="{A0FA188E-4539-1B4B-8F7A-AF25ADD774B0}" dt="2024-03-16T16:15:33.442" v="8467" actId="1035"/>
          <ac:spMkLst>
            <pc:docMk/>
            <pc:sldMk cId="4051930809" sldId="267"/>
            <ac:spMk id="16" creationId="{9839A41A-C41D-FC5D-9512-3AC70C79376A}"/>
          </ac:spMkLst>
        </pc:spChg>
        <pc:spChg chg="add del mod">
          <ac:chgData name="Stefan, Chantal" userId="32a90bb8-83ff-4b15-9e26-b584e5277353" providerId="ADAL" clId="{A0FA188E-4539-1B4B-8F7A-AF25ADD774B0}" dt="2024-03-14T17:43:55.693" v="5036" actId="478"/>
          <ac:spMkLst>
            <pc:docMk/>
            <pc:sldMk cId="4051930809" sldId="267"/>
            <ac:spMk id="18" creationId="{6B810425-9633-EE8B-2FA2-F8DF63DE4746}"/>
          </ac:spMkLst>
        </pc:spChg>
        <pc:spChg chg="mod">
          <ac:chgData name="Stefan, Chantal" userId="32a90bb8-83ff-4b15-9e26-b584e5277353" providerId="ADAL" clId="{A0FA188E-4539-1B4B-8F7A-AF25ADD774B0}" dt="2024-03-16T16:15:21.392" v="8459" actId="1076"/>
          <ac:spMkLst>
            <pc:docMk/>
            <pc:sldMk cId="4051930809" sldId="267"/>
            <ac:spMk id="18" creationId="{C7114788-A0D5-F658-4967-EB49AFC5469C}"/>
          </ac:spMkLst>
        </pc:spChg>
        <pc:spChg chg="add del mod">
          <ac:chgData name="Stefan, Chantal" userId="32a90bb8-83ff-4b15-9e26-b584e5277353" providerId="ADAL" clId="{A0FA188E-4539-1B4B-8F7A-AF25ADD774B0}" dt="2024-03-14T17:43:36.589" v="5033" actId="478"/>
          <ac:spMkLst>
            <pc:docMk/>
            <pc:sldMk cId="4051930809" sldId="267"/>
            <ac:spMk id="19" creationId="{7B549351-C5CE-39A0-3CE0-7EA301D16252}"/>
          </ac:spMkLst>
        </pc:spChg>
        <pc:spChg chg="mod">
          <ac:chgData name="Stefan, Chantal" userId="32a90bb8-83ff-4b15-9e26-b584e5277353" providerId="ADAL" clId="{A0FA188E-4539-1B4B-8F7A-AF25ADD774B0}" dt="2024-03-16T16:15:37.553" v="8471" actId="1035"/>
          <ac:spMkLst>
            <pc:docMk/>
            <pc:sldMk cId="4051930809" sldId="267"/>
            <ac:spMk id="19" creationId="{BE52B094-299F-D49E-E230-A1E037A2F60E}"/>
          </ac:spMkLst>
        </pc:spChg>
        <pc:spChg chg="mod">
          <ac:chgData name="Stefan, Chantal" userId="32a90bb8-83ff-4b15-9e26-b584e5277353" providerId="ADAL" clId="{A0FA188E-4539-1B4B-8F7A-AF25ADD774B0}" dt="2024-03-16T16:13:51.710" v="8424"/>
          <ac:spMkLst>
            <pc:docMk/>
            <pc:sldMk cId="4051930809" sldId="267"/>
            <ac:spMk id="20" creationId="{9A57019D-7CFA-2D74-D4B1-E5D754118464}"/>
          </ac:spMkLst>
        </pc:spChg>
        <pc:spChg chg="add del mod">
          <ac:chgData name="Stefan, Chantal" userId="32a90bb8-83ff-4b15-9e26-b584e5277353" providerId="ADAL" clId="{A0FA188E-4539-1B4B-8F7A-AF25ADD774B0}" dt="2024-03-14T17:43:55.693" v="5036" actId="478"/>
          <ac:spMkLst>
            <pc:docMk/>
            <pc:sldMk cId="4051930809" sldId="267"/>
            <ac:spMk id="20" creationId="{E403BB1C-4F7B-68BC-39F3-4B16FADC0B78}"/>
          </ac:spMkLst>
        </pc:spChg>
        <pc:spChg chg="mod">
          <ac:chgData name="Stefan, Chantal" userId="32a90bb8-83ff-4b15-9e26-b584e5277353" providerId="ADAL" clId="{A0FA188E-4539-1B4B-8F7A-AF25ADD774B0}" dt="2024-03-16T16:15:46.731" v="8473" actId="1035"/>
          <ac:spMkLst>
            <pc:docMk/>
            <pc:sldMk cId="4051930809" sldId="267"/>
            <ac:spMk id="21" creationId="{072183BD-8D2F-CF78-117D-36647121DFF8}"/>
          </ac:spMkLst>
        </pc:spChg>
        <pc:spChg chg="add del mod">
          <ac:chgData name="Stefan, Chantal" userId="32a90bb8-83ff-4b15-9e26-b584e5277353" providerId="ADAL" clId="{A0FA188E-4539-1B4B-8F7A-AF25ADD774B0}" dt="2024-03-16T16:09:01.092" v="8055" actId="478"/>
          <ac:spMkLst>
            <pc:docMk/>
            <pc:sldMk cId="4051930809" sldId="267"/>
            <ac:spMk id="22" creationId="{46E4A7A2-5C86-5D2B-956A-91957E42981C}"/>
          </ac:spMkLst>
        </pc:spChg>
        <pc:spChg chg="add del mod">
          <ac:chgData name="Stefan, Chantal" userId="32a90bb8-83ff-4b15-9e26-b584e5277353" providerId="ADAL" clId="{A0FA188E-4539-1B4B-8F7A-AF25ADD774B0}" dt="2024-03-14T17:43:55.693" v="5036" actId="478"/>
          <ac:spMkLst>
            <pc:docMk/>
            <pc:sldMk cId="4051930809" sldId="267"/>
            <ac:spMk id="22" creationId="{EA3413FA-4084-8F79-9C2A-8241D57F0682}"/>
          </ac:spMkLst>
        </pc:spChg>
        <pc:spChg chg="add mod">
          <ac:chgData name="Stefan, Chantal" userId="32a90bb8-83ff-4b15-9e26-b584e5277353" providerId="ADAL" clId="{A0FA188E-4539-1B4B-8F7A-AF25ADD774B0}" dt="2024-03-16T16:17:04.643" v="8474" actId="207"/>
          <ac:spMkLst>
            <pc:docMk/>
            <pc:sldMk cId="4051930809" sldId="267"/>
            <ac:spMk id="23" creationId="{1352C26F-2B39-0B03-73CE-49DDC2BA653E}"/>
          </ac:spMkLst>
        </pc:spChg>
        <pc:spChg chg="add del mod">
          <ac:chgData name="Stefan, Chantal" userId="32a90bb8-83ff-4b15-9e26-b584e5277353" providerId="ADAL" clId="{A0FA188E-4539-1B4B-8F7A-AF25ADD774B0}" dt="2024-03-14T17:43:36.589" v="5033" actId="478"/>
          <ac:spMkLst>
            <pc:docMk/>
            <pc:sldMk cId="4051930809" sldId="267"/>
            <ac:spMk id="23" creationId="{250009A1-09EE-8577-C95A-86C22E6ACFAC}"/>
          </ac:spMkLst>
        </pc:spChg>
        <pc:spChg chg="add del mod">
          <ac:chgData name="Stefan, Chantal" userId="32a90bb8-83ff-4b15-9e26-b584e5277353" providerId="ADAL" clId="{A0FA188E-4539-1B4B-8F7A-AF25ADD774B0}" dt="2024-03-16T16:09:13.391" v="8060" actId="478"/>
          <ac:spMkLst>
            <pc:docMk/>
            <pc:sldMk cId="4051930809" sldId="267"/>
            <ac:spMk id="24" creationId="{8905E6BD-B035-4944-8159-C100892FD1A3}"/>
          </ac:spMkLst>
        </pc:spChg>
        <pc:spChg chg="add del mod">
          <ac:chgData name="Stefan, Chantal" userId="32a90bb8-83ff-4b15-9e26-b584e5277353" providerId="ADAL" clId="{A0FA188E-4539-1B4B-8F7A-AF25ADD774B0}" dt="2024-03-14T17:43:55.693" v="5036" actId="478"/>
          <ac:spMkLst>
            <pc:docMk/>
            <pc:sldMk cId="4051930809" sldId="267"/>
            <ac:spMk id="24" creationId="{B1573E69-C4F5-5D75-D967-BB7747F128FF}"/>
          </ac:spMkLst>
        </pc:spChg>
        <pc:spChg chg="add mod">
          <ac:chgData name="Stefan, Chantal" userId="32a90bb8-83ff-4b15-9e26-b584e5277353" providerId="ADAL" clId="{A0FA188E-4539-1B4B-8F7A-AF25ADD774B0}" dt="2024-03-16T16:17:04.643" v="8474" actId="207"/>
          <ac:spMkLst>
            <pc:docMk/>
            <pc:sldMk cId="4051930809" sldId="267"/>
            <ac:spMk id="25" creationId="{F6E98116-1214-3A29-80BB-327F433CA1C9}"/>
          </ac:spMkLst>
        </pc:spChg>
        <pc:spChg chg="add del mod">
          <ac:chgData name="Stefan, Chantal" userId="32a90bb8-83ff-4b15-9e26-b584e5277353" providerId="ADAL" clId="{A0FA188E-4539-1B4B-8F7A-AF25ADD774B0}" dt="2024-03-14T17:43:55.693" v="5036" actId="478"/>
          <ac:spMkLst>
            <pc:docMk/>
            <pc:sldMk cId="4051930809" sldId="267"/>
            <ac:spMk id="26" creationId="{277EF996-DFF5-3726-994A-5156381C7CBF}"/>
          </ac:spMkLst>
        </pc:spChg>
        <pc:spChg chg="add del mod modVis">
          <ac:chgData name="Stefan, Chantal" userId="32a90bb8-83ff-4b15-9e26-b584e5277353" providerId="ADAL" clId="{A0FA188E-4539-1B4B-8F7A-AF25ADD774B0}" dt="2024-03-16T16:10:36.807" v="8127"/>
          <ac:spMkLst>
            <pc:docMk/>
            <pc:sldMk cId="4051930809" sldId="267"/>
            <ac:spMk id="26" creationId="{D9A91A8C-C139-BD95-D400-85C953A5F406}"/>
          </ac:spMkLst>
        </pc:spChg>
        <pc:spChg chg="add del mod">
          <ac:chgData name="Stefan, Chantal" userId="32a90bb8-83ff-4b15-9e26-b584e5277353" providerId="ADAL" clId="{A0FA188E-4539-1B4B-8F7A-AF25ADD774B0}" dt="2024-03-14T17:43:36.589" v="5033" actId="478"/>
          <ac:spMkLst>
            <pc:docMk/>
            <pc:sldMk cId="4051930809" sldId="267"/>
            <ac:spMk id="27" creationId="{70091443-BF6E-C002-BA95-004847910C00}"/>
          </ac:spMkLst>
        </pc:spChg>
        <pc:spChg chg="add del mod">
          <ac:chgData name="Stefan, Chantal" userId="32a90bb8-83ff-4b15-9e26-b584e5277353" providerId="ADAL" clId="{A0FA188E-4539-1B4B-8F7A-AF25ADD774B0}" dt="2024-03-16T16:11:03.148" v="8143" actId="478"/>
          <ac:spMkLst>
            <pc:docMk/>
            <pc:sldMk cId="4051930809" sldId="267"/>
            <ac:spMk id="27" creationId="{DA0E96C7-B19C-FC08-9C4B-02ABD5311481}"/>
          </ac:spMkLst>
        </pc:spChg>
        <pc:spChg chg="add del mod">
          <ac:chgData name="Stefan, Chantal" userId="32a90bb8-83ff-4b15-9e26-b584e5277353" providerId="ADAL" clId="{A0FA188E-4539-1B4B-8F7A-AF25ADD774B0}" dt="2024-03-14T17:43:55.693" v="5036" actId="478"/>
          <ac:spMkLst>
            <pc:docMk/>
            <pc:sldMk cId="4051930809" sldId="267"/>
            <ac:spMk id="28" creationId="{9A2825CB-6957-39B1-3A7E-BBEFB4F7387B}"/>
          </ac:spMkLst>
        </pc:spChg>
        <pc:spChg chg="add mod">
          <ac:chgData name="Stefan, Chantal" userId="32a90bb8-83ff-4b15-9e26-b584e5277353" providerId="ADAL" clId="{A0FA188E-4539-1B4B-8F7A-AF25ADD774B0}" dt="2024-03-16T16:17:04.643" v="8474" actId="207"/>
          <ac:spMkLst>
            <pc:docMk/>
            <pc:sldMk cId="4051930809" sldId="267"/>
            <ac:spMk id="29" creationId="{A2788319-20D4-60AA-6524-012AD208493A}"/>
          </ac:spMkLst>
        </pc:spChg>
        <pc:spChg chg="add del mod">
          <ac:chgData name="Stefan, Chantal" userId="32a90bb8-83ff-4b15-9e26-b584e5277353" providerId="ADAL" clId="{A0FA188E-4539-1B4B-8F7A-AF25ADD774B0}" dt="2024-03-14T17:43:55.693" v="5036" actId="478"/>
          <ac:spMkLst>
            <pc:docMk/>
            <pc:sldMk cId="4051930809" sldId="267"/>
            <ac:spMk id="30" creationId="{DAE31E47-ECCC-5DEF-D0CA-32623CA90BCC}"/>
          </ac:spMkLst>
        </pc:spChg>
        <pc:spChg chg="add del mod">
          <ac:chgData name="Stefan, Chantal" userId="32a90bb8-83ff-4b15-9e26-b584e5277353" providerId="ADAL" clId="{A0FA188E-4539-1B4B-8F7A-AF25ADD774B0}" dt="2024-03-16T16:11:21.264" v="8154" actId="478"/>
          <ac:spMkLst>
            <pc:docMk/>
            <pc:sldMk cId="4051930809" sldId="267"/>
            <ac:spMk id="31" creationId="{171F334B-37DE-2D35-43A2-D1F2B3944364}"/>
          </ac:spMkLst>
        </pc:spChg>
        <pc:spChg chg="add del mod">
          <ac:chgData name="Stefan, Chantal" userId="32a90bb8-83ff-4b15-9e26-b584e5277353" providerId="ADAL" clId="{A0FA188E-4539-1B4B-8F7A-AF25ADD774B0}" dt="2024-03-14T17:43:36.589" v="5033" actId="478"/>
          <ac:spMkLst>
            <pc:docMk/>
            <pc:sldMk cId="4051930809" sldId="267"/>
            <ac:spMk id="31" creationId="{91327484-6A1A-9DA7-CA42-365B02A15CDC}"/>
          </ac:spMkLst>
        </pc:spChg>
        <pc:spChg chg="add del mod">
          <ac:chgData name="Stefan, Chantal" userId="32a90bb8-83ff-4b15-9e26-b584e5277353" providerId="ADAL" clId="{A0FA188E-4539-1B4B-8F7A-AF25ADD774B0}" dt="2024-03-14T17:43:55.693" v="5036" actId="478"/>
          <ac:spMkLst>
            <pc:docMk/>
            <pc:sldMk cId="4051930809" sldId="267"/>
            <ac:spMk id="32" creationId="{1222D94E-0A09-52F9-EE9F-8AA008B2F0C1}"/>
          </ac:spMkLst>
        </pc:spChg>
        <pc:spChg chg="add mod">
          <ac:chgData name="Stefan, Chantal" userId="32a90bb8-83ff-4b15-9e26-b584e5277353" providerId="ADAL" clId="{A0FA188E-4539-1B4B-8F7A-AF25ADD774B0}" dt="2024-03-16T16:17:04.643" v="8474" actId="207"/>
          <ac:spMkLst>
            <pc:docMk/>
            <pc:sldMk cId="4051930809" sldId="267"/>
            <ac:spMk id="33" creationId="{A5CF335F-26D6-2880-EEFD-D147E3B9D448}"/>
          </ac:spMkLst>
        </pc:spChg>
        <pc:spChg chg="add mod">
          <ac:chgData name="Stefan, Chantal" userId="32a90bb8-83ff-4b15-9e26-b584e5277353" providerId="ADAL" clId="{A0FA188E-4539-1B4B-8F7A-AF25ADD774B0}" dt="2024-03-16T16:17:04.643" v="8474" actId="207"/>
          <ac:spMkLst>
            <pc:docMk/>
            <pc:sldMk cId="4051930809" sldId="267"/>
            <ac:spMk id="34" creationId="{9C947346-02F0-26B8-1D62-23B79F737263}"/>
          </ac:spMkLst>
        </pc:spChg>
        <pc:spChg chg="add mod">
          <ac:chgData name="Stefan, Chantal" userId="32a90bb8-83ff-4b15-9e26-b584e5277353" providerId="ADAL" clId="{A0FA188E-4539-1B4B-8F7A-AF25ADD774B0}" dt="2024-03-14T17:46:01.509" v="5193"/>
          <ac:spMkLst>
            <pc:docMk/>
            <pc:sldMk cId="4051930809" sldId="267"/>
            <ac:spMk id="34" creationId="{CD73C595-0A8B-1814-9CF5-0F108CC27A76}"/>
          </ac:spMkLst>
        </pc:spChg>
        <pc:spChg chg="add mod">
          <ac:chgData name="Stefan, Chantal" userId="32a90bb8-83ff-4b15-9e26-b584e5277353" providerId="ADAL" clId="{A0FA188E-4539-1B4B-8F7A-AF25ADD774B0}" dt="2024-03-16T16:17:04.643" v="8474" actId="207"/>
          <ac:spMkLst>
            <pc:docMk/>
            <pc:sldMk cId="4051930809" sldId="267"/>
            <ac:spMk id="36" creationId="{42C3E833-9373-1E09-73FE-BCB7497162D6}"/>
          </ac:spMkLst>
        </pc:spChg>
        <pc:spChg chg="mod">
          <ac:chgData name="Stefan, Chantal" userId="32a90bb8-83ff-4b15-9e26-b584e5277353" providerId="ADAL" clId="{A0FA188E-4539-1B4B-8F7A-AF25ADD774B0}" dt="2024-03-14T17:43:12.525" v="5013"/>
          <ac:spMkLst>
            <pc:docMk/>
            <pc:sldMk cId="4051930809" sldId="267"/>
            <ac:spMk id="36" creationId="{50C7E69A-523E-14F5-1C06-8ED72692913A}"/>
          </ac:spMkLst>
        </pc:spChg>
        <pc:spChg chg="add del mod">
          <ac:chgData name="Stefan, Chantal" userId="32a90bb8-83ff-4b15-9e26-b584e5277353" providerId="ADAL" clId="{A0FA188E-4539-1B4B-8F7A-AF25ADD774B0}" dt="2024-03-16T16:14:25.730" v="8446"/>
          <ac:spMkLst>
            <pc:docMk/>
            <pc:sldMk cId="4051930809" sldId="267"/>
            <ac:spMk id="37" creationId="{56C039CC-A041-1B86-E667-09347ECBE080}"/>
          </ac:spMkLst>
        </pc:spChg>
        <pc:spChg chg="mod">
          <ac:chgData name="Stefan, Chantal" userId="32a90bb8-83ff-4b15-9e26-b584e5277353" providerId="ADAL" clId="{A0FA188E-4539-1B4B-8F7A-AF25ADD774B0}" dt="2024-03-14T17:43:12.525" v="5013"/>
          <ac:spMkLst>
            <pc:docMk/>
            <pc:sldMk cId="4051930809" sldId="267"/>
            <ac:spMk id="37" creationId="{8BAA32D4-F3A0-4445-21CE-37C15E1F5777}"/>
          </ac:spMkLst>
        </pc:spChg>
        <pc:spChg chg="mod">
          <ac:chgData name="Stefan, Chantal" userId="32a90bb8-83ff-4b15-9e26-b584e5277353" providerId="ADAL" clId="{A0FA188E-4539-1B4B-8F7A-AF25ADD774B0}" dt="2024-03-14T17:43:12.525" v="5013"/>
          <ac:spMkLst>
            <pc:docMk/>
            <pc:sldMk cId="4051930809" sldId="267"/>
            <ac:spMk id="38" creationId="{7E683C73-2AAD-BA2E-C8CC-7F62E0D3E178}"/>
          </ac:spMkLst>
        </pc:spChg>
        <pc:spChg chg="mod">
          <ac:chgData name="Stefan, Chantal" userId="32a90bb8-83ff-4b15-9e26-b584e5277353" providerId="ADAL" clId="{A0FA188E-4539-1B4B-8F7A-AF25ADD774B0}" dt="2024-03-14T17:43:12.525" v="5013"/>
          <ac:spMkLst>
            <pc:docMk/>
            <pc:sldMk cId="4051930809" sldId="267"/>
            <ac:spMk id="40" creationId="{C616E6CB-0571-49B8-CA21-79597B3E92B8}"/>
          </ac:spMkLst>
        </pc:spChg>
        <pc:spChg chg="mod">
          <ac:chgData name="Stefan, Chantal" userId="32a90bb8-83ff-4b15-9e26-b584e5277353" providerId="ADAL" clId="{A0FA188E-4539-1B4B-8F7A-AF25ADD774B0}" dt="2024-03-14T17:43:12.525" v="5013"/>
          <ac:spMkLst>
            <pc:docMk/>
            <pc:sldMk cId="4051930809" sldId="267"/>
            <ac:spMk id="41" creationId="{7439E931-401D-1D08-C95D-1208166FC2AB}"/>
          </ac:spMkLst>
        </pc:spChg>
        <pc:spChg chg="mod">
          <ac:chgData name="Stefan, Chantal" userId="32a90bb8-83ff-4b15-9e26-b584e5277353" providerId="ADAL" clId="{A0FA188E-4539-1B4B-8F7A-AF25ADD774B0}" dt="2024-03-14T17:43:12.525" v="5013"/>
          <ac:spMkLst>
            <pc:docMk/>
            <pc:sldMk cId="4051930809" sldId="267"/>
            <ac:spMk id="43" creationId="{36AB428D-53E0-286D-66EE-7BD36DF1B986}"/>
          </ac:spMkLst>
        </pc:spChg>
        <pc:spChg chg="mod">
          <ac:chgData name="Stefan, Chantal" userId="32a90bb8-83ff-4b15-9e26-b584e5277353" providerId="ADAL" clId="{A0FA188E-4539-1B4B-8F7A-AF25ADD774B0}" dt="2024-03-14T17:43:12.525" v="5013"/>
          <ac:spMkLst>
            <pc:docMk/>
            <pc:sldMk cId="4051930809" sldId="267"/>
            <ac:spMk id="44" creationId="{77EDF9C2-052A-3640-04C1-1FF10A4A7B4C}"/>
          </ac:spMkLst>
        </pc:spChg>
        <pc:spChg chg="mod">
          <ac:chgData name="Stefan, Chantal" userId="32a90bb8-83ff-4b15-9e26-b584e5277353" providerId="ADAL" clId="{A0FA188E-4539-1B4B-8F7A-AF25ADD774B0}" dt="2024-03-14T17:43:12.525" v="5013"/>
          <ac:spMkLst>
            <pc:docMk/>
            <pc:sldMk cId="4051930809" sldId="267"/>
            <ac:spMk id="45" creationId="{2495BE07-632E-BED8-3C20-DDF8619DA555}"/>
          </ac:spMkLst>
        </pc:spChg>
        <pc:spChg chg="mod">
          <ac:chgData name="Stefan, Chantal" userId="32a90bb8-83ff-4b15-9e26-b584e5277353" providerId="ADAL" clId="{A0FA188E-4539-1B4B-8F7A-AF25ADD774B0}" dt="2024-03-14T17:43:12.525" v="5013"/>
          <ac:spMkLst>
            <pc:docMk/>
            <pc:sldMk cId="4051930809" sldId="267"/>
            <ac:spMk id="46" creationId="{FE37A999-2318-CA71-3FF1-56D21F81B51B}"/>
          </ac:spMkLst>
        </pc:spChg>
        <pc:spChg chg="mod">
          <ac:chgData name="Stefan, Chantal" userId="32a90bb8-83ff-4b15-9e26-b584e5277353" providerId="ADAL" clId="{A0FA188E-4539-1B4B-8F7A-AF25ADD774B0}" dt="2024-03-14T17:43:12.525" v="5013"/>
          <ac:spMkLst>
            <pc:docMk/>
            <pc:sldMk cId="4051930809" sldId="267"/>
            <ac:spMk id="48" creationId="{720E5ACA-AB2F-CF43-1FD9-3F4CB64FFD1D}"/>
          </ac:spMkLst>
        </pc:spChg>
        <pc:spChg chg="mod">
          <ac:chgData name="Stefan, Chantal" userId="32a90bb8-83ff-4b15-9e26-b584e5277353" providerId="ADAL" clId="{A0FA188E-4539-1B4B-8F7A-AF25ADD774B0}" dt="2024-03-14T17:43:12.525" v="5013"/>
          <ac:spMkLst>
            <pc:docMk/>
            <pc:sldMk cId="4051930809" sldId="267"/>
            <ac:spMk id="49" creationId="{BCE7FBC1-329B-D553-AC2C-9359C9D35019}"/>
          </ac:spMkLst>
        </pc:spChg>
        <pc:spChg chg="add del mod">
          <ac:chgData name="Stefan, Chantal" userId="32a90bb8-83ff-4b15-9e26-b584e5277353" providerId="ADAL" clId="{A0FA188E-4539-1B4B-8F7A-AF25ADD774B0}" dt="2024-03-14T17:43:27.449" v="5031" actId="478"/>
          <ac:spMkLst>
            <pc:docMk/>
            <pc:sldMk cId="4051930809" sldId="267"/>
            <ac:spMk id="50" creationId="{F1E75E2E-4C35-A64F-932E-98066D02810D}"/>
          </ac:spMkLst>
        </pc:spChg>
        <pc:spChg chg="mod">
          <ac:chgData name="Stefan, Chantal" userId="32a90bb8-83ff-4b15-9e26-b584e5277353" providerId="ADAL" clId="{A0FA188E-4539-1B4B-8F7A-AF25ADD774B0}" dt="2024-03-16T16:13:51.702" v="8404"/>
          <ac:spMkLst>
            <pc:docMk/>
            <pc:sldMk cId="4051930809" sldId="267"/>
            <ac:spMk id="56" creationId="{D5033E61-2959-EB11-F26E-F370EF56CE6E}"/>
          </ac:spMkLst>
        </pc:spChg>
        <pc:spChg chg="mod">
          <ac:chgData name="Stefan, Chantal" userId="32a90bb8-83ff-4b15-9e26-b584e5277353" providerId="ADAL" clId="{A0FA188E-4539-1B4B-8F7A-AF25ADD774B0}" dt="2024-03-14T17:46:01.509" v="5193"/>
          <ac:spMkLst>
            <pc:docMk/>
            <pc:sldMk cId="4051930809" sldId="267"/>
            <ac:spMk id="58" creationId="{2FEFC866-E16F-255E-C00E-59B551BF1AA6}"/>
          </ac:spMkLst>
        </pc:spChg>
        <pc:spChg chg="mod">
          <ac:chgData name="Stefan, Chantal" userId="32a90bb8-83ff-4b15-9e26-b584e5277353" providerId="ADAL" clId="{A0FA188E-4539-1B4B-8F7A-AF25ADD774B0}" dt="2024-03-16T16:13:51.703" v="8406"/>
          <ac:spMkLst>
            <pc:docMk/>
            <pc:sldMk cId="4051930809" sldId="267"/>
            <ac:spMk id="60" creationId="{AF7E10F1-631F-BD2A-8554-FA04C292332A}"/>
          </ac:spMkLst>
        </pc:spChg>
        <pc:spChg chg="mod">
          <ac:chgData name="Stefan, Chantal" userId="32a90bb8-83ff-4b15-9e26-b584e5277353" providerId="ADAL" clId="{A0FA188E-4539-1B4B-8F7A-AF25ADD774B0}" dt="2024-03-14T17:46:01.509" v="5193"/>
          <ac:spMkLst>
            <pc:docMk/>
            <pc:sldMk cId="4051930809" sldId="267"/>
            <ac:spMk id="62" creationId="{7E2C72A4-CE47-67A9-83C7-9E66C616CDB8}"/>
          </ac:spMkLst>
        </pc:spChg>
        <pc:spChg chg="mod">
          <ac:chgData name="Stefan, Chantal" userId="32a90bb8-83ff-4b15-9e26-b584e5277353" providerId="ADAL" clId="{A0FA188E-4539-1B4B-8F7A-AF25ADD774B0}" dt="2024-03-16T16:13:51.703" v="8408"/>
          <ac:spMkLst>
            <pc:docMk/>
            <pc:sldMk cId="4051930809" sldId="267"/>
            <ac:spMk id="64" creationId="{C69A96A1-1FC3-9710-2458-07E66CD6035F}"/>
          </ac:spMkLst>
        </pc:spChg>
        <pc:spChg chg="mod">
          <ac:chgData name="Stefan, Chantal" userId="32a90bb8-83ff-4b15-9e26-b584e5277353" providerId="ADAL" clId="{A0FA188E-4539-1B4B-8F7A-AF25ADD774B0}" dt="2024-03-14T17:46:01.509" v="5193"/>
          <ac:spMkLst>
            <pc:docMk/>
            <pc:sldMk cId="4051930809" sldId="267"/>
            <ac:spMk id="66" creationId="{5E4D0A44-DFBF-BD76-EE1A-BA4922851A8F}"/>
          </ac:spMkLst>
        </pc:spChg>
        <pc:spChg chg="mod">
          <ac:chgData name="Stefan, Chantal" userId="32a90bb8-83ff-4b15-9e26-b584e5277353" providerId="ADAL" clId="{A0FA188E-4539-1B4B-8F7A-AF25ADD774B0}" dt="2024-03-16T16:13:51.704" v="8410"/>
          <ac:spMkLst>
            <pc:docMk/>
            <pc:sldMk cId="4051930809" sldId="267"/>
            <ac:spMk id="68" creationId="{C24D24BE-071F-71FC-3EEB-746A9175E993}"/>
          </ac:spMkLst>
        </pc:spChg>
        <pc:spChg chg="mod">
          <ac:chgData name="Stefan, Chantal" userId="32a90bb8-83ff-4b15-9e26-b584e5277353" providerId="ADAL" clId="{A0FA188E-4539-1B4B-8F7A-AF25ADD774B0}" dt="2024-03-14T17:46:01.509" v="5193"/>
          <ac:spMkLst>
            <pc:docMk/>
            <pc:sldMk cId="4051930809" sldId="267"/>
            <ac:spMk id="70" creationId="{3E4CB657-38CE-594D-344F-F2183B877DA2}"/>
          </ac:spMkLst>
        </pc:spChg>
        <pc:spChg chg="mod">
          <ac:chgData name="Stefan, Chantal" userId="32a90bb8-83ff-4b15-9e26-b584e5277353" providerId="ADAL" clId="{A0FA188E-4539-1B4B-8F7A-AF25ADD774B0}" dt="2024-03-16T16:13:51.705" v="8412"/>
          <ac:spMkLst>
            <pc:docMk/>
            <pc:sldMk cId="4051930809" sldId="267"/>
            <ac:spMk id="72" creationId="{51CED8AF-D957-49B9-0995-BEC6E967C822}"/>
          </ac:spMkLst>
        </pc:spChg>
        <pc:spChg chg="mod">
          <ac:chgData name="Stefan, Chantal" userId="32a90bb8-83ff-4b15-9e26-b584e5277353" providerId="ADAL" clId="{A0FA188E-4539-1B4B-8F7A-AF25ADD774B0}" dt="2024-03-14T17:46:01.509" v="5193"/>
          <ac:spMkLst>
            <pc:docMk/>
            <pc:sldMk cId="4051930809" sldId="267"/>
            <ac:spMk id="74" creationId="{64AC40E7-0B0D-FD4B-DA10-DA22CD35CC8A}"/>
          </ac:spMkLst>
        </pc:spChg>
        <pc:spChg chg="add del mod modVis">
          <ac:chgData name="Stefan, Chantal" userId="32a90bb8-83ff-4b15-9e26-b584e5277353" providerId="ADAL" clId="{A0FA188E-4539-1B4B-8F7A-AF25ADD774B0}" dt="2024-03-15T11:15:01.506" v="5373"/>
          <ac:spMkLst>
            <pc:docMk/>
            <pc:sldMk cId="4051930809" sldId="267"/>
            <ac:spMk id="76" creationId="{CB4C3CF2-8C6E-7A65-4547-7F57FC97FC33}"/>
          </ac:spMkLst>
        </pc:spChg>
        <pc:spChg chg="add del mod modVis">
          <ac:chgData name="Stefan, Chantal" userId="32a90bb8-83ff-4b15-9e26-b584e5277353" providerId="ADAL" clId="{A0FA188E-4539-1B4B-8F7A-AF25ADD774B0}" dt="2024-03-15T11:16:07.115" v="5412"/>
          <ac:spMkLst>
            <pc:docMk/>
            <pc:sldMk cId="4051930809" sldId="267"/>
            <ac:spMk id="77" creationId="{F6BCAB10-E5F5-B309-8A8E-B11E3F015EFF}"/>
          </ac:spMkLst>
        </pc:spChg>
        <pc:spChg chg="add del mod modVis">
          <ac:chgData name="Stefan, Chantal" userId="32a90bb8-83ff-4b15-9e26-b584e5277353" providerId="ADAL" clId="{A0FA188E-4539-1B4B-8F7A-AF25ADD774B0}" dt="2024-03-15T11:16:09.503" v="5440"/>
          <ac:spMkLst>
            <pc:docMk/>
            <pc:sldMk cId="4051930809" sldId="267"/>
            <ac:spMk id="78" creationId="{6672D21A-0AE8-BA67-05C4-78416E7DF6FB}"/>
          </ac:spMkLst>
        </pc:spChg>
        <pc:spChg chg="add del mod modVis">
          <ac:chgData name="Stefan, Chantal" userId="32a90bb8-83ff-4b15-9e26-b584e5277353" providerId="ADAL" clId="{A0FA188E-4539-1B4B-8F7A-AF25ADD774B0}" dt="2024-03-15T11:16:11.723" v="5472"/>
          <ac:spMkLst>
            <pc:docMk/>
            <pc:sldMk cId="4051930809" sldId="267"/>
            <ac:spMk id="79" creationId="{9FE0B16B-5B33-49E4-D059-710F6CA4E6F0}"/>
          </ac:spMkLst>
        </pc:spChg>
        <pc:spChg chg="add del mod modVis">
          <ac:chgData name="Stefan, Chantal" userId="32a90bb8-83ff-4b15-9e26-b584e5277353" providerId="ADAL" clId="{A0FA188E-4539-1B4B-8F7A-AF25ADD774B0}" dt="2024-03-15T11:16:22.627" v="5500"/>
          <ac:spMkLst>
            <pc:docMk/>
            <pc:sldMk cId="4051930809" sldId="267"/>
            <ac:spMk id="80" creationId="{7D7BD7F9-4DA3-8646-530B-01E43159513A}"/>
          </ac:spMkLst>
        </pc:spChg>
        <pc:grpChg chg="add del mod">
          <ac:chgData name="Stefan, Chantal" userId="32a90bb8-83ff-4b15-9e26-b584e5277353" providerId="ADAL" clId="{A0FA188E-4539-1B4B-8F7A-AF25ADD774B0}" dt="2024-03-14T17:43:55.693" v="5036" actId="478"/>
          <ac:grpSpMkLst>
            <pc:docMk/>
            <pc:sldMk cId="4051930809" sldId="267"/>
            <ac:grpSpMk id="35" creationId="{E04E4EF2-402F-30C2-161C-A6BD99CEE25C}"/>
          </ac:grpSpMkLst>
        </pc:grpChg>
        <pc:grpChg chg="add del mod">
          <ac:chgData name="Stefan, Chantal" userId="32a90bb8-83ff-4b15-9e26-b584e5277353" providerId="ADAL" clId="{A0FA188E-4539-1B4B-8F7A-AF25ADD774B0}" dt="2024-03-14T17:43:55.693" v="5036" actId="478"/>
          <ac:grpSpMkLst>
            <pc:docMk/>
            <pc:sldMk cId="4051930809" sldId="267"/>
            <ac:grpSpMk id="39" creationId="{597315CB-58AA-4A47-E6A6-90BC91352C19}"/>
          </ac:grpSpMkLst>
        </pc:grpChg>
        <pc:grpChg chg="add del mod">
          <ac:chgData name="Stefan, Chantal" userId="32a90bb8-83ff-4b15-9e26-b584e5277353" providerId="ADAL" clId="{A0FA188E-4539-1B4B-8F7A-AF25ADD774B0}" dt="2024-03-14T17:43:55.693" v="5036" actId="478"/>
          <ac:grpSpMkLst>
            <pc:docMk/>
            <pc:sldMk cId="4051930809" sldId="267"/>
            <ac:grpSpMk id="42" creationId="{1474A7F7-0705-8155-30C1-E33E230C61DA}"/>
          </ac:grpSpMkLst>
        </pc:grpChg>
        <pc:grpChg chg="add del mod">
          <ac:chgData name="Stefan, Chantal" userId="32a90bb8-83ff-4b15-9e26-b584e5277353" providerId="ADAL" clId="{A0FA188E-4539-1B4B-8F7A-AF25ADD774B0}" dt="2024-03-14T17:43:55.693" v="5036" actId="478"/>
          <ac:grpSpMkLst>
            <pc:docMk/>
            <pc:sldMk cId="4051930809" sldId="267"/>
            <ac:grpSpMk id="47" creationId="{6C4CA12E-C13B-3FD4-A9AF-A7517B9DDB2F}"/>
          </ac:grpSpMkLst>
        </pc:grpChg>
        <pc:grpChg chg="add mod">
          <ac:chgData name="Stefan, Chantal" userId="32a90bb8-83ff-4b15-9e26-b584e5277353" providerId="ADAL" clId="{A0FA188E-4539-1B4B-8F7A-AF25ADD774B0}" dt="2024-03-14T17:44:49.777" v="5051" actId="1076"/>
          <ac:grpSpMkLst>
            <pc:docMk/>
            <pc:sldMk cId="4051930809" sldId="267"/>
            <ac:grpSpMk id="54" creationId="{822C1CBE-06E2-136E-282E-B62BD21B1C03}"/>
          </ac:grpSpMkLst>
        </pc:grpChg>
        <pc:grpChg chg="add mod">
          <ac:chgData name="Stefan, Chantal" userId="32a90bb8-83ff-4b15-9e26-b584e5277353" providerId="ADAL" clId="{A0FA188E-4539-1B4B-8F7A-AF25ADD774B0}" dt="2024-03-14T17:44:43.629" v="5050" actId="1076"/>
          <ac:grpSpMkLst>
            <pc:docMk/>
            <pc:sldMk cId="4051930809" sldId="267"/>
            <ac:grpSpMk id="55" creationId="{3E076D43-F252-9203-55BA-91C8D63DDF59}"/>
          </ac:grpSpMkLst>
        </pc:grpChg>
        <pc:grpChg chg="add mod">
          <ac:chgData name="Stefan, Chantal" userId="32a90bb8-83ff-4b15-9e26-b584e5277353" providerId="ADAL" clId="{A0FA188E-4539-1B4B-8F7A-AF25ADD774B0}" dt="2024-03-14T17:44:38.962" v="5049" actId="1076"/>
          <ac:grpSpMkLst>
            <pc:docMk/>
            <pc:sldMk cId="4051930809" sldId="267"/>
            <ac:grpSpMk id="59" creationId="{125612B9-887A-0AC6-D876-BE3111AFB31A}"/>
          </ac:grpSpMkLst>
        </pc:grpChg>
        <pc:grpChg chg="add mod">
          <ac:chgData name="Stefan, Chantal" userId="32a90bb8-83ff-4b15-9e26-b584e5277353" providerId="ADAL" clId="{A0FA188E-4539-1B4B-8F7A-AF25ADD774B0}" dt="2024-03-14T17:44:32.362" v="5048" actId="1076"/>
          <ac:grpSpMkLst>
            <pc:docMk/>
            <pc:sldMk cId="4051930809" sldId="267"/>
            <ac:grpSpMk id="63" creationId="{02A56167-C0B2-B8C1-DCC7-9125FB68DED0}"/>
          </ac:grpSpMkLst>
        </pc:grpChg>
        <pc:grpChg chg="add mod">
          <ac:chgData name="Stefan, Chantal" userId="32a90bb8-83ff-4b15-9e26-b584e5277353" providerId="ADAL" clId="{A0FA188E-4539-1B4B-8F7A-AF25ADD774B0}" dt="2024-03-14T17:44:28.062" v="5047" actId="1076"/>
          <ac:grpSpMkLst>
            <pc:docMk/>
            <pc:sldMk cId="4051930809" sldId="267"/>
            <ac:grpSpMk id="67" creationId="{A48B3285-BB4F-8B24-C5BC-91C6580563D0}"/>
          </ac:grpSpMkLst>
        </pc:grpChg>
        <pc:grpChg chg="add mod">
          <ac:chgData name="Stefan, Chantal" userId="32a90bb8-83ff-4b15-9e26-b584e5277353" providerId="ADAL" clId="{A0FA188E-4539-1B4B-8F7A-AF25ADD774B0}" dt="2024-03-14T17:44:24.379" v="5046" actId="1076"/>
          <ac:grpSpMkLst>
            <pc:docMk/>
            <pc:sldMk cId="4051930809" sldId="267"/>
            <ac:grpSpMk id="71" creationId="{0508F0DC-0D86-0F78-F34B-81ADD85B104A}"/>
          </ac:grpSpMkLst>
        </pc:grpChg>
        <pc:grpChg chg="add mod">
          <ac:chgData name="Stefan, Chantal" userId="32a90bb8-83ff-4b15-9e26-b584e5277353" providerId="ADAL" clId="{A0FA188E-4539-1B4B-8F7A-AF25ADD774B0}" dt="2024-03-14T17:45:06.567" v="5054" actId="14100"/>
          <ac:grpSpMkLst>
            <pc:docMk/>
            <pc:sldMk cId="4051930809" sldId="267"/>
            <ac:grpSpMk id="75" creationId="{C290015C-D6DF-1431-AFF1-7A0F0FEEE643}"/>
          </ac:grpSpMkLst>
        </pc:grpChg>
        <pc:graphicFrameChg chg="add mod modVis replST">
          <ac:chgData name="Stefan, Chantal" userId="32a90bb8-83ff-4b15-9e26-b584e5277353" providerId="ADAL" clId="{A0FA188E-4539-1B4B-8F7A-AF25ADD774B0}" dt="2024-03-16T16:13:51.716" v="8441"/>
          <ac:graphicFrameMkLst>
            <pc:docMk/>
            <pc:sldMk cId="4051930809" sldId="267"/>
            <ac:graphicFrameMk id="8" creationId="{058DD322-A097-79E3-C845-601B043E6E08}"/>
          </ac:graphicFrameMkLst>
        </pc:graphicFrameChg>
        <pc:picChg chg="mod">
          <ac:chgData name="Stefan, Chantal" userId="32a90bb8-83ff-4b15-9e26-b584e5277353" providerId="ADAL" clId="{A0FA188E-4539-1B4B-8F7A-AF25ADD774B0}" dt="2024-03-16T16:17:35.189" v="8476" actId="207"/>
          <ac:picMkLst>
            <pc:docMk/>
            <pc:sldMk cId="4051930809" sldId="267"/>
            <ac:picMk id="28" creationId="{19757C03-50BF-DB3E-5F42-F91027F20FC1}"/>
          </ac:picMkLst>
        </pc:picChg>
        <pc:picChg chg="mod">
          <ac:chgData name="Stefan, Chantal" userId="32a90bb8-83ff-4b15-9e26-b584e5277353" providerId="ADAL" clId="{A0FA188E-4539-1B4B-8F7A-AF25ADD774B0}" dt="2024-03-16T16:17:35.189" v="8476" actId="207"/>
          <ac:picMkLst>
            <pc:docMk/>
            <pc:sldMk cId="4051930809" sldId="267"/>
            <ac:picMk id="30" creationId="{AC65165C-280F-448A-E742-5669D8D29C0B}"/>
          </ac:picMkLst>
        </pc:picChg>
        <pc:picChg chg="mod">
          <ac:chgData name="Stefan, Chantal" userId="32a90bb8-83ff-4b15-9e26-b584e5277353" providerId="ADAL" clId="{A0FA188E-4539-1B4B-8F7A-AF25ADD774B0}" dt="2024-03-16T16:17:35.189" v="8476" actId="207"/>
          <ac:picMkLst>
            <pc:docMk/>
            <pc:sldMk cId="4051930809" sldId="267"/>
            <ac:picMk id="32" creationId="{EA002C3D-F578-48F2-C255-27CFE1DAD6AE}"/>
          </ac:picMkLst>
        </pc:picChg>
        <pc:picChg chg="mod">
          <ac:chgData name="Stefan, Chantal" userId="32a90bb8-83ff-4b15-9e26-b584e5277353" providerId="ADAL" clId="{A0FA188E-4539-1B4B-8F7A-AF25ADD774B0}" dt="2024-03-16T16:17:35.189" v="8476" actId="207"/>
          <ac:picMkLst>
            <pc:docMk/>
            <pc:sldMk cId="4051930809" sldId="267"/>
            <ac:picMk id="35" creationId="{89F7A4D2-67B5-26CB-1CDB-40FEC5333CC1}"/>
          </ac:picMkLst>
        </pc:picChg>
        <pc:picChg chg="mod">
          <ac:chgData name="Stefan, Chantal" userId="32a90bb8-83ff-4b15-9e26-b584e5277353" providerId="ADAL" clId="{A0FA188E-4539-1B4B-8F7A-AF25ADD774B0}" dt="2024-03-16T16:17:35.189" v="8476" actId="207"/>
          <ac:picMkLst>
            <pc:docMk/>
            <pc:sldMk cId="4051930809" sldId="267"/>
            <ac:picMk id="39" creationId="{D4F77719-0D0D-64FB-DB63-AAB191BA48AA}"/>
          </ac:picMkLst>
        </pc:picChg>
        <pc:picChg chg="mod">
          <ac:chgData name="Stefan, Chantal" userId="32a90bb8-83ff-4b15-9e26-b584e5277353" providerId="ADAL" clId="{A0FA188E-4539-1B4B-8F7A-AF25ADD774B0}" dt="2024-03-16T16:17:35.189" v="8476" actId="207"/>
          <ac:picMkLst>
            <pc:docMk/>
            <pc:sldMk cId="4051930809" sldId="267"/>
            <ac:picMk id="43" creationId="{3A403FE5-3D81-FD60-FE64-0ABB1409B58E}"/>
          </ac:picMkLst>
        </pc:picChg>
        <pc:cxnChg chg="add mod">
          <ac:chgData name="Stefan, Chantal" userId="32a90bb8-83ff-4b15-9e26-b584e5277353" providerId="ADAL" clId="{A0FA188E-4539-1B4B-8F7A-AF25ADD774B0}" dt="2024-03-16T16:13:51.702" v="8403"/>
          <ac:cxnSpMkLst>
            <pc:docMk/>
            <pc:sldMk cId="4051930809" sldId="267"/>
            <ac:cxnSpMk id="17" creationId="{E360D291-5A2B-2CE5-A64F-3A7C9983823C}"/>
          </ac:cxnSpMkLst>
        </pc:cxnChg>
        <pc:cxnChg chg="add del mod">
          <ac:chgData name="Stefan, Chantal" userId="32a90bb8-83ff-4b15-9e26-b584e5277353" providerId="ADAL" clId="{A0FA188E-4539-1B4B-8F7A-AF25ADD774B0}" dt="2024-03-14T17:43:55.693" v="5036" actId="478"/>
          <ac:cxnSpMkLst>
            <pc:docMk/>
            <pc:sldMk cId="4051930809" sldId="267"/>
            <ac:cxnSpMk id="21" creationId="{EDA10798-3AC9-4F01-A66D-2D756F678837}"/>
          </ac:cxnSpMkLst>
        </pc:cxnChg>
        <pc:cxnChg chg="add del mod">
          <ac:chgData name="Stefan, Chantal" userId="32a90bb8-83ff-4b15-9e26-b584e5277353" providerId="ADAL" clId="{A0FA188E-4539-1B4B-8F7A-AF25ADD774B0}" dt="2024-03-14T17:43:55.693" v="5036" actId="478"/>
          <ac:cxnSpMkLst>
            <pc:docMk/>
            <pc:sldMk cId="4051930809" sldId="267"/>
            <ac:cxnSpMk id="25" creationId="{13A7E75B-77E2-F624-8EE9-982411BAC10C}"/>
          </ac:cxnSpMkLst>
        </pc:cxnChg>
        <pc:cxnChg chg="add del mod">
          <ac:chgData name="Stefan, Chantal" userId="32a90bb8-83ff-4b15-9e26-b584e5277353" providerId="ADAL" clId="{A0FA188E-4539-1B4B-8F7A-AF25ADD774B0}" dt="2024-03-14T17:43:55.693" v="5036" actId="478"/>
          <ac:cxnSpMkLst>
            <pc:docMk/>
            <pc:sldMk cId="4051930809" sldId="267"/>
            <ac:cxnSpMk id="29" creationId="{052CC170-7069-47DD-567E-4FA4D88F0B3F}"/>
          </ac:cxnSpMkLst>
        </pc:cxnChg>
        <pc:cxnChg chg="add del mod">
          <ac:chgData name="Stefan, Chantal" userId="32a90bb8-83ff-4b15-9e26-b584e5277353" providerId="ADAL" clId="{A0FA188E-4539-1B4B-8F7A-AF25ADD774B0}" dt="2024-03-14T17:43:55.693" v="5036" actId="478"/>
          <ac:cxnSpMkLst>
            <pc:docMk/>
            <pc:sldMk cId="4051930809" sldId="267"/>
            <ac:cxnSpMk id="33" creationId="{79588DBA-1C1B-6A09-201A-D173704B624F}"/>
          </ac:cxnSpMkLst>
        </pc:cxnChg>
        <pc:cxnChg chg="add del mod">
          <ac:chgData name="Stefan, Chantal" userId="32a90bb8-83ff-4b15-9e26-b584e5277353" providerId="ADAL" clId="{A0FA188E-4539-1B4B-8F7A-AF25ADD774B0}" dt="2024-03-14T17:43:24.981" v="5030" actId="478"/>
          <ac:cxnSpMkLst>
            <pc:docMk/>
            <pc:sldMk cId="4051930809" sldId="267"/>
            <ac:cxnSpMk id="51" creationId="{6C712E4B-7853-F00D-AB6C-EF44F8C20CC1}"/>
          </ac:cxnSpMkLst>
        </pc:cxnChg>
        <pc:cxnChg chg="add del mod">
          <ac:chgData name="Stefan, Chantal" userId="32a90bb8-83ff-4b15-9e26-b584e5277353" providerId="ADAL" clId="{A0FA188E-4539-1B4B-8F7A-AF25ADD774B0}" dt="2024-03-14T17:43:29.591" v="5032" actId="478"/>
          <ac:cxnSpMkLst>
            <pc:docMk/>
            <pc:sldMk cId="4051930809" sldId="267"/>
            <ac:cxnSpMk id="52" creationId="{C0B6C9C8-C5A6-5187-3E6F-CCB9CB95A727}"/>
          </ac:cxnSpMkLst>
        </pc:cxnChg>
        <pc:cxnChg chg="add del mod">
          <ac:chgData name="Stefan, Chantal" userId="32a90bb8-83ff-4b15-9e26-b584e5277353" providerId="ADAL" clId="{A0FA188E-4539-1B4B-8F7A-AF25ADD774B0}" dt="2024-03-14T17:43:55.693" v="5036" actId="478"/>
          <ac:cxnSpMkLst>
            <pc:docMk/>
            <pc:sldMk cId="4051930809" sldId="267"/>
            <ac:cxnSpMk id="53" creationId="{763BCB8A-FAE6-2FAB-08EC-35D3BBD7E802}"/>
          </ac:cxnSpMkLst>
        </pc:cxnChg>
        <pc:cxnChg chg="mod">
          <ac:chgData name="Stefan, Chantal" userId="32a90bb8-83ff-4b15-9e26-b584e5277353" providerId="ADAL" clId="{A0FA188E-4539-1B4B-8F7A-AF25ADD774B0}" dt="2024-03-16T16:13:51.702" v="8405"/>
          <ac:cxnSpMkLst>
            <pc:docMk/>
            <pc:sldMk cId="4051930809" sldId="267"/>
            <ac:cxnSpMk id="57" creationId="{C278D78F-594E-6D5C-BE41-EC63DF23B0B9}"/>
          </ac:cxnSpMkLst>
        </pc:cxnChg>
        <pc:cxnChg chg="mod">
          <ac:chgData name="Stefan, Chantal" userId="32a90bb8-83ff-4b15-9e26-b584e5277353" providerId="ADAL" clId="{A0FA188E-4539-1B4B-8F7A-AF25ADD774B0}" dt="2024-03-16T16:13:51.703" v="8407"/>
          <ac:cxnSpMkLst>
            <pc:docMk/>
            <pc:sldMk cId="4051930809" sldId="267"/>
            <ac:cxnSpMk id="61" creationId="{716035E8-8EB7-3671-2672-F7DDB1638468}"/>
          </ac:cxnSpMkLst>
        </pc:cxnChg>
        <pc:cxnChg chg="mod">
          <ac:chgData name="Stefan, Chantal" userId="32a90bb8-83ff-4b15-9e26-b584e5277353" providerId="ADAL" clId="{A0FA188E-4539-1B4B-8F7A-AF25ADD774B0}" dt="2024-03-16T16:13:51.704" v="8409"/>
          <ac:cxnSpMkLst>
            <pc:docMk/>
            <pc:sldMk cId="4051930809" sldId="267"/>
            <ac:cxnSpMk id="65" creationId="{67944D4B-E56C-2054-2FF9-C60D82AAE8C4}"/>
          </ac:cxnSpMkLst>
        </pc:cxnChg>
        <pc:cxnChg chg="mod">
          <ac:chgData name="Stefan, Chantal" userId="32a90bb8-83ff-4b15-9e26-b584e5277353" providerId="ADAL" clId="{A0FA188E-4539-1B4B-8F7A-AF25ADD774B0}" dt="2024-03-16T16:13:51.704" v="8411"/>
          <ac:cxnSpMkLst>
            <pc:docMk/>
            <pc:sldMk cId="4051930809" sldId="267"/>
            <ac:cxnSpMk id="69" creationId="{8CA220C5-79D3-1120-E90B-DDAE564A5292}"/>
          </ac:cxnSpMkLst>
        </pc:cxnChg>
        <pc:cxnChg chg="mod">
          <ac:chgData name="Stefan, Chantal" userId="32a90bb8-83ff-4b15-9e26-b584e5277353" providerId="ADAL" clId="{A0FA188E-4539-1B4B-8F7A-AF25ADD774B0}" dt="2024-03-16T16:13:51.705" v="8413"/>
          <ac:cxnSpMkLst>
            <pc:docMk/>
            <pc:sldMk cId="4051930809" sldId="267"/>
            <ac:cxnSpMk id="73" creationId="{E24FDD74-83CA-EE25-8E99-FE886ABFA3C3}"/>
          </ac:cxnSpMkLst>
        </pc:cxnChg>
      </pc:sldChg>
      <pc:sldChg chg="addSp delSp modSp add del mod ord">
        <pc:chgData name="Stefan, Chantal" userId="32a90bb8-83ff-4b15-9e26-b584e5277353" providerId="ADAL" clId="{A0FA188E-4539-1B4B-8F7A-AF25ADD774B0}" dt="2024-03-15T13:13:27.623" v="6412" actId="2696"/>
        <pc:sldMkLst>
          <pc:docMk/>
          <pc:sldMk cId="728446558" sldId="269"/>
        </pc:sldMkLst>
        <pc:spChg chg="mod">
          <ac:chgData name="Stefan, Chantal" userId="32a90bb8-83ff-4b15-9e26-b584e5277353" providerId="ADAL" clId="{A0FA188E-4539-1B4B-8F7A-AF25ADD774B0}" dt="2024-03-15T11:40:23.799" v="5726" actId="948"/>
          <ac:spMkLst>
            <pc:docMk/>
            <pc:sldMk cId="728446558" sldId="269"/>
            <ac:spMk id="2" creationId="{AC85C6E5-0874-FE22-B2C6-769FF7F5628F}"/>
          </ac:spMkLst>
        </pc:spChg>
        <pc:spChg chg="add del mod">
          <ac:chgData name="Stefan, Chantal" userId="32a90bb8-83ff-4b15-9e26-b584e5277353" providerId="ADAL" clId="{A0FA188E-4539-1B4B-8F7A-AF25ADD774B0}" dt="2024-03-15T11:37:55.292" v="5701"/>
          <ac:spMkLst>
            <pc:docMk/>
            <pc:sldMk cId="728446558" sldId="269"/>
            <ac:spMk id="9" creationId="{7A7CE1E9-AE3C-BEC0-10B7-03BC2DCFF53B}"/>
          </ac:spMkLst>
        </pc:spChg>
        <pc:graphicFrameChg chg="mod">
          <ac:chgData name="Stefan, Chantal" userId="32a90bb8-83ff-4b15-9e26-b584e5277353" providerId="ADAL" clId="{A0FA188E-4539-1B4B-8F7A-AF25ADD774B0}" dt="2024-03-15T11:40:23.805" v="5730"/>
          <ac:graphicFrameMkLst>
            <pc:docMk/>
            <pc:sldMk cId="728446558" sldId="269"/>
            <ac:graphicFrameMk id="8" creationId="{623FBC6D-3652-1BE9-62E2-15BB5E16B90A}"/>
          </ac:graphicFrameMkLst>
        </pc:graphicFrameChg>
        <pc:picChg chg="del">
          <ac:chgData name="Stefan, Chantal" userId="32a90bb8-83ff-4b15-9e26-b584e5277353" providerId="ADAL" clId="{A0FA188E-4539-1B4B-8F7A-AF25ADD774B0}" dt="2024-03-15T11:37:38.995" v="5700" actId="478"/>
          <ac:picMkLst>
            <pc:docMk/>
            <pc:sldMk cId="728446558" sldId="269"/>
            <ac:picMk id="10" creationId="{949FC6E4-0069-C3A1-EED7-44E38845824D}"/>
          </ac:picMkLst>
        </pc:picChg>
        <pc:picChg chg="add mod">
          <ac:chgData name="Stefan, Chantal" userId="32a90bb8-83ff-4b15-9e26-b584e5277353" providerId="ADAL" clId="{A0FA188E-4539-1B4B-8F7A-AF25ADD774B0}" dt="2024-03-15T11:38:06.707" v="5706" actId="1076"/>
          <ac:picMkLst>
            <pc:docMk/>
            <pc:sldMk cId="728446558" sldId="269"/>
            <ac:picMk id="12" creationId="{20981219-BA31-A251-B5B4-A63C9D3424BE}"/>
          </ac:picMkLst>
        </pc:picChg>
      </pc:sldChg>
      <pc:sldChg chg="addSp delSp modSp add del mod">
        <pc:chgData name="Stefan, Chantal" userId="32a90bb8-83ff-4b15-9e26-b584e5277353" providerId="ADAL" clId="{A0FA188E-4539-1B4B-8F7A-AF25ADD774B0}" dt="2024-03-15T13:35:15.175" v="6926" actId="2696"/>
        <pc:sldMkLst>
          <pc:docMk/>
          <pc:sldMk cId="196522971" sldId="270"/>
        </pc:sldMkLst>
        <pc:spChg chg="del">
          <ac:chgData name="Stefan, Chantal" userId="32a90bb8-83ff-4b15-9e26-b584e5277353" providerId="ADAL" clId="{A0FA188E-4539-1B4B-8F7A-AF25ADD774B0}" dt="2024-03-15T11:44:07.584" v="5898"/>
          <ac:spMkLst>
            <pc:docMk/>
            <pc:sldMk cId="196522971" sldId="270"/>
            <ac:spMk id="3" creationId="{7BA81096-439F-4334-8EF7-E55299C9D3F2}"/>
          </ac:spMkLst>
        </pc:spChg>
        <pc:picChg chg="add mod">
          <ac:chgData name="Stefan, Chantal" userId="32a90bb8-83ff-4b15-9e26-b584e5277353" providerId="ADAL" clId="{A0FA188E-4539-1B4B-8F7A-AF25ADD774B0}" dt="2024-03-15T11:44:14.794" v="5900" actId="962"/>
          <ac:picMkLst>
            <pc:docMk/>
            <pc:sldMk cId="196522971" sldId="270"/>
            <ac:picMk id="10" creationId="{025F611D-9612-452D-D914-7A8A92380710}"/>
          </ac:picMkLst>
        </pc:picChg>
      </pc:sldChg>
      <pc:sldChg chg="addSp delSp modSp new mod">
        <pc:chgData name="Stefan, Chantal" userId="32a90bb8-83ff-4b15-9e26-b584e5277353" providerId="ADAL" clId="{A0FA188E-4539-1B4B-8F7A-AF25ADD774B0}" dt="2024-03-15T14:00:32.475" v="8010" actId="20577"/>
        <pc:sldMkLst>
          <pc:docMk/>
          <pc:sldMk cId="1216228955" sldId="271"/>
        </pc:sldMkLst>
        <pc:spChg chg="mod">
          <ac:chgData name="Stefan, Chantal" userId="32a90bb8-83ff-4b15-9e26-b584e5277353" providerId="ADAL" clId="{A0FA188E-4539-1B4B-8F7A-AF25ADD774B0}" dt="2024-03-15T13:51:46.956" v="7627" actId="948"/>
          <ac:spMkLst>
            <pc:docMk/>
            <pc:sldMk cId="1216228955" sldId="271"/>
            <ac:spMk id="2" creationId="{68BE9390-D0C8-E8CA-F07E-977B0B13B828}"/>
          </ac:spMkLst>
        </pc:spChg>
        <pc:spChg chg="del">
          <ac:chgData name="Stefan, Chantal" userId="32a90bb8-83ff-4b15-9e26-b584e5277353" providerId="ADAL" clId="{A0FA188E-4539-1B4B-8F7A-AF25ADD774B0}" dt="2024-03-15T12:59:01.439" v="5929" actId="478"/>
          <ac:spMkLst>
            <pc:docMk/>
            <pc:sldMk cId="1216228955" sldId="271"/>
            <ac:spMk id="3" creationId="{E35055A1-972C-83D7-5EEB-908B7370EFFD}"/>
          </ac:spMkLst>
        </pc:spChg>
        <pc:spChg chg="mod">
          <ac:chgData name="Stefan, Chantal" userId="32a90bb8-83ff-4b15-9e26-b584e5277353" providerId="ADAL" clId="{A0FA188E-4539-1B4B-8F7A-AF25ADD774B0}" dt="2024-03-15T13:32:49.541" v="6874" actId="20577"/>
          <ac:spMkLst>
            <pc:docMk/>
            <pc:sldMk cId="1216228955" sldId="271"/>
            <ac:spMk id="6" creationId="{FF73AC2C-FFCF-54C5-7CC8-1A13D70893A1}"/>
          </ac:spMkLst>
        </pc:spChg>
        <pc:spChg chg="del">
          <ac:chgData name="Stefan, Chantal" userId="32a90bb8-83ff-4b15-9e26-b584e5277353" providerId="ADAL" clId="{A0FA188E-4539-1B4B-8F7A-AF25ADD774B0}" dt="2024-03-15T12:58:56.574" v="5927" actId="478"/>
          <ac:spMkLst>
            <pc:docMk/>
            <pc:sldMk cId="1216228955" sldId="271"/>
            <ac:spMk id="7" creationId="{4291E5B1-12AA-B836-CA73-CAD62C1F0C95}"/>
          </ac:spMkLst>
        </pc:spChg>
        <pc:spChg chg="add mod">
          <ac:chgData name="Stefan, Chantal" userId="32a90bb8-83ff-4b15-9e26-b584e5277353" providerId="ADAL" clId="{A0FA188E-4539-1B4B-8F7A-AF25ADD774B0}" dt="2024-03-15T13:02:04.017" v="5982" actId="20577"/>
          <ac:spMkLst>
            <pc:docMk/>
            <pc:sldMk cId="1216228955" sldId="271"/>
            <ac:spMk id="10" creationId="{F3FA0A8A-8092-0D06-0F3A-EDAC2A2B729D}"/>
          </ac:spMkLst>
        </pc:spChg>
        <pc:spChg chg="add mod">
          <ac:chgData name="Stefan, Chantal" userId="32a90bb8-83ff-4b15-9e26-b584e5277353" providerId="ADAL" clId="{A0FA188E-4539-1B4B-8F7A-AF25ADD774B0}" dt="2024-03-15T14:00:32.475" v="8010" actId="20577"/>
          <ac:spMkLst>
            <pc:docMk/>
            <pc:sldMk cId="1216228955" sldId="271"/>
            <ac:spMk id="11" creationId="{FCA6FEFB-0DE0-D6D4-31B7-FF9B047F65EB}"/>
          </ac:spMkLst>
        </pc:spChg>
        <pc:spChg chg="add del mod">
          <ac:chgData name="Stefan, Chantal" userId="32a90bb8-83ff-4b15-9e26-b584e5277353" providerId="ADAL" clId="{A0FA188E-4539-1B4B-8F7A-AF25ADD774B0}" dt="2024-03-15T13:07:51.607" v="6021" actId="478"/>
          <ac:spMkLst>
            <pc:docMk/>
            <pc:sldMk cId="1216228955" sldId="271"/>
            <ac:spMk id="12" creationId="{AFC6BE51-6195-B665-3767-D74F401FE3A5}"/>
          </ac:spMkLst>
        </pc:spChg>
        <pc:spChg chg="add mod">
          <ac:chgData name="Stefan, Chantal" userId="32a90bb8-83ff-4b15-9e26-b584e5277353" providerId="ADAL" clId="{A0FA188E-4539-1B4B-8F7A-AF25ADD774B0}" dt="2024-03-15T14:00:27.984" v="8009" actId="20577"/>
          <ac:spMkLst>
            <pc:docMk/>
            <pc:sldMk cId="1216228955" sldId="271"/>
            <ac:spMk id="13" creationId="{F88EFBCE-FB26-209E-2F93-DC26D38D702A}"/>
          </ac:spMkLst>
        </pc:spChg>
        <pc:spChg chg="add mod">
          <ac:chgData name="Stefan, Chantal" userId="32a90bb8-83ff-4b15-9e26-b584e5277353" providerId="ADAL" clId="{A0FA188E-4539-1B4B-8F7A-AF25ADD774B0}" dt="2024-03-15T14:00:22.952" v="8008" actId="20577"/>
          <ac:spMkLst>
            <pc:docMk/>
            <pc:sldMk cId="1216228955" sldId="271"/>
            <ac:spMk id="14" creationId="{A7C07C61-E451-186A-B0B7-7D2ACA5BCF68}"/>
          </ac:spMkLst>
        </pc:spChg>
        <pc:spChg chg="add mod">
          <ac:chgData name="Stefan, Chantal" userId="32a90bb8-83ff-4b15-9e26-b584e5277353" providerId="ADAL" clId="{A0FA188E-4539-1B4B-8F7A-AF25ADD774B0}" dt="2024-03-15T14:00:13.201" v="8007" actId="1036"/>
          <ac:spMkLst>
            <pc:docMk/>
            <pc:sldMk cId="1216228955" sldId="271"/>
            <ac:spMk id="15" creationId="{C58E0C67-61EE-0B06-4C10-4D3E7D74553B}"/>
          </ac:spMkLst>
        </pc:spChg>
        <pc:spChg chg="add del mod modVis">
          <ac:chgData name="Stefan, Chantal" userId="32a90bb8-83ff-4b15-9e26-b584e5277353" providerId="ADAL" clId="{A0FA188E-4539-1B4B-8F7A-AF25ADD774B0}" dt="2024-03-15T13:11:46.263" v="6127" actId="962"/>
          <ac:spMkLst>
            <pc:docMk/>
            <pc:sldMk cId="1216228955" sldId="271"/>
            <ac:spMk id="16" creationId="{BEA6DF16-D556-B40A-FDE1-928354512598}"/>
          </ac:spMkLst>
        </pc:spChg>
        <pc:spChg chg="add del mod modVis">
          <ac:chgData name="Stefan, Chantal" userId="32a90bb8-83ff-4b15-9e26-b584e5277353" providerId="ADAL" clId="{A0FA188E-4539-1B4B-8F7A-AF25ADD774B0}" dt="2024-03-15T13:11:50.163" v="6156"/>
          <ac:spMkLst>
            <pc:docMk/>
            <pc:sldMk cId="1216228955" sldId="271"/>
            <ac:spMk id="18" creationId="{9BF52A1A-B967-59CB-7839-181260542254}"/>
          </ac:spMkLst>
        </pc:spChg>
        <pc:spChg chg="add del mod modVis">
          <ac:chgData name="Stefan, Chantal" userId="32a90bb8-83ff-4b15-9e26-b584e5277353" providerId="ADAL" clId="{A0FA188E-4539-1B4B-8F7A-AF25ADD774B0}" dt="2024-03-15T13:11:57.410" v="6198"/>
          <ac:spMkLst>
            <pc:docMk/>
            <pc:sldMk cId="1216228955" sldId="271"/>
            <ac:spMk id="20" creationId="{8FF84D50-2D6E-673E-3188-5A841F48DD6B}"/>
          </ac:spMkLst>
        </pc:spChg>
        <pc:spChg chg="add del mod modVis">
          <ac:chgData name="Stefan, Chantal" userId="32a90bb8-83ff-4b15-9e26-b584e5277353" providerId="ADAL" clId="{A0FA188E-4539-1B4B-8F7A-AF25ADD774B0}" dt="2024-03-15T13:11:58.352" v="6226"/>
          <ac:spMkLst>
            <pc:docMk/>
            <pc:sldMk cId="1216228955" sldId="271"/>
            <ac:spMk id="21" creationId="{ACCB32B6-385A-7954-84A6-5D176863D402}"/>
          </ac:spMkLst>
        </pc:spChg>
        <pc:spChg chg="add del mod modVis">
          <ac:chgData name="Stefan, Chantal" userId="32a90bb8-83ff-4b15-9e26-b584e5277353" providerId="ADAL" clId="{A0FA188E-4539-1B4B-8F7A-AF25ADD774B0}" dt="2024-03-15T13:12:17.355" v="6257"/>
          <ac:spMkLst>
            <pc:docMk/>
            <pc:sldMk cId="1216228955" sldId="271"/>
            <ac:spMk id="22" creationId="{E4D5A487-BDBB-B859-1AE8-69943B05BEE3}"/>
          </ac:spMkLst>
        </pc:spChg>
        <pc:spChg chg="add del mod modVis">
          <ac:chgData name="Stefan, Chantal" userId="32a90bb8-83ff-4b15-9e26-b584e5277353" providerId="ADAL" clId="{A0FA188E-4539-1B4B-8F7A-AF25ADD774B0}" dt="2024-03-15T13:12:18.628" v="6285"/>
          <ac:spMkLst>
            <pc:docMk/>
            <pc:sldMk cId="1216228955" sldId="271"/>
            <ac:spMk id="23" creationId="{E2F30DD4-F8DB-42DA-97D6-373501172AAB}"/>
          </ac:spMkLst>
        </pc:spChg>
        <pc:spChg chg="add del mod modVis">
          <ac:chgData name="Stefan, Chantal" userId="32a90bb8-83ff-4b15-9e26-b584e5277353" providerId="ADAL" clId="{A0FA188E-4539-1B4B-8F7A-AF25ADD774B0}" dt="2024-03-15T13:12:21.441" v="6321"/>
          <ac:spMkLst>
            <pc:docMk/>
            <pc:sldMk cId="1216228955" sldId="271"/>
            <ac:spMk id="24" creationId="{3C5C08F5-6948-F5F7-322D-C3C686AEC962}"/>
          </ac:spMkLst>
        </pc:spChg>
        <pc:spChg chg="add del mod modVis">
          <ac:chgData name="Stefan, Chantal" userId="32a90bb8-83ff-4b15-9e26-b584e5277353" providerId="ADAL" clId="{A0FA188E-4539-1B4B-8F7A-AF25ADD774B0}" dt="2024-03-15T13:12:27.993" v="6349"/>
          <ac:spMkLst>
            <pc:docMk/>
            <pc:sldMk cId="1216228955" sldId="271"/>
            <ac:spMk id="25" creationId="{610BB197-C87B-2853-8F89-18F8E382E3A1}"/>
          </ac:spMkLst>
        </pc:spChg>
        <pc:spChg chg="add del mod modVis">
          <ac:chgData name="Stefan, Chantal" userId="32a90bb8-83ff-4b15-9e26-b584e5277353" providerId="ADAL" clId="{A0FA188E-4539-1B4B-8F7A-AF25ADD774B0}" dt="2024-03-15T13:12:46.090" v="6379"/>
          <ac:spMkLst>
            <pc:docMk/>
            <pc:sldMk cId="1216228955" sldId="271"/>
            <ac:spMk id="26" creationId="{7F7288B8-67A8-559D-64A0-95A8B428D32D}"/>
          </ac:spMkLst>
        </pc:spChg>
        <pc:spChg chg="add del mod modVis">
          <ac:chgData name="Stefan, Chantal" userId="32a90bb8-83ff-4b15-9e26-b584e5277353" providerId="ADAL" clId="{A0FA188E-4539-1B4B-8F7A-AF25ADD774B0}" dt="2024-03-15T13:12:47.491" v="6408"/>
          <ac:spMkLst>
            <pc:docMk/>
            <pc:sldMk cId="1216228955" sldId="271"/>
            <ac:spMk id="27" creationId="{880A2A4C-15D7-BF5A-ACF4-1239A6E5780D}"/>
          </ac:spMkLst>
        </pc:spChg>
        <pc:spChg chg="add del mod modVis">
          <ac:chgData name="Stefan, Chantal" userId="32a90bb8-83ff-4b15-9e26-b584e5277353" providerId="ADAL" clId="{A0FA188E-4539-1B4B-8F7A-AF25ADD774B0}" dt="2024-03-15T13:51:46.984" v="7651"/>
          <ac:spMkLst>
            <pc:docMk/>
            <pc:sldMk cId="1216228955" sldId="271"/>
            <ac:spMk id="28" creationId="{AD70CA3A-2F47-39B7-9C87-F99C9903DEFB}"/>
          </ac:spMkLst>
        </pc:spChg>
        <pc:graphicFrameChg chg="add mod modVis replST delST">
          <ac:chgData name="Stefan, Chantal" userId="32a90bb8-83ff-4b15-9e26-b584e5277353" providerId="ADAL" clId="{A0FA188E-4539-1B4B-8F7A-AF25ADD774B0}" dt="2024-03-15T13:11:46.075" v="6107" actId="14100"/>
          <ac:graphicFrameMkLst>
            <pc:docMk/>
            <pc:sldMk cId="1216228955" sldId="271"/>
            <ac:graphicFrameMk id="17" creationId="{29F96D4D-63CB-D3C1-024C-C107D58A7508}"/>
          </ac:graphicFrameMkLst>
        </pc:graphicFrameChg>
        <pc:graphicFrameChg chg="add mod modVis replST">
          <ac:chgData name="Stefan, Chantal" userId="32a90bb8-83ff-4b15-9e26-b584e5277353" providerId="ADAL" clId="{A0FA188E-4539-1B4B-8F7A-AF25ADD774B0}" dt="2024-03-15T13:51:46.986" v="7653"/>
          <ac:graphicFrameMkLst>
            <pc:docMk/>
            <pc:sldMk cId="1216228955" sldId="271"/>
            <ac:graphicFrameMk id="19" creationId="{78CFE8B2-31EB-D409-CC1E-14D103DBD7DB}"/>
          </ac:graphicFrameMkLst>
        </pc:graphicFrameChg>
        <pc:picChg chg="add mod">
          <ac:chgData name="Stefan, Chantal" userId="32a90bb8-83ff-4b15-9e26-b584e5277353" providerId="ADAL" clId="{A0FA188E-4539-1B4B-8F7A-AF25ADD774B0}" dt="2024-03-15T13:01:56.098" v="5966" actId="1076"/>
          <ac:picMkLst>
            <pc:docMk/>
            <pc:sldMk cId="1216228955" sldId="271"/>
            <ac:picMk id="9" creationId="{9A0FD665-2292-8060-89ED-17B2D1B3844A}"/>
          </ac:picMkLst>
        </pc:picChg>
      </pc:sldChg>
      <pc:sldChg chg="addSp delSp modSp add mod">
        <pc:chgData name="Stefan, Chantal" userId="32a90bb8-83ff-4b15-9e26-b584e5277353" providerId="ADAL" clId="{A0FA188E-4539-1B4B-8F7A-AF25ADD774B0}" dt="2024-03-15T13:58:28.575" v="7873" actId="20577"/>
        <pc:sldMkLst>
          <pc:docMk/>
          <pc:sldMk cId="1387551283" sldId="272"/>
        </pc:sldMkLst>
        <pc:spChg chg="mod">
          <ac:chgData name="Stefan, Chantal" userId="32a90bb8-83ff-4b15-9e26-b584e5277353" providerId="ADAL" clId="{A0FA188E-4539-1B4B-8F7A-AF25ADD774B0}" dt="2024-03-15T13:51:42.386" v="7599" actId="948"/>
          <ac:spMkLst>
            <pc:docMk/>
            <pc:sldMk cId="1387551283" sldId="272"/>
            <ac:spMk id="2" creationId="{68BE9390-D0C8-E8CA-F07E-977B0B13B828}"/>
          </ac:spMkLst>
        </pc:spChg>
        <pc:spChg chg="mod">
          <ac:chgData name="Stefan, Chantal" userId="32a90bb8-83ff-4b15-9e26-b584e5277353" providerId="ADAL" clId="{A0FA188E-4539-1B4B-8F7A-AF25ADD774B0}" dt="2024-03-15T13:32:54.661" v="6876" actId="20577"/>
          <ac:spMkLst>
            <pc:docMk/>
            <pc:sldMk cId="1387551283" sldId="272"/>
            <ac:spMk id="6" creationId="{FF73AC2C-FFCF-54C5-7CC8-1A13D70893A1}"/>
          </ac:spMkLst>
        </pc:spChg>
        <pc:spChg chg="add del mod modVis">
          <ac:chgData name="Stefan, Chantal" userId="32a90bb8-83ff-4b15-9e26-b584e5277353" providerId="ADAL" clId="{A0FA188E-4539-1B4B-8F7A-AF25ADD774B0}" dt="2024-03-15T13:15:29.563" v="6463"/>
          <ac:spMkLst>
            <pc:docMk/>
            <pc:sldMk cId="1387551283" sldId="272"/>
            <ac:spMk id="7" creationId="{0114E7BD-D546-121F-4E9B-D016949A27E2}"/>
          </ac:spMkLst>
        </pc:spChg>
        <pc:spChg chg="mod">
          <ac:chgData name="Stefan, Chantal" userId="32a90bb8-83ff-4b15-9e26-b584e5277353" providerId="ADAL" clId="{A0FA188E-4539-1B4B-8F7A-AF25ADD774B0}" dt="2024-03-15T13:13:49.133" v="6417" actId="20577"/>
          <ac:spMkLst>
            <pc:docMk/>
            <pc:sldMk cId="1387551283" sldId="272"/>
            <ac:spMk id="10" creationId="{F3FA0A8A-8092-0D06-0F3A-EDAC2A2B729D}"/>
          </ac:spMkLst>
        </pc:spChg>
        <pc:spChg chg="mod">
          <ac:chgData name="Stefan, Chantal" userId="32a90bb8-83ff-4b15-9e26-b584e5277353" providerId="ADAL" clId="{A0FA188E-4539-1B4B-8F7A-AF25ADD774B0}" dt="2024-03-15T13:18:34.023" v="6778" actId="14100"/>
          <ac:spMkLst>
            <pc:docMk/>
            <pc:sldMk cId="1387551283" sldId="272"/>
            <ac:spMk id="11" creationId="{FCA6FEFB-0DE0-D6D4-31B7-FF9B047F65EB}"/>
          </ac:spMkLst>
        </pc:spChg>
        <pc:spChg chg="add del mod modVis">
          <ac:chgData name="Stefan, Chantal" userId="32a90bb8-83ff-4b15-9e26-b584e5277353" providerId="ADAL" clId="{A0FA188E-4539-1B4B-8F7A-AF25ADD774B0}" dt="2024-03-15T13:15:34.453" v="6491"/>
          <ac:spMkLst>
            <pc:docMk/>
            <pc:sldMk cId="1387551283" sldId="272"/>
            <ac:spMk id="12" creationId="{2E524587-1BDC-72F2-47CE-233FD3D5E9A6}"/>
          </ac:spMkLst>
        </pc:spChg>
        <pc:spChg chg="mod">
          <ac:chgData name="Stefan, Chantal" userId="32a90bb8-83ff-4b15-9e26-b584e5277353" providerId="ADAL" clId="{A0FA188E-4539-1B4B-8F7A-AF25ADD774B0}" dt="2024-03-15T13:20:26.780" v="6822" actId="20577"/>
          <ac:spMkLst>
            <pc:docMk/>
            <pc:sldMk cId="1387551283" sldId="272"/>
            <ac:spMk id="13" creationId="{F88EFBCE-FB26-209E-2F93-DC26D38D702A}"/>
          </ac:spMkLst>
        </pc:spChg>
        <pc:spChg chg="mod">
          <ac:chgData name="Stefan, Chantal" userId="32a90bb8-83ff-4b15-9e26-b584e5277353" providerId="ADAL" clId="{A0FA188E-4539-1B4B-8F7A-AF25ADD774B0}" dt="2024-03-15T13:58:25.699" v="7872" actId="20577"/>
          <ac:spMkLst>
            <pc:docMk/>
            <pc:sldMk cId="1387551283" sldId="272"/>
            <ac:spMk id="14" creationId="{A7C07C61-E451-186A-B0B7-7D2ACA5BCF68}"/>
          </ac:spMkLst>
        </pc:spChg>
        <pc:spChg chg="mod">
          <ac:chgData name="Stefan, Chantal" userId="32a90bb8-83ff-4b15-9e26-b584e5277353" providerId="ADAL" clId="{A0FA188E-4539-1B4B-8F7A-AF25ADD774B0}" dt="2024-03-15T13:58:28.575" v="7873" actId="20577"/>
          <ac:spMkLst>
            <pc:docMk/>
            <pc:sldMk cId="1387551283" sldId="272"/>
            <ac:spMk id="15" creationId="{C58E0C67-61EE-0B06-4C10-4D3E7D74553B}"/>
          </ac:spMkLst>
        </pc:spChg>
        <pc:spChg chg="add del mod modVis">
          <ac:chgData name="Stefan, Chantal" userId="32a90bb8-83ff-4b15-9e26-b584e5277353" providerId="ADAL" clId="{A0FA188E-4539-1B4B-8F7A-AF25ADD774B0}" dt="2024-03-15T13:15:37.041" v="6520"/>
          <ac:spMkLst>
            <pc:docMk/>
            <pc:sldMk cId="1387551283" sldId="272"/>
            <ac:spMk id="16" creationId="{E7D6879D-5238-B9BF-C04C-8BB0E4E01615}"/>
          </ac:spMkLst>
        </pc:spChg>
        <pc:spChg chg="add del mod modVis">
          <ac:chgData name="Stefan, Chantal" userId="32a90bb8-83ff-4b15-9e26-b584e5277353" providerId="ADAL" clId="{A0FA188E-4539-1B4B-8F7A-AF25ADD774B0}" dt="2024-03-15T13:15:37.973" v="6548"/>
          <ac:spMkLst>
            <pc:docMk/>
            <pc:sldMk cId="1387551283" sldId="272"/>
            <ac:spMk id="17" creationId="{31F7E890-AFA0-2CA0-47C0-60A19FC97EFC}"/>
          </ac:spMkLst>
        </pc:spChg>
        <pc:spChg chg="add del mod modVis">
          <ac:chgData name="Stefan, Chantal" userId="32a90bb8-83ff-4b15-9e26-b584e5277353" providerId="ADAL" clId="{A0FA188E-4539-1B4B-8F7A-AF25ADD774B0}" dt="2024-03-15T13:15:45.722" v="6576"/>
          <ac:spMkLst>
            <pc:docMk/>
            <pc:sldMk cId="1387551283" sldId="272"/>
            <ac:spMk id="18" creationId="{D222D73E-428B-00A6-8F1E-FF491789AF60}"/>
          </ac:spMkLst>
        </pc:spChg>
        <pc:spChg chg="add del mod modVis">
          <ac:chgData name="Stefan, Chantal" userId="32a90bb8-83ff-4b15-9e26-b584e5277353" providerId="ADAL" clId="{A0FA188E-4539-1B4B-8F7A-AF25ADD774B0}" dt="2024-03-15T13:15:46.648" v="6604"/>
          <ac:spMkLst>
            <pc:docMk/>
            <pc:sldMk cId="1387551283" sldId="272"/>
            <ac:spMk id="20" creationId="{F6383E65-28F4-23A9-C069-A264F8657B57}"/>
          </ac:spMkLst>
        </pc:spChg>
        <pc:spChg chg="add del mod modVis">
          <ac:chgData name="Stefan, Chantal" userId="32a90bb8-83ff-4b15-9e26-b584e5277353" providerId="ADAL" clId="{A0FA188E-4539-1B4B-8F7A-AF25ADD774B0}" dt="2024-03-15T13:15:50.137" v="6632"/>
          <ac:spMkLst>
            <pc:docMk/>
            <pc:sldMk cId="1387551283" sldId="272"/>
            <ac:spMk id="21" creationId="{5DFD99C1-611B-F34B-6F95-D138A2496B3F}"/>
          </ac:spMkLst>
        </pc:spChg>
        <pc:spChg chg="add del mod modVis">
          <ac:chgData name="Stefan, Chantal" userId="32a90bb8-83ff-4b15-9e26-b584e5277353" providerId="ADAL" clId="{A0FA188E-4539-1B4B-8F7A-AF25ADD774B0}" dt="2024-03-15T13:15:59.051" v="6668"/>
          <ac:spMkLst>
            <pc:docMk/>
            <pc:sldMk cId="1387551283" sldId="272"/>
            <ac:spMk id="22" creationId="{69109637-8B2C-569E-5A6A-CA243BD662A0}"/>
          </ac:spMkLst>
        </pc:spChg>
        <pc:spChg chg="add del mod modVis">
          <ac:chgData name="Stefan, Chantal" userId="32a90bb8-83ff-4b15-9e26-b584e5277353" providerId="ADAL" clId="{A0FA188E-4539-1B4B-8F7A-AF25ADD774B0}" dt="2024-03-15T13:16:03.234" v="6710"/>
          <ac:spMkLst>
            <pc:docMk/>
            <pc:sldMk cId="1387551283" sldId="272"/>
            <ac:spMk id="23" creationId="{9AE8AAB5-C0CF-2250-9C6F-26656B097C76}"/>
          </ac:spMkLst>
        </pc:spChg>
        <pc:spChg chg="add del mod modVis">
          <ac:chgData name="Stefan, Chantal" userId="32a90bb8-83ff-4b15-9e26-b584e5277353" providerId="ADAL" clId="{A0FA188E-4539-1B4B-8F7A-AF25ADD774B0}" dt="2024-03-15T13:16:04.332" v="6741"/>
          <ac:spMkLst>
            <pc:docMk/>
            <pc:sldMk cId="1387551283" sldId="272"/>
            <ac:spMk id="24" creationId="{A06E1451-7F83-7273-5431-96BC1CBF8368}"/>
          </ac:spMkLst>
        </pc:spChg>
        <pc:spChg chg="add del mod modVis">
          <ac:chgData name="Stefan, Chantal" userId="32a90bb8-83ff-4b15-9e26-b584e5277353" providerId="ADAL" clId="{A0FA188E-4539-1B4B-8F7A-AF25ADD774B0}" dt="2024-03-15T13:16:05.291" v="6769"/>
          <ac:spMkLst>
            <pc:docMk/>
            <pc:sldMk cId="1387551283" sldId="272"/>
            <ac:spMk id="25" creationId="{B6D76405-7E5E-3EAD-F185-B1D301FAB3C0}"/>
          </ac:spMkLst>
        </pc:spChg>
        <pc:spChg chg="add del mod modVis">
          <ac:chgData name="Stefan, Chantal" userId="32a90bb8-83ff-4b15-9e26-b584e5277353" providerId="ADAL" clId="{A0FA188E-4539-1B4B-8F7A-AF25ADD774B0}" dt="2024-03-15T13:51:42.415" v="7623"/>
          <ac:spMkLst>
            <pc:docMk/>
            <pc:sldMk cId="1387551283" sldId="272"/>
            <ac:spMk id="26" creationId="{53CB9423-ECFB-08B9-D234-68FD32538FD7}"/>
          </ac:spMkLst>
        </pc:spChg>
        <pc:graphicFrameChg chg="mod">
          <ac:chgData name="Stefan, Chantal" userId="32a90bb8-83ff-4b15-9e26-b584e5277353" providerId="ADAL" clId="{A0FA188E-4539-1B4B-8F7A-AF25ADD774B0}" dt="2024-03-15T13:51:42.419" v="7625"/>
          <ac:graphicFrameMkLst>
            <pc:docMk/>
            <pc:sldMk cId="1387551283" sldId="272"/>
            <ac:graphicFrameMk id="19" creationId="{78CFE8B2-31EB-D409-CC1E-14D103DBD7DB}"/>
          </ac:graphicFrameMkLst>
        </pc:graphicFrameChg>
        <pc:picChg chg="add mod">
          <ac:chgData name="Stefan, Chantal" userId="32a90bb8-83ff-4b15-9e26-b584e5277353" providerId="ADAL" clId="{A0FA188E-4539-1B4B-8F7A-AF25ADD774B0}" dt="2024-03-15T13:13:43.400" v="6415" actId="14100"/>
          <ac:picMkLst>
            <pc:docMk/>
            <pc:sldMk cId="1387551283" sldId="272"/>
            <ac:picMk id="3" creationId="{76E3F02E-AC8B-B3D9-9DBA-FB0815C9EBE5}"/>
          </ac:picMkLst>
        </pc:picChg>
      </pc:sldChg>
      <pc:sldChg chg="addSp delSp modSp add mod">
        <pc:chgData name="Stefan, Chantal" userId="32a90bb8-83ff-4b15-9e26-b584e5277353" providerId="ADAL" clId="{A0FA188E-4539-1B4B-8F7A-AF25ADD774B0}" dt="2024-03-16T16:24:35.318" v="8598"/>
        <pc:sldMkLst>
          <pc:docMk/>
          <pc:sldMk cId="2816754024" sldId="273"/>
        </pc:sldMkLst>
        <pc:spChg chg="mod">
          <ac:chgData name="Stefan, Chantal" userId="32a90bb8-83ff-4b15-9e26-b584e5277353" providerId="ADAL" clId="{A0FA188E-4539-1B4B-8F7A-AF25ADD774B0}" dt="2024-03-16T16:24:35.288" v="8572" actId="948"/>
          <ac:spMkLst>
            <pc:docMk/>
            <pc:sldMk cId="2816754024" sldId="273"/>
            <ac:spMk id="2" creationId="{68BE9390-D0C8-E8CA-F07E-977B0B13B828}"/>
          </ac:spMkLst>
        </pc:spChg>
        <pc:spChg chg="add del mod modVis">
          <ac:chgData name="Stefan, Chantal" userId="32a90bb8-83ff-4b15-9e26-b584e5277353" providerId="ADAL" clId="{A0FA188E-4539-1B4B-8F7A-AF25ADD774B0}" dt="2024-03-16T16:24:19.731" v="8568"/>
          <ac:spMkLst>
            <pc:docMk/>
            <pc:sldMk cId="2816754024" sldId="273"/>
            <ac:spMk id="3" creationId="{CD50DD2A-7B7E-A4AD-017B-ABCDC026256F}"/>
          </ac:spMkLst>
        </pc:spChg>
        <pc:spChg chg="add del mod modVis">
          <ac:chgData name="Stefan, Chantal" userId="32a90bb8-83ff-4b15-9e26-b584e5277353" providerId="ADAL" clId="{A0FA188E-4539-1B4B-8F7A-AF25ADD774B0}" dt="2024-03-16T16:24:35.315" v="8596"/>
          <ac:spMkLst>
            <pc:docMk/>
            <pc:sldMk cId="2816754024" sldId="273"/>
            <ac:spMk id="5" creationId="{A764F0D3-DA76-8B60-6D74-0E28C232ACFA}"/>
          </ac:spMkLst>
        </pc:spChg>
        <pc:spChg chg="mod">
          <ac:chgData name="Stefan, Chantal" userId="32a90bb8-83ff-4b15-9e26-b584e5277353" providerId="ADAL" clId="{A0FA188E-4539-1B4B-8F7A-AF25ADD774B0}" dt="2024-03-15T13:33:11.511" v="6905" actId="20577"/>
          <ac:spMkLst>
            <pc:docMk/>
            <pc:sldMk cId="2816754024" sldId="273"/>
            <ac:spMk id="6" creationId="{FF73AC2C-FFCF-54C5-7CC8-1A13D70893A1}"/>
          </ac:spMkLst>
        </pc:spChg>
        <pc:spChg chg="mod">
          <ac:chgData name="Stefan, Chantal" userId="32a90bb8-83ff-4b15-9e26-b584e5277353" providerId="ADAL" clId="{A0FA188E-4539-1B4B-8F7A-AF25ADD774B0}" dt="2024-03-15T13:33:16.209" v="6907" actId="20577"/>
          <ac:spMkLst>
            <pc:docMk/>
            <pc:sldMk cId="2816754024" sldId="273"/>
            <ac:spMk id="10" creationId="{F3FA0A8A-8092-0D06-0F3A-EDAC2A2B729D}"/>
          </ac:spMkLst>
        </pc:spChg>
        <pc:spChg chg="mod">
          <ac:chgData name="Stefan, Chantal" userId="32a90bb8-83ff-4b15-9e26-b584e5277353" providerId="ADAL" clId="{A0FA188E-4539-1B4B-8F7A-AF25ADD774B0}" dt="2024-03-15T13:37:21.861" v="6971" actId="20577"/>
          <ac:spMkLst>
            <pc:docMk/>
            <pc:sldMk cId="2816754024" sldId="273"/>
            <ac:spMk id="11" creationId="{FCA6FEFB-0DE0-D6D4-31B7-FF9B047F65EB}"/>
          </ac:spMkLst>
        </pc:spChg>
        <pc:spChg chg="mod">
          <ac:chgData name="Stefan, Chantal" userId="32a90bb8-83ff-4b15-9e26-b584e5277353" providerId="ADAL" clId="{A0FA188E-4539-1B4B-8F7A-AF25ADD774B0}" dt="2024-03-15T13:40:26.805" v="6991" actId="1035"/>
          <ac:spMkLst>
            <pc:docMk/>
            <pc:sldMk cId="2816754024" sldId="273"/>
            <ac:spMk id="13" creationId="{F88EFBCE-FB26-209E-2F93-DC26D38D702A}"/>
          </ac:spMkLst>
        </pc:spChg>
        <pc:spChg chg="mod">
          <ac:chgData name="Stefan, Chantal" userId="32a90bb8-83ff-4b15-9e26-b584e5277353" providerId="ADAL" clId="{A0FA188E-4539-1B4B-8F7A-AF25ADD774B0}" dt="2024-03-15T13:40:31.076" v="6994" actId="1035"/>
          <ac:spMkLst>
            <pc:docMk/>
            <pc:sldMk cId="2816754024" sldId="273"/>
            <ac:spMk id="14" creationId="{A7C07C61-E451-186A-B0B7-7D2ACA5BCF68}"/>
          </ac:spMkLst>
        </pc:spChg>
        <pc:spChg chg="mod">
          <ac:chgData name="Stefan, Chantal" userId="32a90bb8-83ff-4b15-9e26-b584e5277353" providerId="ADAL" clId="{A0FA188E-4539-1B4B-8F7A-AF25ADD774B0}" dt="2024-03-15T13:40:34.940" v="6995" actId="1035"/>
          <ac:spMkLst>
            <pc:docMk/>
            <pc:sldMk cId="2816754024" sldId="273"/>
            <ac:spMk id="15" creationId="{C58E0C67-61EE-0B06-4C10-4D3E7D74553B}"/>
          </ac:spMkLst>
        </pc:spChg>
        <pc:spChg chg="add del mod">
          <ac:chgData name="Stefan, Chantal" userId="32a90bb8-83ff-4b15-9e26-b584e5277353" providerId="ADAL" clId="{A0FA188E-4539-1B4B-8F7A-AF25ADD774B0}" dt="2024-03-15T13:32:39.051" v="6870" actId="478"/>
          <ac:spMkLst>
            <pc:docMk/>
            <pc:sldMk cId="2816754024" sldId="273"/>
            <ac:spMk id="16" creationId="{08BB916D-6EBE-A1C7-7A6C-5C0236AAB387}"/>
          </ac:spMkLst>
        </pc:spChg>
        <pc:spChg chg="add del mod modVis">
          <ac:chgData name="Stefan, Chantal" userId="32a90bb8-83ff-4b15-9e26-b584e5277353" providerId="ADAL" clId="{A0FA188E-4539-1B4B-8F7A-AF25ADD774B0}" dt="2024-03-15T13:41:29.886" v="7035"/>
          <ac:spMkLst>
            <pc:docMk/>
            <pc:sldMk cId="2816754024" sldId="273"/>
            <ac:spMk id="17" creationId="{548EAA76-E104-1DAE-029D-BA076325E9AA}"/>
          </ac:spMkLst>
        </pc:spChg>
        <pc:spChg chg="add del mod modVis">
          <ac:chgData name="Stefan, Chantal" userId="32a90bb8-83ff-4b15-9e26-b584e5277353" providerId="ADAL" clId="{A0FA188E-4539-1B4B-8F7A-AF25ADD774B0}" dt="2024-03-15T13:41:31.912" v="7072"/>
          <ac:spMkLst>
            <pc:docMk/>
            <pc:sldMk cId="2816754024" sldId="273"/>
            <ac:spMk id="18" creationId="{4E346785-57AE-869C-9661-CA3B6DCCA59F}"/>
          </ac:spMkLst>
        </pc:spChg>
        <pc:spChg chg="add del mod modVis">
          <ac:chgData name="Stefan, Chantal" userId="32a90bb8-83ff-4b15-9e26-b584e5277353" providerId="ADAL" clId="{A0FA188E-4539-1B4B-8F7A-AF25ADD774B0}" dt="2024-03-15T13:41:33.699" v="7103"/>
          <ac:spMkLst>
            <pc:docMk/>
            <pc:sldMk cId="2816754024" sldId="273"/>
            <ac:spMk id="20" creationId="{D8EFD26F-E28A-C29A-5296-7461F88A6372}"/>
          </ac:spMkLst>
        </pc:spChg>
        <pc:spChg chg="add del mod modVis">
          <ac:chgData name="Stefan, Chantal" userId="32a90bb8-83ff-4b15-9e26-b584e5277353" providerId="ADAL" clId="{A0FA188E-4539-1B4B-8F7A-AF25ADD774B0}" dt="2024-03-15T13:41:38.715" v="7134"/>
          <ac:spMkLst>
            <pc:docMk/>
            <pc:sldMk cId="2816754024" sldId="273"/>
            <ac:spMk id="21" creationId="{D228B3BE-10B8-169A-12EC-DD32A52A116F}"/>
          </ac:spMkLst>
        </pc:spChg>
        <pc:spChg chg="add del mod modVis">
          <ac:chgData name="Stefan, Chantal" userId="32a90bb8-83ff-4b15-9e26-b584e5277353" providerId="ADAL" clId="{A0FA188E-4539-1B4B-8F7A-AF25ADD774B0}" dt="2024-03-15T13:41:40.725" v="7167"/>
          <ac:spMkLst>
            <pc:docMk/>
            <pc:sldMk cId="2816754024" sldId="273"/>
            <ac:spMk id="22" creationId="{69DBCBFB-5535-C384-274F-327F506E14EA}"/>
          </ac:spMkLst>
        </pc:spChg>
        <pc:spChg chg="add del mod modVis">
          <ac:chgData name="Stefan, Chantal" userId="32a90bb8-83ff-4b15-9e26-b584e5277353" providerId="ADAL" clId="{A0FA188E-4539-1B4B-8F7A-AF25ADD774B0}" dt="2024-03-15T13:41:43.248" v="7203"/>
          <ac:spMkLst>
            <pc:docMk/>
            <pc:sldMk cId="2816754024" sldId="273"/>
            <ac:spMk id="23" creationId="{0F5B1066-3F38-D908-8D50-ADD5FC9C2DAD}"/>
          </ac:spMkLst>
        </pc:spChg>
        <pc:spChg chg="add del mod modVis">
          <ac:chgData name="Stefan, Chantal" userId="32a90bb8-83ff-4b15-9e26-b584e5277353" providerId="ADAL" clId="{A0FA188E-4539-1B4B-8F7A-AF25ADD774B0}" dt="2024-03-15T13:41:51.545" v="7248"/>
          <ac:spMkLst>
            <pc:docMk/>
            <pc:sldMk cId="2816754024" sldId="273"/>
            <ac:spMk id="24" creationId="{A01128B6-6F40-82C4-BC2F-5CCB8C3B335C}"/>
          </ac:spMkLst>
        </pc:spChg>
        <pc:spChg chg="add del mod modVis">
          <ac:chgData name="Stefan, Chantal" userId="32a90bb8-83ff-4b15-9e26-b584e5277353" providerId="ADAL" clId="{A0FA188E-4539-1B4B-8F7A-AF25ADD774B0}" dt="2024-03-15T13:41:53.250" v="7279"/>
          <ac:spMkLst>
            <pc:docMk/>
            <pc:sldMk cId="2816754024" sldId="273"/>
            <ac:spMk id="25" creationId="{91DF7771-3F2A-7F5D-1E66-86CB6CE8AE69}"/>
          </ac:spMkLst>
        </pc:spChg>
        <pc:spChg chg="add del mod modVis">
          <ac:chgData name="Stefan, Chantal" userId="32a90bb8-83ff-4b15-9e26-b584e5277353" providerId="ADAL" clId="{A0FA188E-4539-1B4B-8F7A-AF25ADD774B0}" dt="2024-03-15T13:41:56.337" v="7324"/>
          <ac:spMkLst>
            <pc:docMk/>
            <pc:sldMk cId="2816754024" sldId="273"/>
            <ac:spMk id="26" creationId="{C254BF93-9A37-FE92-0C68-AAE0ADE1D52C}"/>
          </ac:spMkLst>
        </pc:spChg>
        <pc:spChg chg="add del mod modVis">
          <ac:chgData name="Stefan, Chantal" userId="32a90bb8-83ff-4b15-9e26-b584e5277353" providerId="ADAL" clId="{A0FA188E-4539-1B4B-8F7A-AF25ADD774B0}" dt="2024-03-15T13:44:31.545" v="7353"/>
          <ac:spMkLst>
            <pc:docMk/>
            <pc:sldMk cId="2816754024" sldId="273"/>
            <ac:spMk id="27" creationId="{6518F7F5-4A4B-EEFA-6CD9-274114B28E27}"/>
          </ac:spMkLst>
        </pc:spChg>
        <pc:spChg chg="add del mod modVis">
          <ac:chgData name="Stefan, Chantal" userId="32a90bb8-83ff-4b15-9e26-b584e5277353" providerId="ADAL" clId="{A0FA188E-4539-1B4B-8F7A-AF25ADD774B0}" dt="2024-03-15T13:44:36.429" v="7382"/>
          <ac:spMkLst>
            <pc:docMk/>
            <pc:sldMk cId="2816754024" sldId="273"/>
            <ac:spMk id="28" creationId="{0F1C2E55-42C3-27FF-594F-4F5E9152E350}"/>
          </ac:spMkLst>
        </pc:spChg>
        <pc:spChg chg="add del mod modVis">
          <ac:chgData name="Stefan, Chantal" userId="32a90bb8-83ff-4b15-9e26-b584e5277353" providerId="ADAL" clId="{A0FA188E-4539-1B4B-8F7A-AF25ADD774B0}" dt="2024-03-15T13:44:37.345" v="7410"/>
          <ac:spMkLst>
            <pc:docMk/>
            <pc:sldMk cId="2816754024" sldId="273"/>
            <ac:spMk id="29" creationId="{10DDAE87-A859-BABA-3F64-8C364EA7B19C}"/>
          </ac:spMkLst>
        </pc:spChg>
        <pc:spChg chg="add del mod modVis">
          <ac:chgData name="Stefan, Chantal" userId="32a90bb8-83ff-4b15-9e26-b584e5277353" providerId="ADAL" clId="{A0FA188E-4539-1B4B-8F7A-AF25ADD774B0}" dt="2024-03-15T13:44:40.596" v="7438"/>
          <ac:spMkLst>
            <pc:docMk/>
            <pc:sldMk cId="2816754024" sldId="273"/>
            <ac:spMk id="30" creationId="{DAA656F3-3441-D9A7-2D25-FA1469A9687F}"/>
          </ac:spMkLst>
        </pc:spChg>
        <pc:spChg chg="add del mod modVis">
          <ac:chgData name="Stefan, Chantal" userId="32a90bb8-83ff-4b15-9e26-b584e5277353" providerId="ADAL" clId="{A0FA188E-4539-1B4B-8F7A-AF25ADD774B0}" dt="2024-03-15T13:51:36.676" v="7595"/>
          <ac:spMkLst>
            <pc:docMk/>
            <pc:sldMk cId="2816754024" sldId="273"/>
            <ac:spMk id="31" creationId="{0B58A4FB-DF72-C803-EB94-762A811E20D0}"/>
          </ac:spMkLst>
        </pc:spChg>
        <pc:graphicFrameChg chg="mod">
          <ac:chgData name="Stefan, Chantal" userId="32a90bb8-83ff-4b15-9e26-b584e5277353" providerId="ADAL" clId="{A0FA188E-4539-1B4B-8F7A-AF25ADD774B0}" dt="2024-03-16T16:24:35.318" v="8598"/>
          <ac:graphicFrameMkLst>
            <pc:docMk/>
            <pc:sldMk cId="2816754024" sldId="273"/>
            <ac:graphicFrameMk id="19" creationId="{78CFE8B2-31EB-D409-CC1E-14D103DBD7DB}"/>
          </ac:graphicFrameMkLst>
        </pc:graphicFrameChg>
        <pc:picChg chg="del">
          <ac:chgData name="Stefan, Chantal" userId="32a90bb8-83ff-4b15-9e26-b584e5277353" providerId="ADAL" clId="{A0FA188E-4539-1B4B-8F7A-AF25ADD774B0}" dt="2024-03-15T13:32:21.873" v="6866" actId="478"/>
          <ac:picMkLst>
            <pc:docMk/>
            <pc:sldMk cId="2816754024" sldId="273"/>
            <ac:picMk id="3" creationId="{76E3F02E-AC8B-B3D9-9DBA-FB0815C9EBE5}"/>
          </ac:picMkLst>
        </pc:picChg>
        <pc:picChg chg="add mod">
          <ac:chgData name="Stefan, Chantal" userId="32a90bb8-83ff-4b15-9e26-b584e5277353" providerId="ADAL" clId="{A0FA188E-4539-1B4B-8F7A-AF25ADD774B0}" dt="2024-03-15T13:32:35.535" v="6869" actId="1038"/>
          <ac:picMkLst>
            <pc:docMk/>
            <pc:sldMk cId="2816754024" sldId="273"/>
            <ac:picMk id="7" creationId="{130EFC93-06B5-93CE-59CE-6ECE70D9F677}"/>
          </ac:picMkLst>
        </pc:picChg>
      </pc:sldChg>
      <pc:sldChg chg="addSp delSp modSp add mod ord">
        <pc:chgData name="Stefan, Chantal" userId="32a90bb8-83ff-4b15-9e26-b584e5277353" providerId="ADAL" clId="{A0FA188E-4539-1B4B-8F7A-AF25ADD774B0}" dt="2024-03-15T13:51:32.180" v="7569"/>
        <pc:sldMkLst>
          <pc:docMk/>
          <pc:sldMk cId="690433356" sldId="274"/>
        </pc:sldMkLst>
        <pc:spChg chg="mod">
          <ac:chgData name="Stefan, Chantal" userId="32a90bb8-83ff-4b15-9e26-b584e5277353" providerId="ADAL" clId="{A0FA188E-4539-1B4B-8F7A-AF25ADD774B0}" dt="2024-03-15T13:51:32.106" v="7543" actId="948"/>
          <ac:spMkLst>
            <pc:docMk/>
            <pc:sldMk cId="690433356" sldId="274"/>
            <ac:spMk id="2" creationId="{68BE9390-D0C8-E8CA-F07E-977B0B13B828}"/>
          </ac:spMkLst>
        </pc:spChg>
        <pc:spChg chg="mod">
          <ac:chgData name="Stefan, Chantal" userId="32a90bb8-83ff-4b15-9e26-b584e5277353" providerId="ADAL" clId="{A0FA188E-4539-1B4B-8F7A-AF25ADD774B0}" dt="2024-03-15T13:36:17.678" v="6962" actId="20577"/>
          <ac:spMkLst>
            <pc:docMk/>
            <pc:sldMk cId="690433356" sldId="274"/>
            <ac:spMk id="6" creationId="{FF73AC2C-FFCF-54C5-7CC8-1A13D70893A1}"/>
          </ac:spMkLst>
        </pc:spChg>
        <pc:spChg chg="add del mod modVis">
          <ac:chgData name="Stefan, Chantal" userId="32a90bb8-83ff-4b15-9e26-b584e5277353" providerId="ADAL" clId="{A0FA188E-4539-1B4B-8F7A-AF25ADD774B0}" dt="2024-03-15T13:51:32.167" v="7567"/>
          <ac:spMkLst>
            <pc:docMk/>
            <pc:sldMk cId="690433356" sldId="274"/>
            <ac:spMk id="7" creationId="{792F895F-990E-5423-D0CA-641DFC685E5C}"/>
          </ac:spMkLst>
        </pc:spChg>
        <pc:spChg chg="mod">
          <ac:chgData name="Stefan, Chantal" userId="32a90bb8-83ff-4b15-9e26-b584e5277353" providerId="ADAL" clId="{A0FA188E-4539-1B4B-8F7A-AF25ADD774B0}" dt="2024-03-15T13:35:49.565" v="6928" actId="20577"/>
          <ac:spMkLst>
            <pc:docMk/>
            <pc:sldMk cId="690433356" sldId="274"/>
            <ac:spMk id="10" creationId="{F3FA0A8A-8092-0D06-0F3A-EDAC2A2B729D}"/>
          </ac:spMkLst>
        </pc:spChg>
        <pc:spChg chg="mod">
          <ac:chgData name="Stefan, Chantal" userId="32a90bb8-83ff-4b15-9e26-b584e5277353" providerId="ADAL" clId="{A0FA188E-4539-1B4B-8F7A-AF25ADD774B0}" dt="2024-03-15T13:46:50.516" v="7470" actId="14100"/>
          <ac:spMkLst>
            <pc:docMk/>
            <pc:sldMk cId="690433356" sldId="274"/>
            <ac:spMk id="11" creationId="{FCA6FEFB-0DE0-D6D4-31B7-FF9B047F65EB}"/>
          </ac:spMkLst>
        </pc:spChg>
        <pc:spChg chg="mod">
          <ac:chgData name="Stefan, Chantal" userId="32a90bb8-83ff-4b15-9e26-b584e5277353" providerId="ADAL" clId="{A0FA188E-4539-1B4B-8F7A-AF25ADD774B0}" dt="2024-03-15T13:49:41.496" v="7528" actId="1076"/>
          <ac:spMkLst>
            <pc:docMk/>
            <pc:sldMk cId="690433356" sldId="274"/>
            <ac:spMk id="13" creationId="{F88EFBCE-FB26-209E-2F93-DC26D38D702A}"/>
          </ac:spMkLst>
        </pc:spChg>
        <pc:spChg chg="mod">
          <ac:chgData name="Stefan, Chantal" userId="32a90bb8-83ff-4b15-9e26-b584e5277353" providerId="ADAL" clId="{A0FA188E-4539-1B4B-8F7A-AF25ADD774B0}" dt="2024-03-15T13:50:08.109" v="7541" actId="20577"/>
          <ac:spMkLst>
            <pc:docMk/>
            <pc:sldMk cId="690433356" sldId="274"/>
            <ac:spMk id="14" creationId="{A7C07C61-E451-186A-B0B7-7D2ACA5BCF68}"/>
          </ac:spMkLst>
        </pc:spChg>
        <pc:spChg chg="mod">
          <ac:chgData name="Stefan, Chantal" userId="32a90bb8-83ff-4b15-9e26-b584e5277353" providerId="ADAL" clId="{A0FA188E-4539-1B4B-8F7A-AF25ADD774B0}" dt="2024-03-15T13:49:34.532" v="7526" actId="1076"/>
          <ac:spMkLst>
            <pc:docMk/>
            <pc:sldMk cId="690433356" sldId="274"/>
            <ac:spMk id="15" creationId="{C58E0C67-61EE-0B06-4C10-4D3E7D74553B}"/>
          </ac:spMkLst>
        </pc:spChg>
        <pc:graphicFrameChg chg="mod">
          <ac:chgData name="Stefan, Chantal" userId="32a90bb8-83ff-4b15-9e26-b584e5277353" providerId="ADAL" clId="{A0FA188E-4539-1B4B-8F7A-AF25ADD774B0}" dt="2024-03-15T13:51:32.180" v="7569"/>
          <ac:graphicFrameMkLst>
            <pc:docMk/>
            <pc:sldMk cId="690433356" sldId="274"/>
            <ac:graphicFrameMk id="19" creationId="{78CFE8B2-31EB-D409-CC1E-14D103DBD7DB}"/>
          </ac:graphicFrameMkLst>
        </pc:graphicFrameChg>
        <pc:picChg chg="add mod">
          <ac:chgData name="Stefan, Chantal" userId="32a90bb8-83ff-4b15-9e26-b584e5277353" providerId="ADAL" clId="{A0FA188E-4539-1B4B-8F7A-AF25ADD774B0}" dt="2024-03-15T13:34:27.805" v="6919" actId="1035"/>
          <ac:picMkLst>
            <pc:docMk/>
            <pc:sldMk cId="690433356" sldId="274"/>
            <ac:picMk id="3" creationId="{F064EFBD-3B11-FD20-58F5-67078E27CFA6}"/>
          </ac:picMkLst>
        </pc:picChg>
      </pc:sldChg>
      <pc:sldChg chg="addSp delSp modSp add mod ord">
        <pc:chgData name="Stefan, Chantal" userId="32a90bb8-83ff-4b15-9e26-b584e5277353" providerId="ADAL" clId="{A0FA188E-4539-1B4B-8F7A-AF25ADD774B0}" dt="2024-03-15T13:58:02.285" v="7871"/>
        <pc:sldMkLst>
          <pc:docMk/>
          <pc:sldMk cId="2322477323" sldId="275"/>
        </pc:sldMkLst>
        <pc:spChg chg="mod">
          <ac:chgData name="Stefan, Chantal" userId="32a90bb8-83ff-4b15-9e26-b584e5277353" providerId="ADAL" clId="{A0FA188E-4539-1B4B-8F7A-AF25ADD774B0}" dt="2024-03-15T13:58:02.262" v="7845" actId="948"/>
          <ac:spMkLst>
            <pc:docMk/>
            <pc:sldMk cId="2322477323" sldId="275"/>
            <ac:spMk id="2" creationId="{68BE9390-D0C8-E8CA-F07E-977B0B13B828}"/>
          </ac:spMkLst>
        </pc:spChg>
        <pc:spChg chg="mod">
          <ac:chgData name="Stefan, Chantal" userId="32a90bb8-83ff-4b15-9e26-b584e5277353" providerId="ADAL" clId="{A0FA188E-4539-1B4B-8F7A-AF25ADD774B0}" dt="2024-03-15T13:36:06.769" v="6944" actId="20577"/>
          <ac:spMkLst>
            <pc:docMk/>
            <pc:sldMk cId="2322477323" sldId="275"/>
            <ac:spMk id="6" creationId="{FF73AC2C-FFCF-54C5-7CC8-1A13D70893A1}"/>
          </ac:spMkLst>
        </pc:spChg>
        <pc:spChg chg="add del mod modVis">
          <ac:chgData name="Stefan, Chantal" userId="32a90bb8-83ff-4b15-9e26-b584e5277353" providerId="ADAL" clId="{A0FA188E-4539-1B4B-8F7A-AF25ADD774B0}" dt="2024-03-15T13:57:51.152" v="7809" actId="962"/>
          <ac:spMkLst>
            <pc:docMk/>
            <pc:sldMk cId="2322477323" sldId="275"/>
            <ac:spMk id="7" creationId="{F14776A1-BBCB-19DA-6EFB-7B8F72F416D2}"/>
          </ac:spMkLst>
        </pc:spChg>
        <pc:spChg chg="mod">
          <ac:chgData name="Stefan, Chantal" userId="32a90bb8-83ff-4b15-9e26-b584e5277353" providerId="ADAL" clId="{A0FA188E-4539-1B4B-8F7A-AF25ADD774B0}" dt="2024-03-15T13:35:54.110" v="6930" actId="20577"/>
          <ac:spMkLst>
            <pc:docMk/>
            <pc:sldMk cId="2322477323" sldId="275"/>
            <ac:spMk id="10" creationId="{F3FA0A8A-8092-0D06-0F3A-EDAC2A2B729D}"/>
          </ac:spMkLst>
        </pc:spChg>
        <pc:spChg chg="mod">
          <ac:chgData name="Stefan, Chantal" userId="32a90bb8-83ff-4b15-9e26-b584e5277353" providerId="ADAL" clId="{A0FA188E-4539-1B4B-8F7A-AF25ADD774B0}" dt="2024-03-15T13:55:04.314" v="7723" actId="313"/>
          <ac:spMkLst>
            <pc:docMk/>
            <pc:sldMk cId="2322477323" sldId="275"/>
            <ac:spMk id="11" creationId="{FCA6FEFB-0DE0-D6D4-31B7-FF9B047F65EB}"/>
          </ac:spMkLst>
        </pc:spChg>
        <pc:spChg chg="add del mod modVis">
          <ac:chgData name="Stefan, Chantal" userId="32a90bb8-83ff-4b15-9e26-b584e5277353" providerId="ADAL" clId="{A0FA188E-4539-1B4B-8F7A-AF25ADD774B0}" dt="2024-03-15T13:57:55.410" v="7840"/>
          <ac:spMkLst>
            <pc:docMk/>
            <pc:sldMk cId="2322477323" sldId="275"/>
            <ac:spMk id="12" creationId="{CC75D2BB-35E3-5D0D-35DB-C906E78612A6}"/>
          </ac:spMkLst>
        </pc:spChg>
        <pc:spChg chg="mod">
          <ac:chgData name="Stefan, Chantal" userId="32a90bb8-83ff-4b15-9e26-b584e5277353" providerId="ADAL" clId="{A0FA188E-4539-1B4B-8F7A-AF25ADD774B0}" dt="2024-03-15T13:54:04.497" v="7706"/>
          <ac:spMkLst>
            <pc:docMk/>
            <pc:sldMk cId="2322477323" sldId="275"/>
            <ac:spMk id="13" creationId="{F88EFBCE-FB26-209E-2F93-DC26D38D702A}"/>
          </ac:spMkLst>
        </pc:spChg>
        <pc:spChg chg="mod">
          <ac:chgData name="Stefan, Chantal" userId="32a90bb8-83ff-4b15-9e26-b584e5277353" providerId="ADAL" clId="{A0FA188E-4539-1B4B-8F7A-AF25ADD774B0}" dt="2024-03-15T13:55:26.572" v="7726" actId="1076"/>
          <ac:spMkLst>
            <pc:docMk/>
            <pc:sldMk cId="2322477323" sldId="275"/>
            <ac:spMk id="14" creationId="{A7C07C61-E451-186A-B0B7-7D2ACA5BCF68}"/>
          </ac:spMkLst>
        </pc:spChg>
        <pc:spChg chg="mod">
          <ac:chgData name="Stefan, Chantal" userId="32a90bb8-83ff-4b15-9e26-b584e5277353" providerId="ADAL" clId="{A0FA188E-4539-1B4B-8F7A-AF25ADD774B0}" dt="2024-03-15T13:57:10.228" v="7760" actId="20577"/>
          <ac:spMkLst>
            <pc:docMk/>
            <pc:sldMk cId="2322477323" sldId="275"/>
            <ac:spMk id="15" creationId="{C58E0C67-61EE-0B06-4C10-4D3E7D74553B}"/>
          </ac:spMkLst>
        </pc:spChg>
        <pc:spChg chg="add del mod modVis">
          <ac:chgData name="Stefan, Chantal" userId="32a90bb8-83ff-4b15-9e26-b584e5277353" providerId="ADAL" clId="{A0FA188E-4539-1B4B-8F7A-AF25ADD774B0}" dt="2024-03-15T13:58:02.283" v="7869"/>
          <ac:spMkLst>
            <pc:docMk/>
            <pc:sldMk cId="2322477323" sldId="275"/>
            <ac:spMk id="16" creationId="{C76E78AA-2A7D-9236-A46B-505E6C0F1A0B}"/>
          </ac:spMkLst>
        </pc:spChg>
        <pc:graphicFrameChg chg="mod">
          <ac:chgData name="Stefan, Chantal" userId="32a90bb8-83ff-4b15-9e26-b584e5277353" providerId="ADAL" clId="{A0FA188E-4539-1B4B-8F7A-AF25ADD774B0}" dt="2024-03-15T13:58:02.285" v="7871"/>
          <ac:graphicFrameMkLst>
            <pc:docMk/>
            <pc:sldMk cId="2322477323" sldId="275"/>
            <ac:graphicFrameMk id="19" creationId="{78CFE8B2-31EB-D409-CC1E-14D103DBD7DB}"/>
          </ac:graphicFrameMkLst>
        </pc:graphicFrameChg>
        <pc:picChg chg="add mod">
          <ac:chgData name="Stefan, Chantal" userId="32a90bb8-83ff-4b15-9e26-b584e5277353" providerId="ADAL" clId="{A0FA188E-4539-1B4B-8F7A-AF25ADD774B0}" dt="2024-03-15T13:35:09.727" v="6925" actId="14100"/>
          <ac:picMkLst>
            <pc:docMk/>
            <pc:sldMk cId="2322477323" sldId="275"/>
            <ac:picMk id="3" creationId="{284182DF-03A3-53D1-0D47-07A24CEA338C}"/>
          </ac:picMkLst>
        </pc:picChg>
      </pc:sldChg>
    </pc:docChg>
  </pc:docChgLst>
  <pc:docChgLst>
    <pc:chgData name="Stilz, Vincent" userId="e58467ee-8c8c-4968-bff6-3494d91c9157" providerId="ADAL" clId="{CC4046CC-4283-854A-8867-865C80595F82}"/>
    <pc:docChg chg="modSld">
      <pc:chgData name="Stilz, Vincent" userId="e58467ee-8c8c-4968-bff6-3494d91c9157" providerId="ADAL" clId="{CC4046CC-4283-854A-8867-865C80595F82}" dt="2024-03-16T16:56:39.437" v="6" actId="20577"/>
      <pc:docMkLst>
        <pc:docMk/>
      </pc:docMkLst>
      <pc:sldChg chg="modSp mod">
        <pc:chgData name="Stilz, Vincent" userId="e58467ee-8c8c-4968-bff6-3494d91c9157" providerId="ADAL" clId="{CC4046CC-4283-854A-8867-865C80595F82}" dt="2024-03-16T16:56:39.437" v="6" actId="20577"/>
        <pc:sldMkLst>
          <pc:docMk/>
          <pc:sldMk cId="690433356" sldId="274"/>
        </pc:sldMkLst>
        <pc:spChg chg="mod">
          <ac:chgData name="Stilz, Vincent" userId="e58467ee-8c8c-4968-bff6-3494d91c9157" providerId="ADAL" clId="{CC4046CC-4283-854A-8867-865C80595F82}" dt="2024-03-16T16:56:34.439" v="4" actId="20577"/>
          <ac:spMkLst>
            <pc:docMk/>
            <pc:sldMk cId="690433356" sldId="274"/>
            <ac:spMk id="11" creationId="{FCA6FEFB-0DE0-D6D4-31B7-FF9B047F65EB}"/>
          </ac:spMkLst>
        </pc:spChg>
        <pc:spChg chg="mod">
          <ac:chgData name="Stilz, Vincent" userId="e58467ee-8c8c-4968-bff6-3494d91c9157" providerId="ADAL" clId="{CC4046CC-4283-854A-8867-865C80595F82}" dt="2024-03-16T16:56:39.437" v="6" actId="20577"/>
          <ac:spMkLst>
            <pc:docMk/>
            <pc:sldMk cId="690433356" sldId="274"/>
            <ac:spMk id="14" creationId="{A7C07C61-E451-186A-B0B7-7D2ACA5BCF68}"/>
          </ac:spMkLst>
        </pc:spChg>
      </pc:sldChg>
    </pc:docChg>
  </pc:docChgLst>
</pc:chgInfo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microsoft.com/office/2011/relationships/chartStyle" Target="style1.xml"/><Relationship Id="rId1" Type="http://schemas.openxmlformats.org/officeDocument/2006/relationships/oleObject" Target="Book1" TargetMode="External"/></Relationships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I$10:$AI$48</cx:f>
        <cx:lvl ptCount="39">
          <cx:pt idx="0">Australia</cx:pt>
          <cx:pt idx="1">Austria</cx:pt>
          <cx:pt idx="2">Belgium</cx:pt>
          <cx:pt idx="3">Canada</cx:pt>
          <cx:pt idx="4">Chile</cx:pt>
          <cx:pt idx="5">Czech Republic</cx:pt>
          <cx:pt idx="6">Denmark</cx:pt>
          <cx:pt idx="7">Estonia</cx:pt>
          <cx:pt idx="8">Finland</cx:pt>
          <cx:pt idx="9">France</cx:pt>
          <cx:pt idx="10">Germany</cx:pt>
          <cx:pt idx="11">Greece</cx:pt>
          <cx:pt idx="12">Hungary</cx:pt>
          <cx:pt idx="13">Iceland</cx:pt>
          <cx:pt idx="14">Ireland</cx:pt>
          <cx:pt idx="15">Israel</cx:pt>
          <cx:pt idx="16">Italy</cx:pt>
          <cx:pt idx="17">Japan</cx:pt>
          <cx:pt idx="18">South Korea</cx:pt>
          <cx:pt idx="19">Latvia</cx:pt>
          <cx:pt idx="20">Luxembourg</cx:pt>
          <cx:pt idx="21">Mexico</cx:pt>
          <cx:pt idx="22">Netherlands</cx:pt>
          <cx:pt idx="23">New Zealand</cx:pt>
          <cx:pt idx="24">Norway</cx:pt>
          <cx:pt idx="25">Poland</cx:pt>
          <cx:pt idx="26">Portugal</cx:pt>
          <cx:pt idx="27">Slovak Republic</cx:pt>
          <cx:pt idx="28">Slovenia</cx:pt>
          <cx:pt idx="29">Spain</cx:pt>
          <cx:pt idx="30">Sweden</cx:pt>
          <cx:pt idx="31">Switzerland</cx:pt>
          <cx:pt idx="32">Turkey</cx:pt>
          <cx:pt idx="33">United Kingdom</cx:pt>
          <cx:pt idx="34">USA</cx:pt>
          <cx:pt idx="36">Brazil</cx:pt>
          <cx:pt idx="37">Russia</cx:pt>
          <cx:pt idx="38">South Africa</cx:pt>
        </cx:lvl>
      </cx:strDim>
      <cx:numDim type="colorVal">
        <cx:f>Sheet1!$AJ$10:$AJ$48</cx:f>
        <cx:lvl ptCount="39" formatCode="Standard">
          <cx:pt idx="0">1</cx:pt>
          <cx:pt idx="1">1</cx:pt>
          <cx:pt idx="2">1</cx:pt>
          <cx:pt idx="3">1</cx:pt>
          <cx:pt idx="4">1</cx:pt>
          <cx:pt idx="5">1</cx:pt>
          <cx:pt idx="6">1</cx:pt>
          <cx:pt idx="7">1</cx:pt>
          <cx:pt idx="8">1</cx:pt>
          <cx:pt idx="9">1</cx:pt>
          <cx:pt idx="10">1</cx:pt>
          <cx:pt idx="11">1</cx:pt>
          <cx:pt idx="12">1</cx:pt>
          <cx:pt idx="13">1</cx:pt>
          <cx:pt idx="14">1</cx:pt>
          <cx:pt idx="15">1</cx:pt>
          <cx:pt idx="16">1</cx:pt>
          <cx:pt idx="17">1</cx:pt>
          <cx:pt idx="18">1</cx:pt>
          <cx:pt idx="19">1</cx:pt>
          <cx:pt idx="20">1</cx:pt>
          <cx:pt idx="21">1</cx:pt>
          <cx:pt idx="22">1</cx:pt>
          <cx:pt idx="23">1</cx:pt>
          <cx:pt idx="24">1</cx:pt>
          <cx:pt idx="25">1</cx:pt>
          <cx:pt idx="26">1</cx:pt>
          <cx:pt idx="27">1</cx:pt>
          <cx:pt idx="28">1</cx:pt>
          <cx:pt idx="29">1</cx:pt>
          <cx:pt idx="30">1</cx:pt>
          <cx:pt idx="31">1</cx:pt>
          <cx:pt idx="32">1</cx:pt>
          <cx:pt idx="33">1</cx:pt>
          <cx:pt idx="34">1</cx:pt>
          <cx:pt idx="36">1</cx:pt>
          <cx:pt idx="37">1</cx:pt>
          <cx:pt idx="38">1</cx:pt>
        </cx:lvl>
      </cx:numDim>
    </cx:data>
  </cx:chartData>
  <cx:chart>
    <cx:plotArea>
      <cx:plotAreaRegion>
        <cx:series layoutId="regionMap" uniqueId="{181E1832-6D80-474F-BDA3-FB405882AC26}">
          <cx:spPr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accent3">
                  <a:lumMod val="40000"/>
                  <a:lumOff val="60000"/>
                </a:schemeClr>
              </a:solidFill>
            </a:ln>
          </cx:spPr>
          <cx:dataId val="0"/>
          <cx:layoutPr>
            <cx:geography cultureLanguage="en-GB" cultureRegion="DE" attribution="Powered by Bing">
              <cx:geoCache provider="{E9337A44-BEBE-4D9F-B70C-5C5E7DAFC167}">
                <cx:binary>BMFRCoAgDADQq4gHcBV9SXUXWTMFdeEG7fi9d6BFbJSms96GRLTTF9U3AggW6klCrzhZOGtA7sA5
VyS4Z/rqeGBb1h2wpKlk3sH1AwAA//8=</cx:binary>
              </cx:geoCache>
            </cx:geography>
          </cx:layoutPr>
          <cx:valueColors>
            <cx:minColor>
              <a:schemeClr val="accent1"/>
            </cx:minColor>
            <cx:maxColor>
              <a:schemeClr val="accent1"/>
            </cx:maxColor>
          </cx:valueColors>
        </cx:series>
      </cx:plotAreaRegion>
    </cx:plotArea>
  </cx:chart>
  <cx:spPr>
    <a:ln>
      <a:noFill/>
    </a:ln>
  </cx:spPr>
</cx:chartSpace>
</file>

<file path=ppt/charts/colors1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style1.xml><?xml version="1.0" encoding="utf-8"?>
<cs:chartStyle xmlns:cs="http://schemas.microsoft.com/office/drawing/2012/chartStyle" xmlns:a="http://schemas.openxmlformats.org/drawingml/2006/main" id="494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85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3175">
        <a:solidFill>
          <a:schemeClr val="bg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A012174-E62D-4970-B8DC-4EED5B386C05}" type="doc">
      <dgm:prSet loTypeId="urn:microsoft.com/office/officeart/2005/8/layout/hProcess4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0CB0412B-91CF-4A2C-B55B-687E62E8D83A}">
      <dgm:prSet phldrT="[Text]" custT="1"/>
      <dgm:spPr/>
      <dgm:t>
        <a:bodyPr/>
        <a:lstStyle/>
        <a:p>
          <a:pPr rtl="0"/>
          <a:r>
            <a:rPr lang="en-GB" sz="1600">
              <a:latin typeface="Arial" panose="020B0604020202020204" pitchFamily="34" charset="0"/>
              <a:cs typeface="Arial" panose="020B0604020202020204" pitchFamily="34" charset="0"/>
            </a:rPr>
            <a:t>Dataset Presentation</a:t>
          </a:r>
        </a:p>
      </dgm:t>
    </dgm:pt>
    <dgm:pt modelId="{1E379BE1-05C6-4AE6-9B28-D304C2657A6C}" type="parTrans" cxnId="{21AACAE8-9BF5-48EB-9CF8-4EEF5DE7FB92}">
      <dgm:prSet/>
      <dgm:spPr/>
      <dgm:t>
        <a:bodyPr/>
        <a:lstStyle/>
        <a:p>
          <a:endParaRPr lang="de-DE" sz="11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B2B46D3-ED3D-41BC-9867-82B13A88B174}" type="sibTrans" cxnId="{21AACAE8-9BF5-48EB-9CF8-4EEF5DE7FB92}">
      <dgm:prSet/>
      <dgm:spPr/>
      <dgm:t>
        <a:bodyPr/>
        <a:lstStyle/>
        <a:p>
          <a:pPr rtl="0"/>
          <a:endParaRPr lang="en-GB" sz="11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FA111E7-B74F-4F7D-AE92-329AE3D450AE}">
      <dgm:prSet phldrT="[Text]" custT="1"/>
      <dgm:spPr/>
      <dgm:t>
        <a:bodyPr/>
        <a:lstStyle/>
        <a:p>
          <a:pPr>
            <a:buFont typeface="Arial" panose="020B0604020202020204" pitchFamily="34" charset="0"/>
            <a:buNone/>
          </a:pPr>
          <a:endParaRPr lang="en-GB" sz="1100" noProof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8E4173C-6012-4155-BD49-F789198CEB27}" type="parTrans" cxnId="{8E502A64-B236-4755-9872-5246D241DE1E}">
      <dgm:prSet/>
      <dgm:spPr/>
      <dgm:t>
        <a:bodyPr/>
        <a:lstStyle/>
        <a:p>
          <a:endParaRPr lang="de-DE" sz="11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BD34081-E713-490D-AAF3-A7AD3EF47A99}" type="sibTrans" cxnId="{8E502A64-B236-4755-9872-5246D241DE1E}">
      <dgm:prSet/>
      <dgm:spPr/>
      <dgm:t>
        <a:bodyPr/>
        <a:lstStyle/>
        <a:p>
          <a:endParaRPr lang="de-DE" sz="11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2C19004-DB27-43FF-A325-970A8E00D7AE}">
      <dgm:prSet phldrT="[Text]" custT="1"/>
      <dgm:spPr/>
      <dgm:t>
        <a:bodyPr/>
        <a:lstStyle/>
        <a:p>
          <a:pPr rtl="0"/>
          <a:r>
            <a:rPr lang="en-GB" sz="1600">
              <a:latin typeface="Arial" panose="020B0604020202020204" pitchFamily="34" charset="0"/>
              <a:cs typeface="Arial" panose="020B0604020202020204" pitchFamily="34" charset="0"/>
            </a:rPr>
            <a:t>Data Analysis</a:t>
          </a:r>
        </a:p>
      </dgm:t>
    </dgm:pt>
    <dgm:pt modelId="{D017EC52-8F2F-41FC-BCF5-2D0C09E9942E}" type="parTrans" cxnId="{D9586777-DBBB-4186-BAC6-C921A1F86C35}">
      <dgm:prSet/>
      <dgm:spPr/>
      <dgm:t>
        <a:bodyPr/>
        <a:lstStyle/>
        <a:p>
          <a:endParaRPr lang="de-DE" sz="11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DD663E0F-EBD3-40BF-8531-0BF9FE67DBEE}" type="sibTrans" cxnId="{D9586777-DBBB-4186-BAC6-C921A1F86C35}">
      <dgm:prSet/>
      <dgm:spPr/>
      <dgm:t>
        <a:bodyPr/>
        <a:lstStyle/>
        <a:p>
          <a:pPr rtl="0"/>
          <a:endParaRPr lang="en-GB" sz="11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D1F4774-142A-4425-9BD3-8C63B54E4C74}">
      <dgm:prSet phldrT="[Text]" custT="1"/>
      <dgm:spPr/>
      <dgm:t>
        <a:bodyPr/>
        <a:lstStyle/>
        <a:p>
          <a:pPr rtl="0">
            <a:buFont typeface="Arial" panose="020B0604020202020204" pitchFamily="34" charset="0"/>
            <a:buNone/>
          </a:pPr>
          <a:endParaRPr lang="en-GB" sz="11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454EFD9-26E5-45E2-8C58-FBB59CEEE1B2}" type="parTrans" cxnId="{DBA7DDF9-A5A8-4C64-9900-C760AA38D85C}">
      <dgm:prSet/>
      <dgm:spPr/>
      <dgm:t>
        <a:bodyPr/>
        <a:lstStyle/>
        <a:p>
          <a:endParaRPr lang="de-DE" sz="11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409A714-3BB8-47CE-9FF5-BDC33C86685B}" type="sibTrans" cxnId="{DBA7DDF9-A5A8-4C64-9900-C760AA38D85C}">
      <dgm:prSet/>
      <dgm:spPr/>
      <dgm:t>
        <a:bodyPr/>
        <a:lstStyle/>
        <a:p>
          <a:endParaRPr lang="de-DE" sz="11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6B85811-9121-4F3F-8457-CA01906A2A8A}">
      <dgm:prSet phldrT="[Text]" custT="1"/>
      <dgm:spPr/>
      <dgm:t>
        <a:bodyPr/>
        <a:lstStyle/>
        <a:p>
          <a:pPr rtl="0"/>
          <a:r>
            <a:rPr lang="en-GB" sz="1600" noProof="0">
              <a:latin typeface="Arial" panose="020B0604020202020204" pitchFamily="34" charset="0"/>
              <a:cs typeface="Arial" panose="020B0604020202020204" pitchFamily="34" charset="0"/>
            </a:rPr>
            <a:t>Discussion of Insights</a:t>
          </a:r>
        </a:p>
      </dgm:t>
    </dgm:pt>
    <dgm:pt modelId="{DEA38E1C-2C03-4BD1-A62E-B054BC3BF784}" type="parTrans" cxnId="{D00E4897-523C-4DBC-8D3D-62E0130ABCD3}">
      <dgm:prSet/>
      <dgm:spPr/>
      <dgm:t>
        <a:bodyPr/>
        <a:lstStyle/>
        <a:p>
          <a:endParaRPr lang="de-DE" sz="11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4F2B6C7-58BB-4C18-8255-AEEB6F1236C2}" type="sibTrans" cxnId="{D00E4897-523C-4DBC-8D3D-62E0130ABCD3}">
      <dgm:prSet/>
      <dgm:spPr/>
      <dgm:t>
        <a:bodyPr/>
        <a:lstStyle/>
        <a:p>
          <a:pPr rtl="0"/>
          <a:endParaRPr lang="en-GB" sz="11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74E76C6-ADE5-4837-A89D-6059814E8AFF}">
      <dgm:prSet phldrT="[Text]" custT="1"/>
      <dgm:spPr/>
      <dgm:t>
        <a:bodyPr/>
        <a:lstStyle/>
        <a:p>
          <a:pPr rtl="0"/>
          <a:endParaRPr lang="en-GB" sz="1200" noProof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84DCFDE-AE78-44F4-B4A5-B787B53491B9}" type="parTrans" cxnId="{E3AC724C-10DA-439D-8D82-24D8D6CE1294}">
      <dgm:prSet/>
      <dgm:spPr/>
      <dgm:t>
        <a:bodyPr/>
        <a:lstStyle/>
        <a:p>
          <a:endParaRPr lang="de-DE" sz="11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CE42DFF-F774-4246-A740-3F9F6D067FB0}" type="sibTrans" cxnId="{E3AC724C-10DA-439D-8D82-24D8D6CE1294}">
      <dgm:prSet/>
      <dgm:spPr/>
      <dgm:t>
        <a:bodyPr/>
        <a:lstStyle/>
        <a:p>
          <a:endParaRPr lang="de-DE" sz="11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041F7FC-69F2-4521-8B1A-A4DFFD5EBBEC}">
      <dgm:prSet custT="1"/>
      <dgm:spPr/>
      <dgm:t>
        <a:bodyPr/>
        <a:lstStyle/>
        <a:p>
          <a:pPr rtl="0"/>
          <a:r>
            <a:rPr lang="en-GB" sz="1600">
              <a:latin typeface="Arial" panose="020B0604020202020204" pitchFamily="34" charset="0"/>
              <a:cs typeface="Arial" panose="020B0604020202020204" pitchFamily="34" charset="0"/>
            </a:rPr>
            <a:t>Conclusion</a:t>
          </a:r>
        </a:p>
      </dgm:t>
    </dgm:pt>
    <dgm:pt modelId="{2046A5DB-D468-4B26-93A4-8D17278A0D39}" type="parTrans" cxnId="{0FCD6206-D5BD-43D7-AF83-881CE5F47D0B}">
      <dgm:prSet/>
      <dgm:spPr/>
      <dgm:t>
        <a:bodyPr/>
        <a:lstStyle/>
        <a:p>
          <a:endParaRPr lang="de-DE"/>
        </a:p>
      </dgm:t>
    </dgm:pt>
    <dgm:pt modelId="{6B594231-55B4-4AEE-90E7-A4E69BD8D631}" type="sibTrans" cxnId="{0FCD6206-D5BD-43D7-AF83-881CE5F47D0B}">
      <dgm:prSet/>
      <dgm:spPr/>
      <dgm:t>
        <a:bodyPr/>
        <a:lstStyle/>
        <a:p>
          <a:endParaRPr lang="de-DE"/>
        </a:p>
      </dgm:t>
    </dgm:pt>
    <dgm:pt modelId="{A508731D-C56F-406A-AA18-9F7C268E5AFD}">
      <dgm:prSet custT="1"/>
      <dgm:spPr/>
      <dgm:t>
        <a:bodyPr/>
        <a:lstStyle/>
        <a:p>
          <a:pPr rtl="0"/>
          <a:endParaRPr lang="en-GB" sz="1100" noProof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881DE8D-8359-42DC-A1E3-4BC476037287}" type="parTrans" cxnId="{6E0A6AF7-E1DE-48B8-BA0B-C843EB422CA6}">
      <dgm:prSet/>
      <dgm:spPr/>
      <dgm:t>
        <a:bodyPr/>
        <a:lstStyle/>
        <a:p>
          <a:endParaRPr lang="de-DE"/>
        </a:p>
      </dgm:t>
    </dgm:pt>
    <dgm:pt modelId="{A83E7B8C-F235-43CE-B645-E6B972A63C12}" type="sibTrans" cxnId="{6E0A6AF7-E1DE-48B8-BA0B-C843EB422CA6}">
      <dgm:prSet/>
      <dgm:spPr/>
      <dgm:t>
        <a:bodyPr/>
        <a:lstStyle/>
        <a:p>
          <a:endParaRPr lang="de-DE"/>
        </a:p>
      </dgm:t>
    </dgm:pt>
    <dgm:pt modelId="{CFADC996-D59E-4B19-A9C0-48864169B083}">
      <dgm:prSet custT="1"/>
      <dgm:spPr/>
      <dgm:t>
        <a:bodyPr/>
        <a:lstStyle/>
        <a:p>
          <a:pPr rtl="0"/>
          <a:endParaRPr lang="en-GB" sz="11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37B48A0-63DD-484C-AEAA-DDF8BE5B7340}" type="parTrans" cxnId="{2F753DFF-DBD5-4C8B-A262-2641248504D4}">
      <dgm:prSet/>
      <dgm:spPr/>
      <dgm:t>
        <a:bodyPr/>
        <a:lstStyle/>
        <a:p>
          <a:endParaRPr lang="de-DE"/>
        </a:p>
      </dgm:t>
    </dgm:pt>
    <dgm:pt modelId="{1F341387-1FE8-4F6B-88E5-0C74520CF5D1}" type="sibTrans" cxnId="{2F753DFF-DBD5-4C8B-A262-2641248504D4}">
      <dgm:prSet/>
      <dgm:spPr/>
      <dgm:t>
        <a:bodyPr/>
        <a:lstStyle/>
        <a:p>
          <a:endParaRPr lang="de-DE"/>
        </a:p>
      </dgm:t>
    </dgm:pt>
    <dgm:pt modelId="{B4A3CD5B-02AD-434C-9A10-53075B3F179C}">
      <dgm:prSet custT="1"/>
      <dgm:spPr/>
      <dgm:t>
        <a:bodyPr/>
        <a:lstStyle/>
        <a:p>
          <a:pPr rtl="0"/>
          <a:endParaRPr lang="en-GB" sz="1200" noProof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569E941-6ABA-44F2-BE79-7B4C1F6008E1}" type="parTrans" cxnId="{BD429DA2-3FA4-4AAD-82CC-45CFA002232F}">
      <dgm:prSet/>
      <dgm:spPr/>
      <dgm:t>
        <a:bodyPr/>
        <a:lstStyle/>
        <a:p>
          <a:endParaRPr lang="de-DE"/>
        </a:p>
      </dgm:t>
    </dgm:pt>
    <dgm:pt modelId="{2D442CAE-399E-4AAE-9B63-654B5D9B7AAE}" type="sibTrans" cxnId="{BD429DA2-3FA4-4AAD-82CC-45CFA002232F}">
      <dgm:prSet/>
      <dgm:spPr/>
      <dgm:t>
        <a:bodyPr/>
        <a:lstStyle/>
        <a:p>
          <a:endParaRPr lang="de-DE"/>
        </a:p>
      </dgm:t>
    </dgm:pt>
    <dgm:pt modelId="{B69E3DC0-0EEC-40F3-BF5D-8419377E557D}">
      <dgm:prSet custT="1"/>
      <dgm:spPr/>
      <dgm:t>
        <a:bodyPr/>
        <a:lstStyle/>
        <a:p>
          <a:pPr rtl="0"/>
          <a:endParaRPr lang="en-GB" sz="12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9F4943F-E27F-4D96-A75D-CF959722B2BA}" type="parTrans" cxnId="{7D677450-B35C-4E87-B322-9EEAC9FF27FB}">
      <dgm:prSet/>
      <dgm:spPr/>
      <dgm:t>
        <a:bodyPr/>
        <a:lstStyle/>
        <a:p>
          <a:endParaRPr lang="de-DE"/>
        </a:p>
      </dgm:t>
    </dgm:pt>
    <dgm:pt modelId="{430AA663-2FC3-4A8C-9213-F2DB58DE398D}" type="sibTrans" cxnId="{7D677450-B35C-4E87-B322-9EEAC9FF27FB}">
      <dgm:prSet/>
      <dgm:spPr/>
      <dgm:t>
        <a:bodyPr/>
        <a:lstStyle/>
        <a:p>
          <a:endParaRPr lang="de-DE"/>
        </a:p>
      </dgm:t>
    </dgm:pt>
    <dgm:pt modelId="{20CB9CC6-4227-44AA-9488-D10CA3EC226D}">
      <dgm:prSet custT="1"/>
      <dgm:spPr/>
      <dgm:t>
        <a:bodyPr/>
        <a:lstStyle/>
        <a:p>
          <a:pPr rtl="0"/>
          <a:endParaRPr lang="en-GB" sz="12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5152087A-282D-4DED-A14D-6D76941483FD}" type="parTrans" cxnId="{8B4D170C-A6B0-411F-A9F3-4282D20BD8AC}">
      <dgm:prSet/>
      <dgm:spPr/>
      <dgm:t>
        <a:bodyPr/>
        <a:lstStyle/>
        <a:p>
          <a:endParaRPr lang="de-DE"/>
        </a:p>
      </dgm:t>
    </dgm:pt>
    <dgm:pt modelId="{16895505-5F31-4A91-8D09-9D543EE2468C}" type="sibTrans" cxnId="{8B4D170C-A6B0-411F-A9F3-4282D20BD8AC}">
      <dgm:prSet/>
      <dgm:spPr/>
      <dgm:t>
        <a:bodyPr/>
        <a:lstStyle/>
        <a:p>
          <a:endParaRPr lang="de-DE"/>
        </a:p>
      </dgm:t>
    </dgm:pt>
    <dgm:pt modelId="{7CFA0885-32FC-42B5-AF9F-BA24E381568F}">
      <dgm:prSet custT="1"/>
      <dgm:spPr/>
      <dgm:t>
        <a:bodyPr/>
        <a:lstStyle/>
        <a:p>
          <a:pPr rtl="0"/>
          <a:endParaRPr lang="en-GB" sz="12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C206F40-B5B6-4E05-BEDD-2369361B8669}" type="parTrans" cxnId="{05F9B1C0-029F-4273-9034-647B64F62BA6}">
      <dgm:prSet/>
      <dgm:spPr/>
      <dgm:t>
        <a:bodyPr/>
        <a:lstStyle/>
        <a:p>
          <a:endParaRPr lang="de-DE"/>
        </a:p>
      </dgm:t>
    </dgm:pt>
    <dgm:pt modelId="{8C83A3DD-2D2D-4328-890E-0A422418A64F}" type="sibTrans" cxnId="{05F9B1C0-029F-4273-9034-647B64F62BA6}">
      <dgm:prSet/>
      <dgm:spPr/>
      <dgm:t>
        <a:bodyPr/>
        <a:lstStyle/>
        <a:p>
          <a:endParaRPr lang="de-DE"/>
        </a:p>
      </dgm:t>
    </dgm:pt>
    <dgm:pt modelId="{05AFC9CA-220B-4352-85EF-241D65A36874}">
      <dgm:prSet custT="1"/>
      <dgm:spPr/>
      <dgm:t>
        <a:bodyPr/>
        <a:lstStyle/>
        <a:p>
          <a:pPr rtl="0"/>
          <a:endParaRPr lang="en-GB" sz="12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E93242B-7CC1-44FA-A3DB-B4B31F4318EB}" type="parTrans" cxnId="{CDAECA3F-653A-4979-A1B4-F57A63D32F8E}">
      <dgm:prSet/>
      <dgm:spPr/>
      <dgm:t>
        <a:bodyPr/>
        <a:lstStyle/>
        <a:p>
          <a:endParaRPr lang="de-DE"/>
        </a:p>
      </dgm:t>
    </dgm:pt>
    <dgm:pt modelId="{E30EFE13-FDF6-4090-9E95-D0D4CAD52C85}" type="sibTrans" cxnId="{CDAECA3F-653A-4979-A1B4-F57A63D32F8E}">
      <dgm:prSet/>
      <dgm:spPr/>
      <dgm:t>
        <a:bodyPr/>
        <a:lstStyle/>
        <a:p>
          <a:endParaRPr lang="de-DE"/>
        </a:p>
      </dgm:t>
    </dgm:pt>
    <dgm:pt modelId="{AFB96A25-92DD-480B-A41E-1EF414BA4F73}">
      <dgm:prSet custT="1"/>
      <dgm:spPr/>
      <dgm:t>
        <a:bodyPr/>
        <a:lstStyle/>
        <a:p>
          <a:pPr rtl="0"/>
          <a:endParaRPr lang="en-GB" sz="12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59196187-22E2-40E1-8229-C291992D6C67}" type="parTrans" cxnId="{6D577768-8088-4487-9ED9-434787EC19DC}">
      <dgm:prSet/>
      <dgm:spPr/>
      <dgm:t>
        <a:bodyPr/>
        <a:lstStyle/>
        <a:p>
          <a:endParaRPr lang="de-DE"/>
        </a:p>
      </dgm:t>
    </dgm:pt>
    <dgm:pt modelId="{B1A4F025-C9D4-4A26-98A2-C84AE39B35EF}" type="sibTrans" cxnId="{6D577768-8088-4487-9ED9-434787EC19DC}">
      <dgm:prSet/>
      <dgm:spPr/>
      <dgm:t>
        <a:bodyPr/>
        <a:lstStyle/>
        <a:p>
          <a:endParaRPr lang="de-DE"/>
        </a:p>
      </dgm:t>
    </dgm:pt>
    <dgm:pt modelId="{2EACCFBB-5845-4C68-9286-6F982517A847}" type="pres">
      <dgm:prSet presAssocID="{7A012174-E62D-4970-B8DC-4EED5B386C05}" presName="Name0" presStyleCnt="0">
        <dgm:presLayoutVars>
          <dgm:dir/>
          <dgm:animLvl val="lvl"/>
          <dgm:resizeHandles val="exact"/>
        </dgm:presLayoutVars>
      </dgm:prSet>
      <dgm:spPr/>
    </dgm:pt>
    <dgm:pt modelId="{52969223-1BC1-4F4E-8284-B7BA56F7C78D}" type="pres">
      <dgm:prSet presAssocID="{7A012174-E62D-4970-B8DC-4EED5B386C05}" presName="tSp" presStyleCnt="0"/>
      <dgm:spPr/>
    </dgm:pt>
    <dgm:pt modelId="{C23616D3-918C-43AD-84F5-9D4B53196087}" type="pres">
      <dgm:prSet presAssocID="{7A012174-E62D-4970-B8DC-4EED5B386C05}" presName="bSp" presStyleCnt="0"/>
      <dgm:spPr/>
    </dgm:pt>
    <dgm:pt modelId="{14158E9E-DD06-499A-9D73-F35A2AD519AC}" type="pres">
      <dgm:prSet presAssocID="{7A012174-E62D-4970-B8DC-4EED5B386C05}" presName="process" presStyleCnt="0"/>
      <dgm:spPr/>
    </dgm:pt>
    <dgm:pt modelId="{3E0BE89B-49F2-46C4-9C2F-240F86164C1E}" type="pres">
      <dgm:prSet presAssocID="{0CB0412B-91CF-4A2C-B55B-687E62E8D83A}" presName="composite1" presStyleCnt="0"/>
      <dgm:spPr/>
    </dgm:pt>
    <dgm:pt modelId="{6589B50B-29EC-4E3F-A7C5-A9559D35DBD9}" type="pres">
      <dgm:prSet presAssocID="{0CB0412B-91CF-4A2C-B55B-687E62E8D83A}" presName="dummyNode1" presStyleLbl="node1" presStyleIdx="0" presStyleCnt="4"/>
      <dgm:spPr/>
    </dgm:pt>
    <dgm:pt modelId="{BC9B279D-453E-4762-9A95-F3797773BD22}" type="pres">
      <dgm:prSet presAssocID="{0CB0412B-91CF-4A2C-B55B-687E62E8D83A}" presName="childNode1" presStyleLbl="bgAcc1" presStyleIdx="0" presStyleCnt="4">
        <dgm:presLayoutVars>
          <dgm:bulletEnabled val="1"/>
        </dgm:presLayoutVars>
      </dgm:prSet>
      <dgm:spPr/>
    </dgm:pt>
    <dgm:pt modelId="{0FB117E3-EF2F-4BEE-8C0F-E797447534DD}" type="pres">
      <dgm:prSet presAssocID="{0CB0412B-91CF-4A2C-B55B-687E62E8D83A}" presName="childNode1tx" presStyleLbl="bgAcc1" presStyleIdx="0" presStyleCnt="4">
        <dgm:presLayoutVars>
          <dgm:bulletEnabled val="1"/>
        </dgm:presLayoutVars>
      </dgm:prSet>
      <dgm:spPr/>
    </dgm:pt>
    <dgm:pt modelId="{172B02FF-A044-4B31-8317-4B9A239AEA78}" type="pres">
      <dgm:prSet presAssocID="{0CB0412B-91CF-4A2C-B55B-687E62E8D83A}" presName="parentNode1" presStyleLbl="node1" presStyleIdx="0" presStyleCnt="4">
        <dgm:presLayoutVars>
          <dgm:chMax val="1"/>
          <dgm:bulletEnabled val="1"/>
        </dgm:presLayoutVars>
      </dgm:prSet>
      <dgm:spPr/>
    </dgm:pt>
    <dgm:pt modelId="{C237EAEC-5598-4DCF-8A78-3151616F8C83}" type="pres">
      <dgm:prSet presAssocID="{0CB0412B-91CF-4A2C-B55B-687E62E8D83A}" presName="connSite1" presStyleCnt="0"/>
      <dgm:spPr/>
    </dgm:pt>
    <dgm:pt modelId="{7CB748FA-510C-4381-80CB-16F28FB7108F}" type="pres">
      <dgm:prSet presAssocID="{0B2B46D3-ED3D-41BC-9867-82B13A88B174}" presName="Name9" presStyleLbl="sibTrans2D1" presStyleIdx="0" presStyleCnt="3"/>
      <dgm:spPr/>
    </dgm:pt>
    <dgm:pt modelId="{9A928273-3C53-4F43-8126-F66EE006F0AE}" type="pres">
      <dgm:prSet presAssocID="{12C19004-DB27-43FF-A325-970A8E00D7AE}" presName="composite2" presStyleCnt="0"/>
      <dgm:spPr/>
    </dgm:pt>
    <dgm:pt modelId="{E20A2D1B-B70C-4173-A582-E54175076F40}" type="pres">
      <dgm:prSet presAssocID="{12C19004-DB27-43FF-A325-970A8E00D7AE}" presName="dummyNode2" presStyleLbl="node1" presStyleIdx="0" presStyleCnt="4"/>
      <dgm:spPr/>
    </dgm:pt>
    <dgm:pt modelId="{736C9CB8-0C82-4239-B101-9E83386887C6}" type="pres">
      <dgm:prSet presAssocID="{12C19004-DB27-43FF-A325-970A8E00D7AE}" presName="childNode2" presStyleLbl="bgAcc1" presStyleIdx="1" presStyleCnt="4" custLinFactNeighborY="0">
        <dgm:presLayoutVars>
          <dgm:bulletEnabled val="1"/>
        </dgm:presLayoutVars>
      </dgm:prSet>
      <dgm:spPr/>
    </dgm:pt>
    <dgm:pt modelId="{3FAE8E62-820B-475B-9520-04BBA9C007A0}" type="pres">
      <dgm:prSet presAssocID="{12C19004-DB27-43FF-A325-970A8E00D7AE}" presName="childNode2tx" presStyleLbl="bgAcc1" presStyleIdx="1" presStyleCnt="4">
        <dgm:presLayoutVars>
          <dgm:bulletEnabled val="1"/>
        </dgm:presLayoutVars>
      </dgm:prSet>
      <dgm:spPr/>
    </dgm:pt>
    <dgm:pt modelId="{6B90A27D-3FFB-4E2C-84DC-45527B2F9344}" type="pres">
      <dgm:prSet presAssocID="{12C19004-DB27-43FF-A325-970A8E00D7AE}" presName="parentNode2" presStyleLbl="node1" presStyleIdx="1" presStyleCnt="4">
        <dgm:presLayoutVars>
          <dgm:chMax val="0"/>
          <dgm:bulletEnabled val="1"/>
        </dgm:presLayoutVars>
      </dgm:prSet>
      <dgm:spPr/>
    </dgm:pt>
    <dgm:pt modelId="{782E590F-147A-40CE-B335-FEADB7BE53DD}" type="pres">
      <dgm:prSet presAssocID="{12C19004-DB27-43FF-A325-970A8E00D7AE}" presName="connSite2" presStyleCnt="0"/>
      <dgm:spPr/>
    </dgm:pt>
    <dgm:pt modelId="{614D5990-BEA2-4322-9312-FB125AFC33A6}" type="pres">
      <dgm:prSet presAssocID="{DD663E0F-EBD3-40BF-8531-0BF9FE67DBEE}" presName="Name18" presStyleLbl="sibTrans2D1" presStyleIdx="1" presStyleCnt="3"/>
      <dgm:spPr/>
    </dgm:pt>
    <dgm:pt modelId="{0BC83104-3AB2-49F7-9031-09A0F6049DDC}" type="pres">
      <dgm:prSet presAssocID="{16B85811-9121-4F3F-8457-CA01906A2A8A}" presName="composite1" presStyleCnt="0"/>
      <dgm:spPr/>
    </dgm:pt>
    <dgm:pt modelId="{F864BBCA-25CE-4A7C-9C48-329E379DEF83}" type="pres">
      <dgm:prSet presAssocID="{16B85811-9121-4F3F-8457-CA01906A2A8A}" presName="dummyNode1" presStyleLbl="node1" presStyleIdx="1" presStyleCnt="4"/>
      <dgm:spPr/>
    </dgm:pt>
    <dgm:pt modelId="{6A648734-0730-4D81-AB94-EB81E6889FD1}" type="pres">
      <dgm:prSet presAssocID="{16B85811-9121-4F3F-8457-CA01906A2A8A}" presName="childNode1" presStyleLbl="bgAcc1" presStyleIdx="2" presStyleCnt="4">
        <dgm:presLayoutVars>
          <dgm:bulletEnabled val="1"/>
        </dgm:presLayoutVars>
      </dgm:prSet>
      <dgm:spPr/>
    </dgm:pt>
    <dgm:pt modelId="{26C6D9D6-855D-4074-B291-9D155C87DB79}" type="pres">
      <dgm:prSet presAssocID="{16B85811-9121-4F3F-8457-CA01906A2A8A}" presName="childNode1tx" presStyleLbl="bgAcc1" presStyleIdx="2" presStyleCnt="4">
        <dgm:presLayoutVars>
          <dgm:bulletEnabled val="1"/>
        </dgm:presLayoutVars>
      </dgm:prSet>
      <dgm:spPr/>
    </dgm:pt>
    <dgm:pt modelId="{20411EA8-2345-4051-9E73-041796F7F9FD}" type="pres">
      <dgm:prSet presAssocID="{16B85811-9121-4F3F-8457-CA01906A2A8A}" presName="parentNode1" presStyleLbl="node1" presStyleIdx="2" presStyleCnt="4">
        <dgm:presLayoutVars>
          <dgm:chMax val="1"/>
          <dgm:bulletEnabled val="1"/>
        </dgm:presLayoutVars>
      </dgm:prSet>
      <dgm:spPr/>
    </dgm:pt>
    <dgm:pt modelId="{8347EC77-7682-412E-B2A9-B5C66F46C7D2}" type="pres">
      <dgm:prSet presAssocID="{16B85811-9121-4F3F-8457-CA01906A2A8A}" presName="connSite1" presStyleCnt="0"/>
      <dgm:spPr/>
    </dgm:pt>
    <dgm:pt modelId="{9F4DEEC6-A45C-40EC-A2A0-7AA1BA760242}" type="pres">
      <dgm:prSet presAssocID="{34F2B6C7-58BB-4C18-8255-AEEB6F1236C2}" presName="Name9" presStyleLbl="sibTrans2D1" presStyleIdx="2" presStyleCnt="3"/>
      <dgm:spPr/>
    </dgm:pt>
    <dgm:pt modelId="{FAEFFF6C-9686-4CFD-B892-C55AECD217A6}" type="pres">
      <dgm:prSet presAssocID="{2041F7FC-69F2-4521-8B1A-A4DFFD5EBBEC}" presName="composite2" presStyleCnt="0"/>
      <dgm:spPr/>
    </dgm:pt>
    <dgm:pt modelId="{E53D48EA-1546-408A-A303-DF883159A6F9}" type="pres">
      <dgm:prSet presAssocID="{2041F7FC-69F2-4521-8B1A-A4DFFD5EBBEC}" presName="dummyNode2" presStyleLbl="node1" presStyleIdx="2" presStyleCnt="4"/>
      <dgm:spPr/>
    </dgm:pt>
    <dgm:pt modelId="{8FA3F26A-63AF-4BC8-A1AD-27A464536C8E}" type="pres">
      <dgm:prSet presAssocID="{2041F7FC-69F2-4521-8B1A-A4DFFD5EBBEC}" presName="childNode2" presStyleLbl="bgAcc1" presStyleIdx="3" presStyleCnt="4">
        <dgm:presLayoutVars>
          <dgm:bulletEnabled val="1"/>
        </dgm:presLayoutVars>
      </dgm:prSet>
      <dgm:spPr/>
    </dgm:pt>
    <dgm:pt modelId="{16536462-27CF-45B2-BD0B-2028E7B55960}" type="pres">
      <dgm:prSet presAssocID="{2041F7FC-69F2-4521-8B1A-A4DFFD5EBBEC}" presName="childNode2tx" presStyleLbl="bgAcc1" presStyleIdx="3" presStyleCnt="4">
        <dgm:presLayoutVars>
          <dgm:bulletEnabled val="1"/>
        </dgm:presLayoutVars>
      </dgm:prSet>
      <dgm:spPr/>
    </dgm:pt>
    <dgm:pt modelId="{BF5259C9-8E3E-4E21-94CD-46C66331831E}" type="pres">
      <dgm:prSet presAssocID="{2041F7FC-69F2-4521-8B1A-A4DFFD5EBBEC}" presName="parentNode2" presStyleLbl="node1" presStyleIdx="3" presStyleCnt="4">
        <dgm:presLayoutVars>
          <dgm:chMax val="0"/>
          <dgm:bulletEnabled val="1"/>
        </dgm:presLayoutVars>
      </dgm:prSet>
      <dgm:spPr/>
    </dgm:pt>
    <dgm:pt modelId="{2094CB16-91A3-4045-A62B-056ACBC7EBD3}" type="pres">
      <dgm:prSet presAssocID="{2041F7FC-69F2-4521-8B1A-A4DFFD5EBBEC}" presName="connSite2" presStyleCnt="0"/>
      <dgm:spPr/>
    </dgm:pt>
  </dgm:ptLst>
  <dgm:cxnLst>
    <dgm:cxn modelId="{29B6C801-CD0B-4D68-88F7-BCE12461C6BC}" type="presOf" srcId="{DD663E0F-EBD3-40BF-8531-0BF9FE67DBEE}" destId="{614D5990-BEA2-4322-9312-FB125AFC33A6}" srcOrd="0" destOrd="0" presId="urn:microsoft.com/office/officeart/2005/8/layout/hProcess4"/>
    <dgm:cxn modelId="{0FCD6206-D5BD-43D7-AF83-881CE5F47D0B}" srcId="{7A012174-E62D-4970-B8DC-4EED5B386C05}" destId="{2041F7FC-69F2-4521-8B1A-A4DFFD5EBBEC}" srcOrd="3" destOrd="0" parTransId="{2046A5DB-D468-4B26-93A4-8D17278A0D39}" sibTransId="{6B594231-55B4-4AEE-90E7-A4E69BD8D631}"/>
    <dgm:cxn modelId="{8B4D170C-A6B0-411F-A9F3-4282D20BD8AC}" srcId="{2041F7FC-69F2-4521-8B1A-A4DFFD5EBBEC}" destId="{20CB9CC6-4227-44AA-9488-D10CA3EC226D}" srcOrd="4" destOrd="0" parTransId="{5152087A-282D-4DED-A14D-6D76941483FD}" sibTransId="{16895505-5F31-4A91-8D09-9D543EE2468C}"/>
    <dgm:cxn modelId="{0DE6D80C-228E-4EBE-8FB1-FD1CC9EB569A}" type="presOf" srcId="{CFADC996-D59E-4B19-A9C0-48864169B083}" destId="{736C9CB8-0C82-4239-B101-9E83386887C6}" srcOrd="0" destOrd="1" presId="urn:microsoft.com/office/officeart/2005/8/layout/hProcess4"/>
    <dgm:cxn modelId="{9984EF17-2950-48AC-898F-491CAAF273EF}" type="presOf" srcId="{A74E76C6-ADE5-4837-A89D-6059814E8AFF}" destId="{26C6D9D6-855D-4074-B291-9D155C87DB79}" srcOrd="1" destOrd="0" presId="urn:microsoft.com/office/officeart/2005/8/layout/hProcess4"/>
    <dgm:cxn modelId="{1D1B2D18-2574-4013-98C2-0A4B1798858B}" type="presOf" srcId="{2041F7FC-69F2-4521-8B1A-A4DFFD5EBBEC}" destId="{BF5259C9-8E3E-4E21-94CD-46C66331831E}" srcOrd="0" destOrd="0" presId="urn:microsoft.com/office/officeart/2005/8/layout/hProcess4"/>
    <dgm:cxn modelId="{465E7D1D-5B6A-4C37-88DB-5E767E89E428}" type="presOf" srcId="{CFADC996-D59E-4B19-A9C0-48864169B083}" destId="{3FAE8E62-820B-475B-9520-04BBA9C007A0}" srcOrd="1" destOrd="1" presId="urn:microsoft.com/office/officeart/2005/8/layout/hProcess4"/>
    <dgm:cxn modelId="{4ABED224-0A9A-4421-A2A9-5EE034E8B015}" type="presOf" srcId="{B69E3DC0-0EEC-40F3-BF5D-8419377E557D}" destId="{16536462-27CF-45B2-BD0B-2028E7B55960}" srcOrd="1" destOrd="0" presId="urn:microsoft.com/office/officeart/2005/8/layout/hProcess4"/>
    <dgm:cxn modelId="{01102228-E79A-4CBF-A57A-4FB25FFE5159}" type="presOf" srcId="{05AFC9CA-220B-4352-85EF-241D65A36874}" destId="{16536462-27CF-45B2-BD0B-2028E7B55960}" srcOrd="1" destOrd="2" presId="urn:microsoft.com/office/officeart/2005/8/layout/hProcess4"/>
    <dgm:cxn modelId="{13CE292E-73BF-4E50-939F-9E755BA75A84}" type="presOf" srcId="{20CB9CC6-4227-44AA-9488-D10CA3EC226D}" destId="{8FA3F26A-63AF-4BC8-A1AD-27A464536C8E}" srcOrd="0" destOrd="4" presId="urn:microsoft.com/office/officeart/2005/8/layout/hProcess4"/>
    <dgm:cxn modelId="{CDAECA3F-653A-4979-A1B4-F57A63D32F8E}" srcId="{2041F7FC-69F2-4521-8B1A-A4DFFD5EBBEC}" destId="{05AFC9CA-220B-4352-85EF-241D65A36874}" srcOrd="2" destOrd="0" parTransId="{BE93242B-7CC1-44FA-A3DB-B4B31F4318EB}" sibTransId="{E30EFE13-FDF6-4090-9E95-D0D4CAD52C85}"/>
    <dgm:cxn modelId="{8E502A64-B236-4755-9872-5246D241DE1E}" srcId="{0CB0412B-91CF-4A2C-B55B-687E62E8D83A}" destId="{8FA111E7-B74F-4F7D-AE92-329AE3D450AE}" srcOrd="0" destOrd="0" parTransId="{48E4173C-6012-4155-BD49-F789198CEB27}" sibTransId="{2BD34081-E713-490D-AAF3-A7AD3EF47A99}"/>
    <dgm:cxn modelId="{3C214567-63CB-4024-BFC5-43734425CD23}" type="presOf" srcId="{CD1F4774-142A-4425-9BD3-8C63B54E4C74}" destId="{3FAE8E62-820B-475B-9520-04BBA9C007A0}" srcOrd="1" destOrd="0" presId="urn:microsoft.com/office/officeart/2005/8/layout/hProcess4"/>
    <dgm:cxn modelId="{6D577768-8088-4487-9ED9-434787EC19DC}" srcId="{2041F7FC-69F2-4521-8B1A-A4DFFD5EBBEC}" destId="{AFB96A25-92DD-480B-A41E-1EF414BA4F73}" srcOrd="1" destOrd="0" parTransId="{59196187-22E2-40E1-8229-C291992D6C67}" sibTransId="{B1A4F025-C9D4-4A26-98A2-C84AE39B35EF}"/>
    <dgm:cxn modelId="{E3AC724C-10DA-439D-8D82-24D8D6CE1294}" srcId="{16B85811-9121-4F3F-8457-CA01906A2A8A}" destId="{A74E76C6-ADE5-4837-A89D-6059814E8AFF}" srcOrd="0" destOrd="0" parTransId="{B84DCFDE-AE78-44F4-B4A5-B787B53491B9}" sibTransId="{2CE42DFF-F774-4246-A740-3F9F6D067FB0}"/>
    <dgm:cxn modelId="{BF30A36D-A7C6-4436-BA23-1790B2A62D1E}" type="presOf" srcId="{B69E3DC0-0EEC-40F3-BF5D-8419377E557D}" destId="{8FA3F26A-63AF-4BC8-A1AD-27A464536C8E}" srcOrd="0" destOrd="0" presId="urn:microsoft.com/office/officeart/2005/8/layout/hProcess4"/>
    <dgm:cxn modelId="{FB7DAC6F-560C-4CDF-8BEF-715FFC058760}" type="presOf" srcId="{B4A3CD5B-02AD-434C-9A10-53075B3F179C}" destId="{6A648734-0730-4D81-AB94-EB81E6889FD1}" srcOrd="0" destOrd="1" presId="urn:microsoft.com/office/officeart/2005/8/layout/hProcess4"/>
    <dgm:cxn modelId="{7D677450-B35C-4E87-B322-9EEAC9FF27FB}" srcId="{2041F7FC-69F2-4521-8B1A-A4DFFD5EBBEC}" destId="{B69E3DC0-0EEC-40F3-BF5D-8419377E557D}" srcOrd="0" destOrd="0" parTransId="{79F4943F-E27F-4D96-A75D-CF959722B2BA}" sibTransId="{430AA663-2FC3-4A8C-9213-F2DB58DE398D}"/>
    <dgm:cxn modelId="{DAB3B553-9FA1-462B-8E7A-0BFA9666D237}" type="presOf" srcId="{A508731D-C56F-406A-AA18-9F7C268E5AFD}" destId="{0FB117E3-EF2F-4BEE-8C0F-E797447534DD}" srcOrd="1" destOrd="1" presId="urn:microsoft.com/office/officeart/2005/8/layout/hProcess4"/>
    <dgm:cxn modelId="{60DFFE56-CEE4-4842-9149-E2A3563CA443}" type="presOf" srcId="{20CB9CC6-4227-44AA-9488-D10CA3EC226D}" destId="{16536462-27CF-45B2-BD0B-2028E7B55960}" srcOrd="1" destOrd="4" presId="urn:microsoft.com/office/officeart/2005/8/layout/hProcess4"/>
    <dgm:cxn modelId="{D9586777-DBBB-4186-BAC6-C921A1F86C35}" srcId="{7A012174-E62D-4970-B8DC-4EED5B386C05}" destId="{12C19004-DB27-43FF-A325-970A8E00D7AE}" srcOrd="1" destOrd="0" parTransId="{D017EC52-8F2F-41FC-BCF5-2D0C09E9942E}" sibTransId="{DD663E0F-EBD3-40BF-8531-0BF9FE67DBEE}"/>
    <dgm:cxn modelId="{81C9BF5A-16B8-42A3-AA8F-62D9A1A05729}" type="presOf" srcId="{7CFA0885-32FC-42B5-AF9F-BA24E381568F}" destId="{8FA3F26A-63AF-4BC8-A1AD-27A464536C8E}" srcOrd="0" destOrd="3" presId="urn:microsoft.com/office/officeart/2005/8/layout/hProcess4"/>
    <dgm:cxn modelId="{683AEE5A-F247-4CFB-B86B-1E238FCC9AD5}" type="presOf" srcId="{34F2B6C7-58BB-4C18-8255-AEEB6F1236C2}" destId="{9F4DEEC6-A45C-40EC-A2A0-7AA1BA760242}" srcOrd="0" destOrd="0" presId="urn:microsoft.com/office/officeart/2005/8/layout/hProcess4"/>
    <dgm:cxn modelId="{8F7D037C-F60B-4419-B31E-0C55CEF1DA5F}" type="presOf" srcId="{B4A3CD5B-02AD-434C-9A10-53075B3F179C}" destId="{26C6D9D6-855D-4074-B291-9D155C87DB79}" srcOrd="1" destOrd="1" presId="urn:microsoft.com/office/officeart/2005/8/layout/hProcess4"/>
    <dgm:cxn modelId="{A94E6881-436A-4C11-B9F2-DCA463D9C982}" type="presOf" srcId="{12C19004-DB27-43FF-A325-970A8E00D7AE}" destId="{6B90A27D-3FFB-4E2C-84DC-45527B2F9344}" srcOrd="0" destOrd="0" presId="urn:microsoft.com/office/officeart/2005/8/layout/hProcess4"/>
    <dgm:cxn modelId="{EA354E82-38C4-41A4-AB6C-E23080EB129E}" type="presOf" srcId="{16B85811-9121-4F3F-8457-CA01906A2A8A}" destId="{20411EA8-2345-4051-9E73-041796F7F9FD}" srcOrd="0" destOrd="0" presId="urn:microsoft.com/office/officeart/2005/8/layout/hProcess4"/>
    <dgm:cxn modelId="{21DC2695-11B9-4592-A65E-1532680B0E37}" type="presOf" srcId="{0B2B46D3-ED3D-41BC-9867-82B13A88B174}" destId="{7CB748FA-510C-4381-80CB-16F28FB7108F}" srcOrd="0" destOrd="0" presId="urn:microsoft.com/office/officeart/2005/8/layout/hProcess4"/>
    <dgm:cxn modelId="{D00E4897-523C-4DBC-8D3D-62E0130ABCD3}" srcId="{7A012174-E62D-4970-B8DC-4EED5B386C05}" destId="{16B85811-9121-4F3F-8457-CA01906A2A8A}" srcOrd="2" destOrd="0" parTransId="{DEA38E1C-2C03-4BD1-A62E-B054BC3BF784}" sibTransId="{34F2B6C7-58BB-4C18-8255-AEEB6F1236C2}"/>
    <dgm:cxn modelId="{340DF098-9702-4E26-AD42-B6EAB4BE0932}" type="presOf" srcId="{8FA111E7-B74F-4F7D-AE92-329AE3D450AE}" destId="{BC9B279D-453E-4762-9A95-F3797773BD22}" srcOrd="0" destOrd="0" presId="urn:microsoft.com/office/officeart/2005/8/layout/hProcess4"/>
    <dgm:cxn modelId="{BD429DA2-3FA4-4AAD-82CC-45CFA002232F}" srcId="{16B85811-9121-4F3F-8457-CA01906A2A8A}" destId="{B4A3CD5B-02AD-434C-9A10-53075B3F179C}" srcOrd="1" destOrd="0" parTransId="{0569E941-6ABA-44F2-BE79-7B4C1F6008E1}" sibTransId="{2D442CAE-399E-4AAE-9B63-654B5D9B7AAE}"/>
    <dgm:cxn modelId="{B1A095B0-BA56-4671-A532-7221316AEE40}" type="presOf" srcId="{AFB96A25-92DD-480B-A41E-1EF414BA4F73}" destId="{16536462-27CF-45B2-BD0B-2028E7B55960}" srcOrd="1" destOrd="1" presId="urn:microsoft.com/office/officeart/2005/8/layout/hProcess4"/>
    <dgm:cxn modelId="{16F991B2-C6D0-4F9E-BDDD-36BB69FAB78F}" type="presOf" srcId="{8FA111E7-B74F-4F7D-AE92-329AE3D450AE}" destId="{0FB117E3-EF2F-4BEE-8C0F-E797447534DD}" srcOrd="1" destOrd="0" presId="urn:microsoft.com/office/officeart/2005/8/layout/hProcess4"/>
    <dgm:cxn modelId="{05F9B1C0-029F-4273-9034-647B64F62BA6}" srcId="{2041F7FC-69F2-4521-8B1A-A4DFFD5EBBEC}" destId="{7CFA0885-32FC-42B5-AF9F-BA24E381568F}" srcOrd="3" destOrd="0" parTransId="{1C206F40-B5B6-4E05-BEDD-2369361B8669}" sibTransId="{8C83A3DD-2D2D-4328-890E-0A422418A64F}"/>
    <dgm:cxn modelId="{A7F96FCE-7629-4457-8C8A-14C8A44DB8B4}" type="presOf" srcId="{0CB0412B-91CF-4A2C-B55B-687E62E8D83A}" destId="{172B02FF-A044-4B31-8317-4B9A239AEA78}" srcOrd="0" destOrd="0" presId="urn:microsoft.com/office/officeart/2005/8/layout/hProcess4"/>
    <dgm:cxn modelId="{8CE6D0E3-4724-4C58-8F3D-8D1513DFE9FA}" type="presOf" srcId="{CD1F4774-142A-4425-9BD3-8C63B54E4C74}" destId="{736C9CB8-0C82-4239-B101-9E83386887C6}" srcOrd="0" destOrd="0" presId="urn:microsoft.com/office/officeart/2005/8/layout/hProcess4"/>
    <dgm:cxn modelId="{923203E7-0C48-4513-9D48-03367ECC08AE}" type="presOf" srcId="{7CFA0885-32FC-42B5-AF9F-BA24E381568F}" destId="{16536462-27CF-45B2-BD0B-2028E7B55960}" srcOrd="1" destOrd="3" presId="urn:microsoft.com/office/officeart/2005/8/layout/hProcess4"/>
    <dgm:cxn modelId="{21AACAE8-9BF5-48EB-9CF8-4EEF5DE7FB92}" srcId="{7A012174-E62D-4970-B8DC-4EED5B386C05}" destId="{0CB0412B-91CF-4A2C-B55B-687E62E8D83A}" srcOrd="0" destOrd="0" parTransId="{1E379BE1-05C6-4AE6-9B28-D304C2657A6C}" sibTransId="{0B2B46D3-ED3D-41BC-9867-82B13A88B174}"/>
    <dgm:cxn modelId="{B3FA5EE9-5998-41A6-954F-FD1A09BC01D1}" type="presOf" srcId="{A74E76C6-ADE5-4837-A89D-6059814E8AFF}" destId="{6A648734-0730-4D81-AB94-EB81E6889FD1}" srcOrd="0" destOrd="0" presId="urn:microsoft.com/office/officeart/2005/8/layout/hProcess4"/>
    <dgm:cxn modelId="{3B24D8EE-519B-40D2-8485-74D22938BD65}" type="presOf" srcId="{AFB96A25-92DD-480B-A41E-1EF414BA4F73}" destId="{8FA3F26A-63AF-4BC8-A1AD-27A464536C8E}" srcOrd="0" destOrd="1" presId="urn:microsoft.com/office/officeart/2005/8/layout/hProcess4"/>
    <dgm:cxn modelId="{6DC7BEF5-D9BB-41C3-B9AD-99CD5A4C1ED8}" type="presOf" srcId="{05AFC9CA-220B-4352-85EF-241D65A36874}" destId="{8FA3F26A-63AF-4BC8-A1AD-27A464536C8E}" srcOrd="0" destOrd="2" presId="urn:microsoft.com/office/officeart/2005/8/layout/hProcess4"/>
    <dgm:cxn modelId="{CB2A3EF6-82A0-4748-941C-247E2314F75C}" type="presOf" srcId="{7A012174-E62D-4970-B8DC-4EED5B386C05}" destId="{2EACCFBB-5845-4C68-9286-6F982517A847}" srcOrd="0" destOrd="0" presId="urn:microsoft.com/office/officeart/2005/8/layout/hProcess4"/>
    <dgm:cxn modelId="{6E0A6AF7-E1DE-48B8-BA0B-C843EB422CA6}" srcId="{0CB0412B-91CF-4A2C-B55B-687E62E8D83A}" destId="{A508731D-C56F-406A-AA18-9F7C268E5AFD}" srcOrd="1" destOrd="0" parTransId="{1881DE8D-8359-42DC-A1E3-4BC476037287}" sibTransId="{A83E7B8C-F235-43CE-B645-E6B972A63C12}"/>
    <dgm:cxn modelId="{DBA7DDF9-A5A8-4C64-9900-C760AA38D85C}" srcId="{12C19004-DB27-43FF-A325-970A8E00D7AE}" destId="{CD1F4774-142A-4425-9BD3-8C63B54E4C74}" srcOrd="0" destOrd="0" parTransId="{E454EFD9-26E5-45E2-8C58-FBB59CEEE1B2}" sibTransId="{7409A714-3BB8-47CE-9FF5-BDC33C86685B}"/>
    <dgm:cxn modelId="{5300BBFA-7E89-4CC5-A5FF-F8861E365DD9}" type="presOf" srcId="{A508731D-C56F-406A-AA18-9F7C268E5AFD}" destId="{BC9B279D-453E-4762-9A95-F3797773BD22}" srcOrd="0" destOrd="1" presId="urn:microsoft.com/office/officeart/2005/8/layout/hProcess4"/>
    <dgm:cxn modelId="{2F753DFF-DBD5-4C8B-A262-2641248504D4}" srcId="{12C19004-DB27-43FF-A325-970A8E00D7AE}" destId="{CFADC996-D59E-4B19-A9C0-48864169B083}" srcOrd="1" destOrd="0" parTransId="{337B48A0-63DD-484C-AEAA-DDF8BE5B7340}" sibTransId="{1F341387-1FE8-4F6B-88E5-0C74520CF5D1}"/>
    <dgm:cxn modelId="{50889C3D-CA04-47C9-8EAF-16D0F358656B}" type="presParOf" srcId="{2EACCFBB-5845-4C68-9286-6F982517A847}" destId="{52969223-1BC1-4F4E-8284-B7BA56F7C78D}" srcOrd="0" destOrd="0" presId="urn:microsoft.com/office/officeart/2005/8/layout/hProcess4"/>
    <dgm:cxn modelId="{85571F2C-5555-4C47-9659-478AC14B1C2F}" type="presParOf" srcId="{2EACCFBB-5845-4C68-9286-6F982517A847}" destId="{C23616D3-918C-43AD-84F5-9D4B53196087}" srcOrd="1" destOrd="0" presId="urn:microsoft.com/office/officeart/2005/8/layout/hProcess4"/>
    <dgm:cxn modelId="{B6AE53AC-5A79-4EE6-97D8-7ED52AD91E7F}" type="presParOf" srcId="{2EACCFBB-5845-4C68-9286-6F982517A847}" destId="{14158E9E-DD06-499A-9D73-F35A2AD519AC}" srcOrd="2" destOrd="0" presId="urn:microsoft.com/office/officeart/2005/8/layout/hProcess4"/>
    <dgm:cxn modelId="{BFEB3821-3157-4BA1-B789-FA5F6841DDF7}" type="presParOf" srcId="{14158E9E-DD06-499A-9D73-F35A2AD519AC}" destId="{3E0BE89B-49F2-46C4-9C2F-240F86164C1E}" srcOrd="0" destOrd="0" presId="urn:microsoft.com/office/officeart/2005/8/layout/hProcess4"/>
    <dgm:cxn modelId="{FA61030F-61FD-4DEE-94D1-0A78D98C2CCC}" type="presParOf" srcId="{3E0BE89B-49F2-46C4-9C2F-240F86164C1E}" destId="{6589B50B-29EC-4E3F-A7C5-A9559D35DBD9}" srcOrd="0" destOrd="0" presId="urn:microsoft.com/office/officeart/2005/8/layout/hProcess4"/>
    <dgm:cxn modelId="{9A038640-D540-4129-9314-DF1C1B6ED218}" type="presParOf" srcId="{3E0BE89B-49F2-46C4-9C2F-240F86164C1E}" destId="{BC9B279D-453E-4762-9A95-F3797773BD22}" srcOrd="1" destOrd="0" presId="urn:microsoft.com/office/officeart/2005/8/layout/hProcess4"/>
    <dgm:cxn modelId="{98905E99-3505-4A3C-9276-8518D0967E79}" type="presParOf" srcId="{3E0BE89B-49F2-46C4-9C2F-240F86164C1E}" destId="{0FB117E3-EF2F-4BEE-8C0F-E797447534DD}" srcOrd="2" destOrd="0" presId="urn:microsoft.com/office/officeart/2005/8/layout/hProcess4"/>
    <dgm:cxn modelId="{7DB8B589-AB10-4365-8D79-527F93A89D63}" type="presParOf" srcId="{3E0BE89B-49F2-46C4-9C2F-240F86164C1E}" destId="{172B02FF-A044-4B31-8317-4B9A239AEA78}" srcOrd="3" destOrd="0" presId="urn:microsoft.com/office/officeart/2005/8/layout/hProcess4"/>
    <dgm:cxn modelId="{F6E45615-C746-4E6A-93DA-92FEACC4C157}" type="presParOf" srcId="{3E0BE89B-49F2-46C4-9C2F-240F86164C1E}" destId="{C237EAEC-5598-4DCF-8A78-3151616F8C83}" srcOrd="4" destOrd="0" presId="urn:microsoft.com/office/officeart/2005/8/layout/hProcess4"/>
    <dgm:cxn modelId="{B62B43C1-D0A3-498D-A583-F5514063A2C4}" type="presParOf" srcId="{14158E9E-DD06-499A-9D73-F35A2AD519AC}" destId="{7CB748FA-510C-4381-80CB-16F28FB7108F}" srcOrd="1" destOrd="0" presId="urn:microsoft.com/office/officeart/2005/8/layout/hProcess4"/>
    <dgm:cxn modelId="{56713EC6-ED77-4302-8914-5D86C6897B10}" type="presParOf" srcId="{14158E9E-DD06-499A-9D73-F35A2AD519AC}" destId="{9A928273-3C53-4F43-8126-F66EE006F0AE}" srcOrd="2" destOrd="0" presId="urn:microsoft.com/office/officeart/2005/8/layout/hProcess4"/>
    <dgm:cxn modelId="{FD5D7539-6F44-4379-8C37-23B24CE24017}" type="presParOf" srcId="{9A928273-3C53-4F43-8126-F66EE006F0AE}" destId="{E20A2D1B-B70C-4173-A582-E54175076F40}" srcOrd="0" destOrd="0" presId="urn:microsoft.com/office/officeart/2005/8/layout/hProcess4"/>
    <dgm:cxn modelId="{46C56001-7792-4D95-88AA-881B0A6B0AEF}" type="presParOf" srcId="{9A928273-3C53-4F43-8126-F66EE006F0AE}" destId="{736C9CB8-0C82-4239-B101-9E83386887C6}" srcOrd="1" destOrd="0" presId="urn:microsoft.com/office/officeart/2005/8/layout/hProcess4"/>
    <dgm:cxn modelId="{50C43887-E27D-42DC-A923-6D9764563B16}" type="presParOf" srcId="{9A928273-3C53-4F43-8126-F66EE006F0AE}" destId="{3FAE8E62-820B-475B-9520-04BBA9C007A0}" srcOrd="2" destOrd="0" presId="urn:microsoft.com/office/officeart/2005/8/layout/hProcess4"/>
    <dgm:cxn modelId="{F4E4B7E5-3032-4899-B496-FC8E98B32D19}" type="presParOf" srcId="{9A928273-3C53-4F43-8126-F66EE006F0AE}" destId="{6B90A27D-3FFB-4E2C-84DC-45527B2F9344}" srcOrd="3" destOrd="0" presId="urn:microsoft.com/office/officeart/2005/8/layout/hProcess4"/>
    <dgm:cxn modelId="{E9AA25B6-E800-4BE3-BB0E-DD62F6AEF2BA}" type="presParOf" srcId="{9A928273-3C53-4F43-8126-F66EE006F0AE}" destId="{782E590F-147A-40CE-B335-FEADB7BE53DD}" srcOrd="4" destOrd="0" presId="urn:microsoft.com/office/officeart/2005/8/layout/hProcess4"/>
    <dgm:cxn modelId="{B927B48B-ECA6-4024-AFF8-D45023E8A6E9}" type="presParOf" srcId="{14158E9E-DD06-499A-9D73-F35A2AD519AC}" destId="{614D5990-BEA2-4322-9312-FB125AFC33A6}" srcOrd="3" destOrd="0" presId="urn:microsoft.com/office/officeart/2005/8/layout/hProcess4"/>
    <dgm:cxn modelId="{D7855C39-54DA-4DE6-BEB0-B4B5633D16D5}" type="presParOf" srcId="{14158E9E-DD06-499A-9D73-F35A2AD519AC}" destId="{0BC83104-3AB2-49F7-9031-09A0F6049DDC}" srcOrd="4" destOrd="0" presId="urn:microsoft.com/office/officeart/2005/8/layout/hProcess4"/>
    <dgm:cxn modelId="{A5DE10C3-0A90-4A0B-A54A-DD830EDCC96A}" type="presParOf" srcId="{0BC83104-3AB2-49F7-9031-09A0F6049DDC}" destId="{F864BBCA-25CE-4A7C-9C48-329E379DEF83}" srcOrd="0" destOrd="0" presId="urn:microsoft.com/office/officeart/2005/8/layout/hProcess4"/>
    <dgm:cxn modelId="{C7EEDB8E-D6A4-46CF-A011-0F4DB4D4759B}" type="presParOf" srcId="{0BC83104-3AB2-49F7-9031-09A0F6049DDC}" destId="{6A648734-0730-4D81-AB94-EB81E6889FD1}" srcOrd="1" destOrd="0" presId="urn:microsoft.com/office/officeart/2005/8/layout/hProcess4"/>
    <dgm:cxn modelId="{BC510E3C-0F84-4B17-9152-E222C1768520}" type="presParOf" srcId="{0BC83104-3AB2-49F7-9031-09A0F6049DDC}" destId="{26C6D9D6-855D-4074-B291-9D155C87DB79}" srcOrd="2" destOrd="0" presId="urn:microsoft.com/office/officeart/2005/8/layout/hProcess4"/>
    <dgm:cxn modelId="{92B9B08C-CF06-4556-A10C-E63888F35080}" type="presParOf" srcId="{0BC83104-3AB2-49F7-9031-09A0F6049DDC}" destId="{20411EA8-2345-4051-9E73-041796F7F9FD}" srcOrd="3" destOrd="0" presId="urn:microsoft.com/office/officeart/2005/8/layout/hProcess4"/>
    <dgm:cxn modelId="{602326B1-E9B9-46BE-BDC6-FE2B1E91D42A}" type="presParOf" srcId="{0BC83104-3AB2-49F7-9031-09A0F6049DDC}" destId="{8347EC77-7682-412E-B2A9-B5C66F46C7D2}" srcOrd="4" destOrd="0" presId="urn:microsoft.com/office/officeart/2005/8/layout/hProcess4"/>
    <dgm:cxn modelId="{76EAD3B3-1630-43AD-8DA8-10CFC8253875}" type="presParOf" srcId="{14158E9E-DD06-499A-9D73-F35A2AD519AC}" destId="{9F4DEEC6-A45C-40EC-A2A0-7AA1BA760242}" srcOrd="5" destOrd="0" presId="urn:microsoft.com/office/officeart/2005/8/layout/hProcess4"/>
    <dgm:cxn modelId="{0FCC6359-8236-4500-A0B7-11C90ED84686}" type="presParOf" srcId="{14158E9E-DD06-499A-9D73-F35A2AD519AC}" destId="{FAEFFF6C-9686-4CFD-B892-C55AECD217A6}" srcOrd="6" destOrd="0" presId="urn:microsoft.com/office/officeart/2005/8/layout/hProcess4"/>
    <dgm:cxn modelId="{EA6AB147-7E1F-4A49-B09E-BDD8A56DB0E0}" type="presParOf" srcId="{FAEFFF6C-9686-4CFD-B892-C55AECD217A6}" destId="{E53D48EA-1546-408A-A303-DF883159A6F9}" srcOrd="0" destOrd="0" presId="urn:microsoft.com/office/officeart/2005/8/layout/hProcess4"/>
    <dgm:cxn modelId="{1430128A-D1D8-45F5-8691-2F0D4D0604B3}" type="presParOf" srcId="{FAEFFF6C-9686-4CFD-B892-C55AECD217A6}" destId="{8FA3F26A-63AF-4BC8-A1AD-27A464536C8E}" srcOrd="1" destOrd="0" presId="urn:microsoft.com/office/officeart/2005/8/layout/hProcess4"/>
    <dgm:cxn modelId="{23566047-15A1-476C-B972-27C5195EA338}" type="presParOf" srcId="{FAEFFF6C-9686-4CFD-B892-C55AECD217A6}" destId="{16536462-27CF-45B2-BD0B-2028E7B55960}" srcOrd="2" destOrd="0" presId="urn:microsoft.com/office/officeart/2005/8/layout/hProcess4"/>
    <dgm:cxn modelId="{38D86AE3-6649-449D-8DFE-36C776F1E044}" type="presParOf" srcId="{FAEFFF6C-9686-4CFD-B892-C55AECD217A6}" destId="{BF5259C9-8E3E-4E21-94CD-46C66331831E}" srcOrd="3" destOrd="0" presId="urn:microsoft.com/office/officeart/2005/8/layout/hProcess4"/>
    <dgm:cxn modelId="{81D52147-4136-4A61-9882-D29E8972C0DD}" type="presParOf" srcId="{FAEFFF6C-9686-4CFD-B892-C55AECD217A6}" destId="{2094CB16-91A3-4045-A62B-056ACBC7EBD3}" srcOrd="4" destOrd="0" presId="urn:microsoft.com/office/officeart/2005/8/layout/hProcess4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C9B279D-453E-4762-9A95-F3797773BD22}">
      <dsp:nvSpPr>
        <dsp:cNvPr id="0" name=""/>
        <dsp:cNvSpPr/>
      </dsp:nvSpPr>
      <dsp:spPr>
        <a:xfrm>
          <a:off x="529" y="1161791"/>
          <a:ext cx="2215603" cy="182740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None/>
          </a:pPr>
          <a:endParaRPr lang="en-GB" sz="1100" kern="1200" noProof="0">
            <a:latin typeface="Arial" panose="020B0604020202020204" pitchFamily="34" charset="0"/>
            <a:cs typeface="Arial" panose="020B0604020202020204" pitchFamily="34" charset="0"/>
          </a:endParaRPr>
        </a:p>
        <a:p>
          <a:pPr marL="57150" lvl="1" indent="-57150" algn="l" defTabSz="4889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GB" sz="1100" kern="1200" noProof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42583" y="1203845"/>
        <a:ext cx="2131495" cy="1351713"/>
      </dsp:txXfrm>
    </dsp:sp>
    <dsp:sp modelId="{7CB748FA-510C-4381-80CB-16F28FB7108F}">
      <dsp:nvSpPr>
        <dsp:cNvPr id="0" name=""/>
        <dsp:cNvSpPr/>
      </dsp:nvSpPr>
      <dsp:spPr>
        <a:xfrm>
          <a:off x="1201993" y="1440262"/>
          <a:ext cx="2674982" cy="2674982"/>
        </a:xfrm>
        <a:prstGeom prst="leftCircularArrow">
          <a:avLst>
            <a:gd name="adj1" fmla="val 4014"/>
            <a:gd name="adj2" fmla="val 504238"/>
            <a:gd name="adj3" fmla="val 2279749"/>
            <a:gd name="adj4" fmla="val 9024489"/>
            <a:gd name="adj5" fmla="val 4683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72B02FF-A044-4B31-8317-4B9A239AEA78}">
      <dsp:nvSpPr>
        <dsp:cNvPr id="0" name=""/>
        <dsp:cNvSpPr/>
      </dsp:nvSpPr>
      <dsp:spPr>
        <a:xfrm>
          <a:off x="492885" y="2597613"/>
          <a:ext cx="1969425" cy="78317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0320" rIns="30480" bIns="20320" numCol="1" spcCol="1270" anchor="ctr" anchorCtr="0">
          <a:noAutofit/>
        </a:bodyPr>
        <a:lstStyle/>
        <a:p>
          <a:pPr marL="0" lvl="0" indent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>
              <a:latin typeface="Arial" panose="020B0604020202020204" pitchFamily="34" charset="0"/>
              <a:cs typeface="Arial" panose="020B0604020202020204" pitchFamily="34" charset="0"/>
            </a:rPr>
            <a:t>Dataset Presentation</a:t>
          </a:r>
        </a:p>
      </dsp:txBody>
      <dsp:txXfrm>
        <a:off x="515823" y="2620551"/>
        <a:ext cx="1923549" cy="737299"/>
      </dsp:txXfrm>
    </dsp:sp>
    <dsp:sp modelId="{736C9CB8-0C82-4239-B101-9E83386887C6}">
      <dsp:nvSpPr>
        <dsp:cNvPr id="0" name=""/>
        <dsp:cNvSpPr/>
      </dsp:nvSpPr>
      <dsp:spPr>
        <a:xfrm>
          <a:off x="2973616" y="1161791"/>
          <a:ext cx="2215603" cy="182740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57150" lvl="1" indent="-57150" algn="l" defTabSz="488950" rtl="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None/>
          </a:pPr>
          <a:endParaRPr lang="en-GB" sz="1100" kern="1200">
            <a:latin typeface="Arial" panose="020B0604020202020204" pitchFamily="34" charset="0"/>
            <a:cs typeface="Arial" panose="020B0604020202020204" pitchFamily="34" charset="0"/>
          </a:endParaRPr>
        </a:p>
        <a:p>
          <a:pPr marL="57150" lvl="1" indent="-57150" algn="l" defTabSz="4889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GB" sz="1100" kern="120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3015670" y="1595433"/>
        <a:ext cx="2131495" cy="1351713"/>
      </dsp:txXfrm>
    </dsp:sp>
    <dsp:sp modelId="{614D5990-BEA2-4322-9312-FB125AFC33A6}">
      <dsp:nvSpPr>
        <dsp:cNvPr id="0" name=""/>
        <dsp:cNvSpPr/>
      </dsp:nvSpPr>
      <dsp:spPr>
        <a:xfrm>
          <a:off x="4156617" y="-35903"/>
          <a:ext cx="2958087" cy="2958087"/>
        </a:xfrm>
        <a:prstGeom prst="circularArrow">
          <a:avLst>
            <a:gd name="adj1" fmla="val 3630"/>
            <a:gd name="adj2" fmla="val 451781"/>
            <a:gd name="adj3" fmla="val 19372709"/>
            <a:gd name="adj4" fmla="val 12575511"/>
            <a:gd name="adj5" fmla="val 4235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B90A27D-3FFB-4E2C-84DC-45527B2F9344}">
      <dsp:nvSpPr>
        <dsp:cNvPr id="0" name=""/>
        <dsp:cNvSpPr/>
      </dsp:nvSpPr>
      <dsp:spPr>
        <a:xfrm>
          <a:off x="3465973" y="770203"/>
          <a:ext cx="1969425" cy="78317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0320" rIns="30480" bIns="20320" numCol="1" spcCol="1270" anchor="ctr" anchorCtr="0">
          <a:noAutofit/>
        </a:bodyPr>
        <a:lstStyle/>
        <a:p>
          <a:pPr marL="0" lvl="0" indent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>
              <a:latin typeface="Arial" panose="020B0604020202020204" pitchFamily="34" charset="0"/>
              <a:cs typeface="Arial" panose="020B0604020202020204" pitchFamily="34" charset="0"/>
            </a:rPr>
            <a:t>Data Analysis</a:t>
          </a:r>
        </a:p>
      </dsp:txBody>
      <dsp:txXfrm>
        <a:off x="3488911" y="793141"/>
        <a:ext cx="1923549" cy="737299"/>
      </dsp:txXfrm>
    </dsp:sp>
    <dsp:sp modelId="{6A648734-0730-4D81-AB94-EB81E6889FD1}">
      <dsp:nvSpPr>
        <dsp:cNvPr id="0" name=""/>
        <dsp:cNvSpPr/>
      </dsp:nvSpPr>
      <dsp:spPr>
        <a:xfrm>
          <a:off x="5946704" y="1161791"/>
          <a:ext cx="2215603" cy="182740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114300" lvl="1" indent="-114300" algn="l" defTabSz="5334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GB" sz="1200" kern="1200" noProof="0">
            <a:latin typeface="Arial" panose="020B0604020202020204" pitchFamily="34" charset="0"/>
            <a:cs typeface="Arial" panose="020B0604020202020204" pitchFamily="34" charset="0"/>
          </a:endParaRPr>
        </a:p>
        <a:p>
          <a:pPr marL="114300" lvl="1" indent="-114300" algn="l" defTabSz="5334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GB" sz="1200" kern="1200" noProof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5988758" y="1203845"/>
        <a:ext cx="2131495" cy="1351713"/>
      </dsp:txXfrm>
    </dsp:sp>
    <dsp:sp modelId="{9F4DEEC6-A45C-40EC-A2A0-7AA1BA760242}">
      <dsp:nvSpPr>
        <dsp:cNvPr id="0" name=""/>
        <dsp:cNvSpPr/>
      </dsp:nvSpPr>
      <dsp:spPr>
        <a:xfrm>
          <a:off x="7148168" y="1440262"/>
          <a:ext cx="2674982" cy="2674982"/>
        </a:xfrm>
        <a:prstGeom prst="leftCircularArrow">
          <a:avLst>
            <a:gd name="adj1" fmla="val 4014"/>
            <a:gd name="adj2" fmla="val 504238"/>
            <a:gd name="adj3" fmla="val 2279749"/>
            <a:gd name="adj4" fmla="val 9024489"/>
            <a:gd name="adj5" fmla="val 4683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0411EA8-2345-4051-9E73-041796F7F9FD}">
      <dsp:nvSpPr>
        <dsp:cNvPr id="0" name=""/>
        <dsp:cNvSpPr/>
      </dsp:nvSpPr>
      <dsp:spPr>
        <a:xfrm>
          <a:off x="6439060" y="2597613"/>
          <a:ext cx="1969425" cy="78317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0320" rIns="30480" bIns="20320" numCol="1" spcCol="1270" anchor="ctr" anchorCtr="0">
          <a:noAutofit/>
        </a:bodyPr>
        <a:lstStyle/>
        <a:p>
          <a:pPr marL="0" lvl="0" indent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 noProof="0">
              <a:latin typeface="Arial" panose="020B0604020202020204" pitchFamily="34" charset="0"/>
              <a:cs typeface="Arial" panose="020B0604020202020204" pitchFamily="34" charset="0"/>
            </a:rPr>
            <a:t>Discussion of Insights</a:t>
          </a:r>
        </a:p>
      </dsp:txBody>
      <dsp:txXfrm>
        <a:off x="6461998" y="2620551"/>
        <a:ext cx="1923549" cy="737299"/>
      </dsp:txXfrm>
    </dsp:sp>
    <dsp:sp modelId="{8FA3F26A-63AF-4BC8-A1AD-27A464536C8E}">
      <dsp:nvSpPr>
        <dsp:cNvPr id="0" name=""/>
        <dsp:cNvSpPr/>
      </dsp:nvSpPr>
      <dsp:spPr>
        <a:xfrm>
          <a:off x="8919791" y="1161791"/>
          <a:ext cx="2215603" cy="182740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114300" lvl="1" indent="-114300" algn="l" defTabSz="5334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GB" sz="1200" kern="1200">
            <a:latin typeface="Arial" panose="020B0604020202020204" pitchFamily="34" charset="0"/>
            <a:cs typeface="Arial" panose="020B0604020202020204" pitchFamily="34" charset="0"/>
          </a:endParaRPr>
        </a:p>
        <a:p>
          <a:pPr marL="114300" lvl="1" indent="-114300" algn="l" defTabSz="5334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GB" sz="1200" kern="1200">
            <a:latin typeface="Arial" panose="020B0604020202020204" pitchFamily="34" charset="0"/>
            <a:cs typeface="Arial" panose="020B0604020202020204" pitchFamily="34" charset="0"/>
          </a:endParaRPr>
        </a:p>
        <a:p>
          <a:pPr marL="114300" lvl="1" indent="-114300" algn="l" defTabSz="5334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GB" sz="1200" kern="1200">
            <a:latin typeface="Arial" panose="020B0604020202020204" pitchFamily="34" charset="0"/>
            <a:cs typeface="Arial" panose="020B0604020202020204" pitchFamily="34" charset="0"/>
          </a:endParaRPr>
        </a:p>
        <a:p>
          <a:pPr marL="114300" lvl="1" indent="-114300" algn="l" defTabSz="5334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GB" sz="1200" kern="1200">
            <a:latin typeface="Arial" panose="020B0604020202020204" pitchFamily="34" charset="0"/>
            <a:cs typeface="Arial" panose="020B0604020202020204" pitchFamily="34" charset="0"/>
          </a:endParaRPr>
        </a:p>
        <a:p>
          <a:pPr marL="114300" lvl="1" indent="-114300" algn="l" defTabSz="5334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GB" sz="1200" kern="120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8961845" y="1595433"/>
        <a:ext cx="2131495" cy="1351713"/>
      </dsp:txXfrm>
    </dsp:sp>
    <dsp:sp modelId="{BF5259C9-8E3E-4E21-94CD-46C66331831E}">
      <dsp:nvSpPr>
        <dsp:cNvPr id="0" name=""/>
        <dsp:cNvSpPr/>
      </dsp:nvSpPr>
      <dsp:spPr>
        <a:xfrm>
          <a:off x="9412148" y="770203"/>
          <a:ext cx="1969425" cy="78317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0320" rIns="30480" bIns="20320" numCol="1" spcCol="1270" anchor="ctr" anchorCtr="0">
          <a:noAutofit/>
        </a:bodyPr>
        <a:lstStyle/>
        <a:p>
          <a:pPr marL="0" lvl="0" indent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>
              <a:latin typeface="Arial" panose="020B0604020202020204" pitchFamily="34" charset="0"/>
              <a:cs typeface="Arial" panose="020B0604020202020204" pitchFamily="34" charset="0"/>
            </a:rPr>
            <a:t>Conclusion</a:t>
          </a:r>
        </a:p>
      </dsp:txBody>
      <dsp:txXfrm>
        <a:off x="9435086" y="793141"/>
        <a:ext cx="1923549" cy="73729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4">
  <dgm:title val=""/>
  <dgm:desc val=""/>
  <dgm:catLst>
    <dgm:cat type="process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tSp" refType="w"/>
      <dgm:constr type="h" for="ch" forName="tSp" refType="h" fact="0.15"/>
      <dgm:constr type="l" for="ch" forName="tSp"/>
      <dgm:constr type="t" for="ch" forName="tSp"/>
      <dgm:constr type="w" for="ch" forName="bSp" refType="w"/>
      <dgm:constr type="h" for="ch" forName="bSp" refType="h" fact="0.15"/>
      <dgm:constr type="l" for="ch" forName="bSp"/>
      <dgm:constr type="t" for="ch" forName="bSp" refType="h" fact="0.85"/>
      <dgm:constr type="w" for="ch" forName="process" refType="w"/>
      <dgm:constr type="h" for="ch" forName="process" refType="h" fact="0.7"/>
      <dgm:constr type="l" for="ch" forName="process"/>
      <dgm:constr type="t" for="ch" forName="process" refType="h" fact="0.15"/>
    </dgm:constrLst>
    <dgm:ruleLst/>
    <dgm:layoutNode name="t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b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process">
      <dgm:choose name="Name1">
        <dgm:if name="Name2" func="var" arg="dir" op="equ" val="norm">
          <dgm:alg type="lin">
            <dgm:param type="linDir" val="fromL"/>
          </dgm:alg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1" refType="w"/>
        <dgm:constr type="w" for="ch" forName="composite2" refType="w" refFor="ch" refForName="composite1" op="equ"/>
        <dgm:constr type="h" for="ch" forName="composite1" refType="h"/>
        <dgm:constr type="h" for="ch" forName="composite2" refType="h" refFor="ch" refForName="composite1" op="equ"/>
        <dgm:constr type="primFontSz" for="des" forName="parentNode1" val="65"/>
        <dgm:constr type="primFontSz" for="des" forName="parentNode2" refType="primFontSz" refFor="des" refForName="parentNode1" op="equ"/>
        <dgm:constr type="secFontSz" for="des" forName="childNode1tx" val="65"/>
        <dgm:constr type="secFontSz" for="des" forName="childNode2tx" refType="secFontSz" refFor="des" refForName="childNode1tx" op="equ"/>
        <dgm:constr type="w" for="des" ptType="sibTrans" refType="w" refFor="ch" refForName="composite1" op="equ" fact="0.05"/>
      </dgm:constrLst>
      <dgm:ruleLst/>
      <dgm:forEach name="Name4" axis="ch" ptType="node" step="2">
        <dgm:layoutNode name="composite1">
          <dgm:alg type="composite">
            <dgm:param type="ar" val="0.943"/>
          </dgm:alg>
          <dgm:shape xmlns:r="http://schemas.openxmlformats.org/officeDocument/2006/relationships" r:blip="">
            <dgm:adjLst/>
          </dgm:shape>
          <dgm:presOf/>
          <dgm:choose name="Name5">
            <dgm:if name="Name6" func="var" arg="dir" op="equ" val="norm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 refType="w" fact="0.2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35"/>
              </dgm:constrLst>
            </dgm:if>
            <dgm:else name="Name7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 refType="w" fact="0.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 refType="w" fact="0.1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65"/>
              </dgm:constrLst>
            </dgm:else>
          </dgm:choose>
          <dgm:ruleLst/>
          <dgm:layoutNode name="dummyNode1">
            <dgm:alg type="sp"/>
            <dgm:shape xmlns:r="http://schemas.openxmlformats.org/officeDocument/2006/relationships" type="rect" r:blip="" hideGeom="1">
              <dgm:adjLst/>
            </dgm:shape>
            <dgm:presOf/>
            <dgm:constrLst/>
            <dgm:ruleLst/>
          </dgm:layoutNode>
          <dgm:layoutNode name="childNode1" styleLbl="bgAcc1">
            <dgm:varLst>
              <dgm:bulletEnabled val="1"/>
            </dgm:varLst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/>
            <dgm:ruleLst/>
          </dgm:layoutNode>
          <dgm:layoutNode name="childNode1tx" styleLbl="bgAcc1">
            <dgm:varLst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 axis="des" ptType="node"/>
            <dgm:constrLst>
              <dgm:constr type="secFontSz" val="65"/>
              <dgm:constr type="primFontSz" refType="secFontSz"/>
              <dgm:constr type="tMarg" refType="secFontSz" fact="0.15"/>
              <dgm:constr type="bMarg" refType="secFontSz" fact="0.15"/>
              <dgm:constr type="lMarg" refType="secFontSz" fact="0.15"/>
              <dgm:constr type="rMarg" refType="secFontSz" fact="0.15"/>
            </dgm:constrLst>
            <dgm:ruleLst>
              <dgm:rule type="secFontSz" val="5" fact="NaN" max="NaN"/>
            </dgm:ruleLst>
          </dgm:layoutNode>
          <dgm:layoutNode name="parentNode1" styleLbl="node1">
            <dgm:varLst>
              <dgm:chMax val="1"/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1"/>
              <dgm:constr type="bMarg" refType="primFontSz" fact="0.1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  <dgm:layoutNode name="connSite1" moveWith="childNode1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forEach name="Name8" axis="followSib" ptType="sibTrans" cnt="1">
          <dgm:layoutNode name="Name9">
            <dgm:alg type="conn">
              <dgm:param type="connRout" val="curve"/>
              <dgm:param type="srcNode" val="parentNode1"/>
              <dgm:param type="dstNode" val="connSite2"/>
              <dgm:param type="begPts" val="bCtr"/>
              <dgm:param type="endPts" val="bCtr"/>
            </dgm:alg>
            <dgm:shape xmlns:r="http://schemas.openxmlformats.org/officeDocument/2006/relationships" type="conn" r:blip="" zOrderOff="-2">
              <dgm:adjLst/>
            </dgm:shape>
            <dgm:presOf axis="self"/>
            <dgm:choose name="Name10">
              <dgm:if name="Name11" func="var" arg="dir" op="equ" val="norm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-1.15"/>
                  <dgm:constr type="begPad"/>
                  <dgm:constr type="endPad"/>
                </dgm:constrLst>
              </dgm:if>
              <dgm:else name="Name12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1.15"/>
                  <dgm:constr type="begPad"/>
                  <dgm:constr type="endPad"/>
                </dgm:constrLst>
              </dgm:else>
            </dgm:choose>
            <dgm:ruleLst/>
          </dgm:layoutNode>
        </dgm:forEach>
        <dgm:forEach name="Name13" axis="followSib" ptType="node" cnt="1">
          <dgm:layoutNode name="composite2">
            <dgm:alg type="composite">
              <dgm:param type="ar" val="0.943"/>
            </dgm:alg>
            <dgm:shape xmlns:r="http://schemas.openxmlformats.org/officeDocument/2006/relationships" r:blip="">
              <dgm:adjLst/>
            </dgm:shape>
            <dgm:presOf/>
            <dgm:choose name="Name14">
              <dgm:if name="Name15" func="var" arg="dir" op="equ" val="norm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 refType="w" fact="0.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25"/>
                </dgm:constrLst>
              </dgm:if>
              <dgm:else name="Name16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 refType="w" fact="0.1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 refType="w" fact="0.1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85"/>
                </dgm:constrLst>
              </dgm:else>
            </dgm:choose>
            <dgm:ruleLst/>
            <dgm:layoutNode name="dummyNode2">
              <dgm:alg type="sp"/>
              <dgm:shape xmlns:r="http://schemas.openxmlformats.org/officeDocument/2006/relationships" type="rect" r:blip="" hideGeom="1">
                <dgm:adjLst/>
              </dgm:shape>
              <dgm:presOf/>
              <dgm:constrLst/>
              <dgm:ruleLst/>
            </dgm:layoutNode>
            <dgm:layoutNode name="childNode2" styleLbl="bgAcc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des" ptType="node"/>
              <dgm:constrLst/>
              <dgm:ruleLst/>
            </dgm:layoutNode>
            <dgm:layoutNode name="childNode2tx" styleLbl="bgAcc1">
              <dgm:varLst>
                <dgm:bulletEnabled val="1"/>
              </dgm:varLst>
              <dgm:alg type="tx">
                <dgm:param type="stBulletLvl" val="1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15"/>
                <dgm:constr type="bMarg" refType="secFontSz" fact="0.15"/>
                <dgm:constr type="lMarg" refType="secFontSz" fact="0.15"/>
                <dgm:constr type="rMarg" refType="secFontSz" fact="0.15"/>
              </dgm:constrLst>
              <dgm:ruleLst>
                <dgm:rule type="secFontSz" val="5" fact="NaN" max="NaN"/>
              </dgm:ruleLst>
            </dgm:layoutNode>
            <dgm:layoutNode name="parentNode2" styleLbl="node1">
              <dgm:varLst>
                <dgm:chMax val="0"/>
                <dgm:bulletEnabled val="1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connSite2" moveWith="childNode2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layoutNode>
          <dgm:forEach name="Name17" axis="followSib" ptType="sibTrans" cnt="1">
            <dgm:layoutNode name="Name18">
              <dgm:alg type="conn">
                <dgm:param type="connRout" val="curve"/>
                <dgm:param type="srcNode" val="parentNode2"/>
                <dgm:param type="dstNode" val="connSite1"/>
                <dgm:param type="begPts" val="tCtr"/>
                <dgm:param type="endPts" val="tCtr"/>
              </dgm:alg>
              <dgm:shape xmlns:r="http://schemas.openxmlformats.org/officeDocument/2006/relationships" type="conn" r:blip="" zOrderOff="-2">
                <dgm:adjLst/>
              </dgm:shape>
              <dgm:presOf axis="self"/>
              <dgm:choose name="Name19">
                <dgm:if name="Name20" func="var" arg="dir" op="equ" val="norm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1.15"/>
                    <dgm:constr type="begPad"/>
                    <dgm:constr type="endPad"/>
                  </dgm:constrLst>
                </dgm:if>
                <dgm:else name="Name21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-1.15"/>
                    <dgm:constr type="begPad"/>
                    <dgm:constr type="endPad"/>
                  </dgm:constrLst>
                </dgm:else>
              </dgm:choose>
              <dgm:ruleLst/>
            </dgm:layoutNode>
          </dgm:forEach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1150839-FC6D-46C0-9607-ECD7E2888271}" type="datetimeFigureOut">
              <a:rPr lang="de-DE" smtClean="0"/>
              <a:t>20.03.2024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F6F9F29-37CA-45A7-B4D1-88956EC2606C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512022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F9F29-37CA-45A7-B4D1-88956EC2606C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702516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F9F29-37CA-45A7-B4D1-88956EC2606C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639865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F9F29-37CA-45A7-B4D1-88956EC2606C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8423383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F9F29-37CA-45A7-B4D1-88956EC2606C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9203527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F9F29-37CA-45A7-B4D1-88956EC2606C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2929820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F9F29-37CA-45A7-B4D1-88956EC2606C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859548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1110ACD-8753-5AFA-5D05-380FCDA2A1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30211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01" imgH="502" progId="TCLayout.ActiveDocument.1">
                  <p:embed/>
                </p:oleObj>
              </mc:Choice>
              <mc:Fallback>
                <p:oleObj name="think-cell Slide" r:id="rId3" imgW="501" imgH="502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1110ACD-8753-5AFA-5D05-380FCDA2A1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A person holding a small globe&#10;&#10;Description automatically generated">
            <a:extLst>
              <a:ext uri="{FF2B5EF4-FFF2-40B4-BE49-F238E27FC236}">
                <a16:creationId xmlns:a16="http://schemas.microsoft.com/office/drawing/2014/main" id="{0F2033BF-1713-27C6-090F-88225F77AB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alphaModFix amt="57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121" r="18349" b="4822"/>
          <a:stretch/>
        </p:blipFill>
        <p:spPr>
          <a:xfrm>
            <a:off x="0" y="-12809"/>
            <a:ext cx="7603228" cy="6870809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5E2E3D43-4686-2B74-3833-E96582EA985C}"/>
              </a:ext>
            </a:extLst>
          </p:cNvPr>
          <p:cNvSpPr/>
          <p:nvPr userDrawn="1"/>
        </p:nvSpPr>
        <p:spPr>
          <a:xfrm>
            <a:off x="7403910" y="-12808"/>
            <a:ext cx="4788090" cy="6870808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AF46105-ACFF-68AE-B98D-6D3531D8A6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581331" y="1825625"/>
            <a:ext cx="4254787" cy="4351338"/>
          </a:xfrm>
          <a:prstGeom prst="rect">
            <a:avLst/>
          </a:prstGeom>
        </p:spPr>
        <p:txBody>
          <a:bodyPr/>
          <a:lstStyle>
            <a:lvl1pPr>
              <a:defRPr sz="11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1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1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1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1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690B3B1-5A71-EDF4-572B-3E76954DB7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9382" y="6544738"/>
            <a:ext cx="512618" cy="313262"/>
          </a:xfrm>
          <a:prstGeom prst="rect">
            <a:avLst/>
          </a:prstGeom>
        </p:spPr>
        <p:txBody>
          <a:bodyPr anchor="ctr"/>
          <a:lstStyle>
            <a:lvl1pPr algn="r">
              <a:defRPr sz="9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8F5FC67E-E9DB-4ACE-B3DB-64B7A5397B4F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F8454C6A-E48E-69F3-4274-4EA480DEB6EA}"/>
              </a:ext>
            </a:extLst>
          </p:cNvPr>
          <p:cNvSpPr txBox="1">
            <a:spLocks/>
          </p:cNvSpPr>
          <p:nvPr userDrawn="1"/>
        </p:nvSpPr>
        <p:spPr>
          <a:xfrm>
            <a:off x="4830091" y="6542065"/>
            <a:ext cx="2891587" cy="3031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wer BI Assessment – MT412 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A82EF064-24B4-61B5-3EBB-BBFB55A003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81503" y="1306286"/>
            <a:ext cx="4254888" cy="506559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Headl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2F4A9F-645D-00B2-194D-2F5FF88D41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1292" y="4780178"/>
            <a:ext cx="4527742" cy="941159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>
              <a:defRPr sz="28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Tit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906701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pos="279" userDrawn="1">
          <p15:clr>
            <a:srgbClr val="FBAE40"/>
          </p15:clr>
        </p15:guide>
        <p15:guide id="4" pos="7423" userDrawn="1">
          <p15:clr>
            <a:srgbClr val="FBAE40"/>
          </p15:clr>
        </p15:guide>
        <p15:guide id="5" pos="3727" userDrawn="1">
          <p15:clr>
            <a:srgbClr val="FBAE40"/>
          </p15:clr>
        </p15:guide>
        <p15:guide id="6" pos="394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1110ACD-8753-5AFA-5D05-380FCDA2A1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9353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01" imgH="502" progId="TCLayout.ActiveDocument.1">
                  <p:embed/>
                </p:oleObj>
              </mc:Choice>
              <mc:Fallback>
                <p:oleObj name="think-cell Slide" r:id="rId3" imgW="501" imgH="502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1110ACD-8753-5AFA-5D05-380FCDA2A1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erson holding a small globe&#10;&#10;Description automatically generated">
            <a:extLst>
              <a:ext uri="{FF2B5EF4-FFF2-40B4-BE49-F238E27FC236}">
                <a16:creationId xmlns:a16="http://schemas.microsoft.com/office/drawing/2014/main" id="{DF486FB7-2AF4-A23F-34BB-3E587C00EE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413" b="9587"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690B3B1-5A71-EDF4-572B-3E76954DB7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9382" y="6544738"/>
            <a:ext cx="512618" cy="313262"/>
          </a:xfrm>
          <a:prstGeom prst="rect">
            <a:avLst/>
          </a:prstGeom>
        </p:spPr>
        <p:txBody>
          <a:bodyPr anchor="ctr"/>
          <a:lstStyle>
            <a:lvl1pPr algn="r">
              <a:defRPr sz="9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8F5FC67E-E9DB-4ACE-B3DB-64B7A5397B4F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F645100-2D52-9E48-0E16-AA5A8230BAC9}"/>
              </a:ext>
            </a:extLst>
          </p:cNvPr>
          <p:cNvSpPr/>
          <p:nvPr userDrawn="1"/>
        </p:nvSpPr>
        <p:spPr>
          <a:xfrm>
            <a:off x="0" y="4149590"/>
            <a:ext cx="5716472" cy="2202334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477C26F8-D2D8-2F5D-EEE9-060D4DBA2CF4}"/>
              </a:ext>
            </a:extLst>
          </p:cNvPr>
          <p:cNvSpPr txBox="1">
            <a:spLocks/>
          </p:cNvSpPr>
          <p:nvPr userDrawn="1"/>
        </p:nvSpPr>
        <p:spPr>
          <a:xfrm>
            <a:off x="4830091" y="6542065"/>
            <a:ext cx="2891587" cy="3031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wer BI Assessment – MT412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2F4A9F-645D-00B2-194D-2F5FF88D41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1292" y="4780178"/>
            <a:ext cx="4527742" cy="941159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>
              <a:defRPr sz="2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Slicer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205454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pos="279" userDrawn="1">
          <p15:clr>
            <a:srgbClr val="FBAE40"/>
          </p15:clr>
        </p15:guide>
        <p15:guide id="4" pos="7423" userDrawn="1">
          <p15:clr>
            <a:srgbClr val="FBAE40"/>
          </p15:clr>
        </p15:guide>
        <p15:guide id="5" pos="3727" userDrawn="1">
          <p15:clr>
            <a:srgbClr val="FBAE40"/>
          </p15:clr>
        </p15:guide>
        <p15:guide id="6" pos="394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1110ACD-8753-5AFA-5D05-380FCDA2A1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366818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01" imgH="502" progId="TCLayout.ActiveDocument.1">
                  <p:embed/>
                </p:oleObj>
              </mc:Choice>
              <mc:Fallback>
                <p:oleObj name="think-cell Slide" r:id="rId3" imgW="501" imgH="502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1110ACD-8753-5AFA-5D05-380FCDA2A1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82F4A9F-645D-00B2-194D-2F5FF88D41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720" y="365127"/>
            <a:ext cx="11382103" cy="941159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>
              <a:defRPr sz="22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Action Tit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AF46105-ACFF-68AE-B98D-6D3531D8A6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6720" y="1825625"/>
            <a:ext cx="11382103" cy="4351338"/>
          </a:xfrm>
          <a:prstGeom prst="rect">
            <a:avLst/>
          </a:prstGeom>
        </p:spPr>
        <p:txBody>
          <a:bodyPr/>
          <a:lstStyle>
            <a:lvl1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690B3B1-5A71-EDF4-572B-3E76954DB7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9382" y="6544738"/>
            <a:ext cx="512618" cy="313262"/>
          </a:xfrm>
          <a:prstGeom prst="rect">
            <a:avLst/>
          </a:prstGeom>
        </p:spPr>
        <p:txBody>
          <a:bodyPr anchor="ctr"/>
          <a:lstStyle>
            <a:lvl1pPr algn="r">
              <a:defRPr sz="9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8F5FC67E-E9DB-4ACE-B3DB-64B7A5397B4F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2A70D43C-F427-708F-C0A7-CEF37562AA6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6720" y="6189743"/>
            <a:ext cx="11382375" cy="30312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800" b="0">
                <a:solidFill>
                  <a:schemeClr val="tx2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Notes: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A82EF064-24B4-61B5-3EBB-BBFB55A003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6720" y="1306286"/>
            <a:ext cx="11382375" cy="506559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400" b="1">
                <a:solidFill>
                  <a:schemeClr val="tx2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Headline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3FFC4671-8E83-5151-C5C4-8755E0708CE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6720" y="112713"/>
            <a:ext cx="11382103" cy="2524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Navigation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E246104B-B5C8-BE6A-6172-F173A3A03D08}"/>
              </a:ext>
            </a:extLst>
          </p:cNvPr>
          <p:cNvSpPr txBox="1">
            <a:spLocks/>
          </p:cNvSpPr>
          <p:nvPr userDrawn="1"/>
        </p:nvSpPr>
        <p:spPr>
          <a:xfrm>
            <a:off x="4830091" y="6542065"/>
            <a:ext cx="2891587" cy="3031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wer BI Assessment – MT412 </a:t>
            </a:r>
          </a:p>
        </p:txBody>
      </p:sp>
    </p:spTree>
    <p:extLst>
      <p:ext uri="{BB962C8B-B14F-4D97-AF65-F5344CB8AC3E}">
        <p14:creationId xmlns:p14="http://schemas.microsoft.com/office/powerpoint/2010/main" val="25289731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pos="279" userDrawn="1">
          <p15:clr>
            <a:srgbClr val="FBAE40"/>
          </p15:clr>
        </p15:guide>
        <p15:guide id="4" pos="7423" userDrawn="1">
          <p15:clr>
            <a:srgbClr val="FBAE40"/>
          </p15:clr>
        </p15:guide>
        <p15:guide id="5" pos="3727" userDrawn="1">
          <p15:clr>
            <a:srgbClr val="FBAE40"/>
          </p15:clr>
        </p15:guide>
        <p15:guide id="6" pos="394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1110ACD-8753-5AFA-5D05-380FCDA2A1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29130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01" imgH="502" progId="TCLayout.ActiveDocument.1">
                  <p:embed/>
                </p:oleObj>
              </mc:Choice>
              <mc:Fallback>
                <p:oleObj name="think-cell Slide" r:id="rId3" imgW="501" imgH="502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1110ACD-8753-5AFA-5D05-380FCDA2A1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A3E7CB7D-661C-4F63-E678-D8248195FE3E}"/>
              </a:ext>
            </a:extLst>
          </p:cNvPr>
          <p:cNvSpPr/>
          <p:nvPr userDrawn="1"/>
        </p:nvSpPr>
        <p:spPr>
          <a:xfrm>
            <a:off x="0" y="1825625"/>
            <a:ext cx="6182315" cy="435133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2F4A9F-645D-00B2-194D-2F5FF88D41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720" y="365127"/>
            <a:ext cx="11382103" cy="941159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>
              <a:defRPr sz="22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Action Tit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AF46105-ACFF-68AE-B98D-6D3531D8A6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2315" y="1825625"/>
            <a:ext cx="5626508" cy="4351338"/>
          </a:xfrm>
          <a:prstGeom prst="rect">
            <a:avLst/>
          </a:prstGeom>
        </p:spPr>
        <p:txBody>
          <a:bodyPr/>
          <a:lstStyle>
            <a:lvl1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690B3B1-5A71-EDF4-572B-3E76954DB7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9382" y="6544738"/>
            <a:ext cx="512618" cy="313262"/>
          </a:xfrm>
          <a:prstGeom prst="rect">
            <a:avLst/>
          </a:prstGeom>
        </p:spPr>
        <p:txBody>
          <a:bodyPr anchor="ctr"/>
          <a:lstStyle>
            <a:lvl1pPr algn="r">
              <a:defRPr sz="9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8F5FC67E-E9DB-4ACE-B3DB-64B7A5397B4F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2A70D43C-F427-708F-C0A7-CEF37562AA6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6720" y="6189743"/>
            <a:ext cx="11382375" cy="30312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800" b="0">
                <a:solidFill>
                  <a:schemeClr val="tx2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Notes: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A82EF064-24B4-61B5-3EBB-BBFB55A003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6720" y="1306286"/>
            <a:ext cx="11382375" cy="506559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400" b="1">
                <a:solidFill>
                  <a:schemeClr val="tx2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Headline</a:t>
            </a:r>
          </a:p>
        </p:txBody>
      </p:sp>
      <p:sp>
        <p:nvSpPr>
          <p:cNvPr id="9" name="Chart Placeholder 8">
            <a:extLst>
              <a:ext uri="{FF2B5EF4-FFF2-40B4-BE49-F238E27FC236}">
                <a16:creationId xmlns:a16="http://schemas.microsoft.com/office/drawing/2014/main" id="{227D782B-BA3E-98C4-DF1B-6F6BA6B2EF5D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427038" y="1990641"/>
            <a:ext cx="5503862" cy="4037925"/>
          </a:xfrm>
          <a:prstGeom prst="rect">
            <a:avLst/>
          </a:prstGeom>
        </p:spPr>
        <p:txBody>
          <a:bodyPr/>
          <a:lstStyle>
            <a:lvl1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/>
          </a:p>
        </p:txBody>
      </p:sp>
      <p:sp>
        <p:nvSpPr>
          <p:cNvPr id="10" name="Text Placeholder 24">
            <a:extLst>
              <a:ext uri="{FF2B5EF4-FFF2-40B4-BE49-F238E27FC236}">
                <a16:creationId xmlns:a16="http://schemas.microsoft.com/office/drawing/2014/main" id="{F67AC7D4-96D0-80DD-77AC-B0B5A15EBEE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6720" y="112713"/>
            <a:ext cx="11382103" cy="2524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Navigation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1DF0F18-F1DC-A9DC-0C54-46412177CCCB}"/>
              </a:ext>
            </a:extLst>
          </p:cNvPr>
          <p:cNvSpPr txBox="1">
            <a:spLocks/>
          </p:cNvSpPr>
          <p:nvPr userDrawn="1"/>
        </p:nvSpPr>
        <p:spPr>
          <a:xfrm>
            <a:off x="4830091" y="6542065"/>
            <a:ext cx="2891587" cy="3031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wer BI Assessment – MT412 </a:t>
            </a:r>
          </a:p>
        </p:txBody>
      </p:sp>
    </p:spTree>
    <p:extLst>
      <p:ext uri="{BB962C8B-B14F-4D97-AF65-F5344CB8AC3E}">
        <p14:creationId xmlns:p14="http://schemas.microsoft.com/office/powerpoint/2010/main" val="3165455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1110ACD-8753-5AFA-5D05-380FCDA2A1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87682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01" imgH="502" progId="TCLayout.ActiveDocument.1">
                  <p:embed/>
                </p:oleObj>
              </mc:Choice>
              <mc:Fallback>
                <p:oleObj name="think-cell Slide" r:id="rId3" imgW="501" imgH="502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1110ACD-8753-5AFA-5D05-380FCDA2A1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A3E7CB7D-661C-4F63-E678-D8248195FE3E}"/>
              </a:ext>
            </a:extLst>
          </p:cNvPr>
          <p:cNvSpPr/>
          <p:nvPr userDrawn="1"/>
        </p:nvSpPr>
        <p:spPr>
          <a:xfrm>
            <a:off x="6182314" y="1825625"/>
            <a:ext cx="6009685" cy="435133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2F4A9F-645D-00B2-194D-2F5FF88D41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720" y="365127"/>
            <a:ext cx="11382103" cy="941159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>
              <a:defRPr sz="22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Action Tit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AF46105-ACFF-68AE-B98D-6D3531D8A6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6720" y="1832015"/>
            <a:ext cx="5755594" cy="4351338"/>
          </a:xfrm>
          <a:prstGeom prst="rect">
            <a:avLst/>
          </a:prstGeom>
        </p:spPr>
        <p:txBody>
          <a:bodyPr/>
          <a:lstStyle>
            <a:lvl1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690B3B1-5A71-EDF4-572B-3E76954DB7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9382" y="6544738"/>
            <a:ext cx="512618" cy="313262"/>
          </a:xfrm>
          <a:prstGeom prst="rect">
            <a:avLst/>
          </a:prstGeom>
        </p:spPr>
        <p:txBody>
          <a:bodyPr anchor="ctr"/>
          <a:lstStyle>
            <a:lvl1pPr algn="r">
              <a:defRPr sz="9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8F5FC67E-E9DB-4ACE-B3DB-64B7A5397B4F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2A70D43C-F427-708F-C0A7-CEF37562AA6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6720" y="6189743"/>
            <a:ext cx="11382375" cy="30312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800" b="0">
                <a:solidFill>
                  <a:schemeClr val="tx2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Notes: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A82EF064-24B4-61B5-3EBB-BBFB55A003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6720" y="1306286"/>
            <a:ext cx="11382375" cy="506559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400" b="1">
                <a:solidFill>
                  <a:schemeClr val="tx2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Headline</a:t>
            </a:r>
          </a:p>
        </p:txBody>
      </p:sp>
      <p:sp>
        <p:nvSpPr>
          <p:cNvPr id="9" name="Chart Placeholder 8">
            <a:extLst>
              <a:ext uri="{FF2B5EF4-FFF2-40B4-BE49-F238E27FC236}">
                <a16:creationId xmlns:a16="http://schemas.microsoft.com/office/drawing/2014/main" id="{227D782B-BA3E-98C4-DF1B-6F6BA6B2EF5D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6304961" y="1967930"/>
            <a:ext cx="5503862" cy="4037925"/>
          </a:xfrm>
          <a:prstGeom prst="rect">
            <a:avLst/>
          </a:prstGeom>
        </p:spPr>
        <p:txBody>
          <a:bodyPr/>
          <a:lstStyle>
            <a:lvl1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/>
          </a:p>
        </p:txBody>
      </p:sp>
      <p:sp>
        <p:nvSpPr>
          <p:cNvPr id="5" name="Text Placeholder 24">
            <a:extLst>
              <a:ext uri="{FF2B5EF4-FFF2-40B4-BE49-F238E27FC236}">
                <a16:creationId xmlns:a16="http://schemas.microsoft.com/office/drawing/2014/main" id="{328D492E-44D4-787D-F43F-5150D244CE6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6720" y="112713"/>
            <a:ext cx="11382103" cy="2524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Navigation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25FBECD0-E1AF-9F85-965A-73ED21C14B76}"/>
              </a:ext>
            </a:extLst>
          </p:cNvPr>
          <p:cNvSpPr txBox="1">
            <a:spLocks/>
          </p:cNvSpPr>
          <p:nvPr userDrawn="1"/>
        </p:nvSpPr>
        <p:spPr>
          <a:xfrm>
            <a:off x="4830091" y="6542065"/>
            <a:ext cx="2891587" cy="3031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wer BI Assessment – MT412 </a:t>
            </a:r>
          </a:p>
        </p:txBody>
      </p:sp>
    </p:spTree>
    <p:extLst>
      <p:ext uri="{BB962C8B-B14F-4D97-AF65-F5344CB8AC3E}">
        <p14:creationId xmlns:p14="http://schemas.microsoft.com/office/powerpoint/2010/main" val="3145117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1110ACD-8753-5AFA-5D05-380FCDA2A1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07873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01" imgH="502" progId="TCLayout.ActiveDocument.1">
                  <p:embed/>
                </p:oleObj>
              </mc:Choice>
              <mc:Fallback>
                <p:oleObj name="think-cell Slide" r:id="rId3" imgW="501" imgH="502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1110ACD-8753-5AFA-5D05-380FCDA2A1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A3E7CB7D-661C-4F63-E678-D8248195FE3E}"/>
              </a:ext>
            </a:extLst>
          </p:cNvPr>
          <p:cNvSpPr/>
          <p:nvPr userDrawn="1"/>
        </p:nvSpPr>
        <p:spPr>
          <a:xfrm>
            <a:off x="0" y="1825625"/>
            <a:ext cx="12191999" cy="435133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2F4A9F-645D-00B2-194D-2F5FF88D41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720" y="365127"/>
            <a:ext cx="11382103" cy="941159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>
              <a:defRPr sz="22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Action Tit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AF46105-ACFF-68AE-B98D-6D3531D8A6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6719" y="1832015"/>
            <a:ext cx="11382103" cy="4351338"/>
          </a:xfrm>
          <a:prstGeom prst="rect">
            <a:avLst/>
          </a:prstGeom>
        </p:spPr>
        <p:txBody>
          <a:bodyPr/>
          <a:lstStyle>
            <a:lvl1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690B3B1-5A71-EDF4-572B-3E76954DB7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9382" y="6544738"/>
            <a:ext cx="512618" cy="313262"/>
          </a:xfrm>
          <a:prstGeom prst="rect">
            <a:avLst/>
          </a:prstGeom>
        </p:spPr>
        <p:txBody>
          <a:bodyPr anchor="ctr"/>
          <a:lstStyle>
            <a:lvl1pPr algn="r">
              <a:defRPr sz="9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8F5FC67E-E9DB-4ACE-B3DB-64B7A5397B4F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2A70D43C-F427-708F-C0A7-CEF37562AA6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6720" y="6189743"/>
            <a:ext cx="11382375" cy="30312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800" b="0">
                <a:solidFill>
                  <a:schemeClr val="tx2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Notes: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A82EF064-24B4-61B5-3EBB-BBFB55A003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6720" y="1306286"/>
            <a:ext cx="11382375" cy="506559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400" b="1">
                <a:solidFill>
                  <a:schemeClr val="tx2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Headline</a:t>
            </a:r>
          </a:p>
        </p:txBody>
      </p:sp>
      <p:sp>
        <p:nvSpPr>
          <p:cNvPr id="7" name="Text Placeholder 24">
            <a:extLst>
              <a:ext uri="{FF2B5EF4-FFF2-40B4-BE49-F238E27FC236}">
                <a16:creationId xmlns:a16="http://schemas.microsoft.com/office/drawing/2014/main" id="{3BED1066-E490-AFC0-D3F2-7F5A480B494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6720" y="112713"/>
            <a:ext cx="11382103" cy="2524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Navigation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807BE3DB-D01F-E6E1-4BB1-6FC0FA3C4FDA}"/>
              </a:ext>
            </a:extLst>
          </p:cNvPr>
          <p:cNvSpPr txBox="1">
            <a:spLocks/>
          </p:cNvSpPr>
          <p:nvPr userDrawn="1"/>
        </p:nvSpPr>
        <p:spPr>
          <a:xfrm>
            <a:off x="4830091" y="6542065"/>
            <a:ext cx="2891587" cy="3031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wer BI Assessment – MT412 </a:t>
            </a:r>
          </a:p>
        </p:txBody>
      </p:sp>
    </p:spTree>
    <p:extLst>
      <p:ext uri="{BB962C8B-B14F-4D97-AF65-F5344CB8AC3E}">
        <p14:creationId xmlns:p14="http://schemas.microsoft.com/office/powerpoint/2010/main" val="922212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ighligh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1110ACD-8753-5AFA-5D05-380FCDA2A1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07873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01" imgH="502" progId="TCLayout.ActiveDocument.1">
                  <p:embed/>
                </p:oleObj>
              </mc:Choice>
              <mc:Fallback>
                <p:oleObj name="think-cell Slide" r:id="rId3" imgW="501" imgH="502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1110ACD-8753-5AFA-5D05-380FCDA2A1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A3E7CB7D-661C-4F63-E678-D8248195FE3E}"/>
              </a:ext>
            </a:extLst>
          </p:cNvPr>
          <p:cNvSpPr/>
          <p:nvPr userDrawn="1"/>
        </p:nvSpPr>
        <p:spPr>
          <a:xfrm>
            <a:off x="0" y="1825625"/>
            <a:ext cx="12191999" cy="435133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2F4A9F-645D-00B2-194D-2F5FF88D41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720" y="365127"/>
            <a:ext cx="11382103" cy="941159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>
              <a:defRPr sz="22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Action Tit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AF46105-ACFF-68AE-B98D-6D3531D8A6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6719" y="1832015"/>
            <a:ext cx="11382103" cy="4351338"/>
          </a:xfrm>
          <a:prstGeom prst="rect">
            <a:avLst/>
          </a:prstGeom>
        </p:spPr>
        <p:txBody>
          <a:bodyPr/>
          <a:lstStyle>
            <a:lvl1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690B3B1-5A71-EDF4-572B-3E76954DB7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9382" y="6544738"/>
            <a:ext cx="512618" cy="313262"/>
          </a:xfrm>
          <a:prstGeom prst="rect">
            <a:avLst/>
          </a:prstGeom>
        </p:spPr>
        <p:txBody>
          <a:bodyPr anchor="ctr"/>
          <a:lstStyle>
            <a:lvl1pPr algn="r">
              <a:defRPr sz="9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8F5FC67E-E9DB-4ACE-B3DB-64B7A5397B4F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2A70D43C-F427-708F-C0A7-CEF37562AA6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6720" y="6189743"/>
            <a:ext cx="11382375" cy="30312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800" b="0">
                <a:solidFill>
                  <a:schemeClr val="tx2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Notes: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A82EF064-24B4-61B5-3EBB-BBFB55A003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6720" y="1306286"/>
            <a:ext cx="11382375" cy="506559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400" b="1">
                <a:solidFill>
                  <a:schemeClr val="tx2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Headline</a:t>
            </a:r>
          </a:p>
        </p:txBody>
      </p:sp>
      <p:sp>
        <p:nvSpPr>
          <p:cNvPr id="7" name="Text Placeholder 24">
            <a:extLst>
              <a:ext uri="{FF2B5EF4-FFF2-40B4-BE49-F238E27FC236}">
                <a16:creationId xmlns:a16="http://schemas.microsoft.com/office/drawing/2014/main" id="{3BED1066-E490-AFC0-D3F2-7F5A480B494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6720" y="112713"/>
            <a:ext cx="11382103" cy="2524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Navigation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8F16F76-5F4D-44AF-956B-3A378BB40C2A}"/>
              </a:ext>
            </a:extLst>
          </p:cNvPr>
          <p:cNvSpPr txBox="1">
            <a:spLocks/>
          </p:cNvSpPr>
          <p:nvPr userDrawn="1"/>
        </p:nvSpPr>
        <p:spPr>
          <a:xfrm>
            <a:off x="4830091" y="6542065"/>
            <a:ext cx="2891587" cy="3031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wer BI Assessment – MT412 </a:t>
            </a:r>
          </a:p>
        </p:txBody>
      </p:sp>
    </p:spTree>
    <p:extLst>
      <p:ext uri="{BB962C8B-B14F-4D97-AF65-F5344CB8AC3E}">
        <p14:creationId xmlns:p14="http://schemas.microsoft.com/office/powerpoint/2010/main" val="1118186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215B210-F736-8222-70BC-8DF7554F17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6652617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01" imgH="502" progId="TCLayout.ActiveDocument.1">
                  <p:embed/>
                </p:oleObj>
              </mc:Choice>
              <mc:Fallback>
                <p:oleObj name="think-cell Slide" r:id="rId10" imgW="501" imgH="502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215B210-F736-8222-70BC-8DF7554F17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0361335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61" r:id="rId2"/>
    <p:sldLayoutId id="2147483659" r:id="rId3"/>
    <p:sldLayoutId id="2147483656" r:id="rId4"/>
    <p:sldLayoutId id="2147483657" r:id="rId5"/>
    <p:sldLayoutId id="2147483658" r:id="rId6"/>
    <p:sldLayoutId id="2147483660" r:id="rId7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9.xml"/><Relationship Id="rId6" Type="http://schemas.openxmlformats.org/officeDocument/2006/relationships/image" Target="../media/image56.png"/><Relationship Id="rId5" Type="http://schemas.openxmlformats.org/officeDocument/2006/relationships/image" Target="../media/image57.emf"/><Relationship Id="rId4" Type="http://schemas.openxmlformats.org/officeDocument/2006/relationships/oleObject" Target="../embeddings/oleObject18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59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0.xml"/><Relationship Id="rId6" Type="http://schemas.openxmlformats.org/officeDocument/2006/relationships/image" Target="../media/image57.emf"/><Relationship Id="rId5" Type="http://schemas.openxmlformats.org/officeDocument/2006/relationships/oleObject" Target="../embeddings/oleObject19.bin"/><Relationship Id="rId4" Type="http://schemas.openxmlformats.org/officeDocument/2006/relationships/image" Target="../media/image5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60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1.xml"/><Relationship Id="rId6" Type="http://schemas.openxmlformats.org/officeDocument/2006/relationships/image" Target="../media/image57.emf"/><Relationship Id="rId5" Type="http://schemas.openxmlformats.org/officeDocument/2006/relationships/oleObject" Target="../embeddings/oleObject20.bin"/><Relationship Id="rId4" Type="http://schemas.openxmlformats.org/officeDocument/2006/relationships/image" Target="../media/image5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61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2.xml"/><Relationship Id="rId6" Type="http://schemas.openxmlformats.org/officeDocument/2006/relationships/image" Target="../media/image60.png"/><Relationship Id="rId5" Type="http://schemas.openxmlformats.org/officeDocument/2006/relationships/image" Target="../media/image57.emf"/><Relationship Id="rId4" Type="http://schemas.openxmlformats.org/officeDocument/2006/relationships/oleObject" Target="../embeddings/oleObject21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13" Type="http://schemas.openxmlformats.org/officeDocument/2006/relationships/image" Target="../media/image8.svg"/><Relationship Id="rId3" Type="http://schemas.openxmlformats.org/officeDocument/2006/relationships/oleObject" Target="../embeddings/oleObject10.bin"/><Relationship Id="rId7" Type="http://schemas.openxmlformats.org/officeDocument/2006/relationships/diagramQuickStyle" Target="../diagrams/quickStyle1.xml"/><Relationship Id="rId12" Type="http://schemas.openxmlformats.org/officeDocument/2006/relationships/image" Target="../media/image7.png"/><Relationship Id="rId17" Type="http://schemas.openxmlformats.org/officeDocument/2006/relationships/image" Target="../media/image12.svg"/><Relationship Id="rId2" Type="http://schemas.openxmlformats.org/officeDocument/2006/relationships/slideLayout" Target="../slideLayouts/slideLayout6.xml"/><Relationship Id="rId16" Type="http://schemas.openxmlformats.org/officeDocument/2006/relationships/image" Target="../media/image11.png"/><Relationship Id="rId1" Type="http://schemas.openxmlformats.org/officeDocument/2006/relationships/tags" Target="../tags/tag11.xml"/><Relationship Id="rId6" Type="http://schemas.openxmlformats.org/officeDocument/2006/relationships/diagramLayout" Target="../diagrams/layout1.xml"/><Relationship Id="rId11" Type="http://schemas.openxmlformats.org/officeDocument/2006/relationships/image" Target="../media/image6.svg"/><Relationship Id="rId5" Type="http://schemas.openxmlformats.org/officeDocument/2006/relationships/diagramData" Target="../diagrams/data1.xml"/><Relationship Id="rId15" Type="http://schemas.openxmlformats.org/officeDocument/2006/relationships/image" Target="../media/image10.svg"/><Relationship Id="rId10" Type="http://schemas.openxmlformats.org/officeDocument/2006/relationships/image" Target="../media/image5.png"/><Relationship Id="rId4" Type="http://schemas.openxmlformats.org/officeDocument/2006/relationships/image" Target="../media/image4.emf"/><Relationship Id="rId9" Type="http://schemas.microsoft.com/office/2007/relationships/diagramDrawing" Target="../diagrams/drawing1.xml"/><Relationship Id="rId1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3" Type="http://schemas.openxmlformats.org/officeDocument/2006/relationships/oleObject" Target="../embeddings/oleObject11.bin"/><Relationship Id="rId7" Type="http://schemas.openxmlformats.org/officeDocument/2006/relationships/image" Target="../media/image15.png"/><Relationship Id="rId12" Type="http://schemas.openxmlformats.org/officeDocument/2006/relationships/image" Target="../media/image20.sv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2.xml"/><Relationship Id="rId6" Type="http://schemas.openxmlformats.org/officeDocument/2006/relationships/image" Target="../media/image14.svg"/><Relationship Id="rId11" Type="http://schemas.openxmlformats.org/officeDocument/2006/relationships/image" Target="../media/image19.png"/><Relationship Id="rId5" Type="http://schemas.openxmlformats.org/officeDocument/2006/relationships/image" Target="../media/image13.png"/><Relationship Id="rId10" Type="http://schemas.openxmlformats.org/officeDocument/2006/relationships/image" Target="../media/image18.svg"/><Relationship Id="rId4" Type="http://schemas.openxmlformats.org/officeDocument/2006/relationships/image" Target="../media/image1.emf"/><Relationship Id="rId9" Type="http://schemas.openxmlformats.org/officeDocument/2006/relationships/image" Target="../media/image17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svg"/><Relationship Id="rId13" Type="http://schemas.openxmlformats.org/officeDocument/2006/relationships/image" Target="../media/image29.png"/><Relationship Id="rId18" Type="http://schemas.openxmlformats.org/officeDocument/2006/relationships/image" Target="../media/image33.png"/><Relationship Id="rId3" Type="http://schemas.openxmlformats.org/officeDocument/2006/relationships/oleObject" Target="../embeddings/oleObject12.bin"/><Relationship Id="rId7" Type="http://schemas.openxmlformats.org/officeDocument/2006/relationships/image" Target="../media/image23.png"/><Relationship Id="rId12" Type="http://schemas.openxmlformats.org/officeDocument/2006/relationships/image" Target="../media/image28.svg"/><Relationship Id="rId17" Type="http://schemas.microsoft.com/office/2014/relationships/chartEx" Target="../charts/chartEx1.xml"/><Relationship Id="rId2" Type="http://schemas.openxmlformats.org/officeDocument/2006/relationships/slideLayout" Target="../slideLayouts/slideLayout4.xml"/><Relationship Id="rId16" Type="http://schemas.openxmlformats.org/officeDocument/2006/relationships/image" Target="../media/image32.svg"/><Relationship Id="rId1" Type="http://schemas.openxmlformats.org/officeDocument/2006/relationships/tags" Target="../tags/tag13.xml"/><Relationship Id="rId6" Type="http://schemas.openxmlformats.org/officeDocument/2006/relationships/image" Target="../media/image22.svg"/><Relationship Id="rId11" Type="http://schemas.openxmlformats.org/officeDocument/2006/relationships/image" Target="../media/image27.png"/><Relationship Id="rId5" Type="http://schemas.openxmlformats.org/officeDocument/2006/relationships/image" Target="../media/image21.png"/><Relationship Id="rId15" Type="http://schemas.openxmlformats.org/officeDocument/2006/relationships/image" Target="../media/image31.png"/><Relationship Id="rId10" Type="http://schemas.openxmlformats.org/officeDocument/2006/relationships/image" Target="../media/image26.svg"/><Relationship Id="rId4" Type="http://schemas.openxmlformats.org/officeDocument/2006/relationships/image" Target="../media/image1.emf"/><Relationship Id="rId9" Type="http://schemas.openxmlformats.org/officeDocument/2006/relationships/image" Target="../media/image25.png"/><Relationship Id="rId14" Type="http://schemas.openxmlformats.org/officeDocument/2006/relationships/image" Target="../media/image30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svg"/><Relationship Id="rId13" Type="http://schemas.openxmlformats.org/officeDocument/2006/relationships/image" Target="../media/image43.png"/><Relationship Id="rId3" Type="http://schemas.openxmlformats.org/officeDocument/2006/relationships/oleObject" Target="../embeddings/oleObject13.bin"/><Relationship Id="rId7" Type="http://schemas.openxmlformats.org/officeDocument/2006/relationships/image" Target="../media/image37.png"/><Relationship Id="rId12" Type="http://schemas.openxmlformats.org/officeDocument/2006/relationships/image" Target="../media/image42.svg"/><Relationship Id="rId2" Type="http://schemas.openxmlformats.org/officeDocument/2006/relationships/slideLayout" Target="../slideLayouts/slideLayout3.xml"/><Relationship Id="rId16" Type="http://schemas.openxmlformats.org/officeDocument/2006/relationships/image" Target="../media/image46.svg"/><Relationship Id="rId1" Type="http://schemas.openxmlformats.org/officeDocument/2006/relationships/tags" Target="../tags/tag14.xml"/><Relationship Id="rId6" Type="http://schemas.openxmlformats.org/officeDocument/2006/relationships/image" Target="../media/image36.svg"/><Relationship Id="rId11" Type="http://schemas.openxmlformats.org/officeDocument/2006/relationships/image" Target="../media/image41.png"/><Relationship Id="rId5" Type="http://schemas.openxmlformats.org/officeDocument/2006/relationships/image" Target="../media/image35.png"/><Relationship Id="rId15" Type="http://schemas.openxmlformats.org/officeDocument/2006/relationships/image" Target="../media/image45.png"/><Relationship Id="rId10" Type="http://schemas.openxmlformats.org/officeDocument/2006/relationships/image" Target="../media/image40.svg"/><Relationship Id="rId4" Type="http://schemas.openxmlformats.org/officeDocument/2006/relationships/image" Target="../media/image34.emf"/><Relationship Id="rId9" Type="http://schemas.openxmlformats.org/officeDocument/2006/relationships/image" Target="../media/image39.png"/><Relationship Id="rId14" Type="http://schemas.openxmlformats.org/officeDocument/2006/relationships/image" Target="../media/image44.sv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13" Type="http://schemas.openxmlformats.org/officeDocument/2006/relationships/image" Target="../media/image55.sv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49.svg"/><Relationship Id="rId12" Type="http://schemas.openxmlformats.org/officeDocument/2006/relationships/image" Target="../media/image54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5.xml"/><Relationship Id="rId6" Type="http://schemas.openxmlformats.org/officeDocument/2006/relationships/image" Target="../media/image48.png"/><Relationship Id="rId11" Type="http://schemas.openxmlformats.org/officeDocument/2006/relationships/image" Target="../media/image53.svg"/><Relationship Id="rId5" Type="http://schemas.openxmlformats.org/officeDocument/2006/relationships/image" Target="../media/image47.emf"/><Relationship Id="rId10" Type="http://schemas.openxmlformats.org/officeDocument/2006/relationships/image" Target="../media/image52.png"/><Relationship Id="rId4" Type="http://schemas.openxmlformats.org/officeDocument/2006/relationships/oleObject" Target="../embeddings/oleObject14.bin"/><Relationship Id="rId9" Type="http://schemas.openxmlformats.org/officeDocument/2006/relationships/image" Target="../media/image51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58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8.xml"/><Relationship Id="rId6" Type="http://schemas.openxmlformats.org/officeDocument/2006/relationships/image" Target="../media/image57.emf"/><Relationship Id="rId5" Type="http://schemas.openxmlformats.org/officeDocument/2006/relationships/oleObject" Target="../embeddings/oleObject17.bin"/><Relationship Id="rId4" Type="http://schemas.openxmlformats.org/officeDocument/2006/relationships/image" Target="../media/image5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7B652A4C-C7C8-4239-7280-FFA58DAE8F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0904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01" imgH="502" progId="TCLayout.ActiveDocument.1">
                  <p:embed/>
                </p:oleObj>
              </mc:Choice>
              <mc:Fallback>
                <p:oleObj name="think-cell Slide" r:id="rId3" imgW="501" imgH="502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B652A4C-C7C8-4239-7280-FFA58DAE8F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4503522-EE1A-B9B5-E02D-86D469B59F2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581330" y="4227187"/>
            <a:ext cx="4254787" cy="1534094"/>
          </a:xfrm>
        </p:spPr>
        <p:txBody>
          <a:bodyPr/>
          <a:lstStyle/>
          <a:p>
            <a:pPr marL="0" indent="0">
              <a:buNone/>
            </a:pPr>
            <a:r>
              <a:rPr lang="de-DE" sz="1200"/>
              <a:t>Linus Lehr (22108475)</a:t>
            </a:r>
          </a:p>
          <a:p>
            <a:pPr marL="0" indent="0">
              <a:buNone/>
            </a:pPr>
            <a:r>
              <a:rPr lang="de-DE" sz="1200"/>
              <a:t>Vincent </a:t>
            </a:r>
            <a:r>
              <a:rPr lang="de-DE" sz="1200" err="1"/>
              <a:t>Stilz</a:t>
            </a:r>
            <a:r>
              <a:rPr lang="de-DE" sz="1200"/>
              <a:t> (22108521)</a:t>
            </a:r>
          </a:p>
          <a:p>
            <a:pPr marL="0" indent="0">
              <a:buNone/>
            </a:pPr>
            <a:r>
              <a:rPr lang="de-DE" sz="1200"/>
              <a:t>Caroline Ziegler (22108564)</a:t>
            </a:r>
          </a:p>
          <a:p>
            <a:pPr marL="0" indent="0">
              <a:buNone/>
            </a:pPr>
            <a:r>
              <a:rPr lang="de-DE" sz="1200"/>
              <a:t>Chantal Stefan (22108513)</a:t>
            </a:r>
          </a:p>
          <a:p>
            <a:pPr marL="0" indent="0">
              <a:buNone/>
            </a:pPr>
            <a:r>
              <a:rPr lang="de-DE" sz="1200"/>
              <a:t>Sebastian </a:t>
            </a:r>
            <a:r>
              <a:rPr lang="de-DE" sz="1200" err="1"/>
              <a:t>Gaycken</a:t>
            </a:r>
            <a:r>
              <a:rPr lang="de-DE" sz="1200"/>
              <a:t> (22108416)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146861C-B53D-199D-976D-2AABDB7550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5FC67E-E9DB-4ACE-B3DB-64B7A5397B4F}" type="slidenum">
              <a:rPr lang="de-DE" smtClean="0"/>
              <a:pPr/>
              <a:t>1</a:t>
            </a:fld>
            <a:endParaRPr lang="de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CBF1B2E-0675-CA48-F89F-A757C646A14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581503" y="3442123"/>
            <a:ext cx="4455822" cy="506559"/>
          </a:xfrm>
        </p:spPr>
        <p:txBody>
          <a:bodyPr/>
          <a:lstStyle/>
          <a:p>
            <a:r>
              <a:rPr lang="en-GB"/>
              <a:t>Power BI Assessment</a:t>
            </a:r>
          </a:p>
          <a:p>
            <a:pPr>
              <a:spcBef>
                <a:spcPts val="500"/>
              </a:spcBef>
            </a:pPr>
            <a:r>
              <a:rPr lang="en-GB"/>
              <a:t>MT412 – Business Analytics Portfolio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5C395FB-6FCA-4534-136D-AC6B83BE62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1292" y="4411693"/>
            <a:ext cx="4527742" cy="941159"/>
          </a:xfrm>
        </p:spPr>
        <p:txBody>
          <a:bodyPr vert="horz"/>
          <a:lstStyle/>
          <a:p>
            <a:r>
              <a:rPr lang="en-GB"/>
              <a:t>OECD Well-Being Data</a:t>
            </a:r>
          </a:p>
        </p:txBody>
      </p:sp>
      <p:sp>
        <p:nvSpPr>
          <p:cNvPr id="10" name="Title 4">
            <a:extLst>
              <a:ext uri="{FF2B5EF4-FFF2-40B4-BE49-F238E27FC236}">
                <a16:creationId xmlns:a16="http://schemas.microsoft.com/office/drawing/2014/main" id="{98CA5515-13D4-022F-DA36-47875537AEB0}"/>
              </a:ext>
            </a:extLst>
          </p:cNvPr>
          <p:cNvSpPr txBox="1">
            <a:spLocks/>
          </p:cNvSpPr>
          <p:nvPr/>
        </p:nvSpPr>
        <p:spPr>
          <a:xfrm>
            <a:off x="631292" y="4761982"/>
            <a:ext cx="4527742" cy="941159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GB" sz="2000">
                <a:solidFill>
                  <a:schemeClr val="accent4">
                    <a:lumMod val="50000"/>
                  </a:schemeClr>
                </a:solidFill>
              </a:rPr>
              <a:t>Presentation of Dataset Analysis</a:t>
            </a:r>
          </a:p>
        </p:txBody>
      </p:sp>
      <p:sp>
        <p:nvSpPr>
          <p:cNvPr id="12" name="Content Placeholder 1">
            <a:extLst>
              <a:ext uri="{FF2B5EF4-FFF2-40B4-BE49-F238E27FC236}">
                <a16:creationId xmlns:a16="http://schemas.microsoft.com/office/drawing/2014/main" id="{4D008A0F-4092-2D16-0AF6-75628C09D6D1}"/>
              </a:ext>
            </a:extLst>
          </p:cNvPr>
          <p:cNvSpPr txBox="1">
            <a:spLocks/>
          </p:cNvSpPr>
          <p:nvPr/>
        </p:nvSpPr>
        <p:spPr>
          <a:xfrm>
            <a:off x="7581331" y="5868448"/>
            <a:ext cx="4254787" cy="64462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GB" sz="1200"/>
              <a:t>Date: 21.03.2024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GB" sz="1200"/>
              <a:t>Place: Dublin, Ireland</a:t>
            </a:r>
          </a:p>
        </p:txBody>
      </p:sp>
      <p:sp>
        <p:nvSpPr>
          <p:cNvPr id="13" name="Title 4">
            <a:extLst>
              <a:ext uri="{FF2B5EF4-FFF2-40B4-BE49-F238E27FC236}">
                <a16:creationId xmlns:a16="http://schemas.microsoft.com/office/drawing/2014/main" id="{8B14BC07-5437-0513-72E9-7E5C40C83527}"/>
              </a:ext>
            </a:extLst>
          </p:cNvPr>
          <p:cNvSpPr txBox="1">
            <a:spLocks/>
          </p:cNvSpPr>
          <p:nvPr/>
        </p:nvSpPr>
        <p:spPr>
          <a:xfrm>
            <a:off x="7581331" y="333287"/>
            <a:ext cx="4527742" cy="2101374"/>
          </a:xfrm>
          <a:prstGeom prst="rect">
            <a:avLst/>
          </a:prstGeom>
        </p:spPr>
        <p:txBody>
          <a:bodyPr vert="horz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>
              <a:spcAft>
                <a:spcPts val="600"/>
              </a:spcAft>
            </a:pPr>
            <a:r>
              <a:rPr lang="de-DE" sz="3200">
                <a:solidFill>
                  <a:schemeClr val="bg1"/>
                </a:solidFill>
              </a:rPr>
              <a:t>A Global Perspective on Ecomonics and Well-</a:t>
            </a:r>
            <a:r>
              <a:rPr lang="de-DE" sz="3200" err="1">
                <a:solidFill>
                  <a:schemeClr val="bg1"/>
                </a:solidFill>
              </a:rPr>
              <a:t>Being</a:t>
            </a:r>
            <a:endParaRPr lang="en-GB" sz="2600" b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725361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78CFE8B2-31EB-D409-CC1E-14D103DBD7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166730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8CFE8B2-31EB-D409-CC1E-14D103DBD7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8BE9390-D0C8-E8CA-F07E-977B0B13B8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GB"/>
              <a:t>The Power BI dashboard presents key aggregate economic figures alongside detailed bar charts comparing various economic indicators across OECD countri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5F5A60-61A2-6772-F72D-5374550B4C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5FC67E-E9DB-4ACE-B3DB-64B7A5397B4F}" type="slidenum">
              <a:rPr lang="de-DE" smtClean="0"/>
              <a:pPr/>
              <a:t>10</a:t>
            </a:fld>
            <a:endParaRPr lang="de-DE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F73AC2C-FFCF-54C5-7CC8-1A13D70893A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err="1"/>
              <a:t>PowerBI</a:t>
            </a:r>
            <a:r>
              <a:rPr lang="en-GB"/>
              <a:t> - Economic Indicator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5F48B10-5AF2-0FBF-50F0-C77E82DD370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/>
              <a:t>Appendix</a:t>
            </a:r>
          </a:p>
          <a:p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3FA0A8A-8092-0D06-0F3A-EDAC2A2B729D}"/>
              </a:ext>
            </a:extLst>
          </p:cNvPr>
          <p:cNvSpPr txBox="1">
            <a:spLocks/>
          </p:cNvSpPr>
          <p:nvPr/>
        </p:nvSpPr>
        <p:spPr>
          <a:xfrm>
            <a:off x="426720" y="1938103"/>
            <a:ext cx="4752523" cy="30312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 sz="1200" b="1">
                <a:solidFill>
                  <a:schemeClr val="accent1"/>
                </a:solidFill>
              </a:rPr>
              <a:t>Dashboard View 2</a:t>
            </a:r>
            <a:endParaRPr lang="en-GB" sz="1200" baseline="30000">
              <a:solidFill>
                <a:schemeClr val="accent1"/>
              </a:solidFill>
            </a:endParaRP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endParaRPr lang="en-GB" sz="1200">
              <a:solidFill>
                <a:srgbClr val="0D0D0D"/>
              </a:solidFill>
            </a:endParaRP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endParaRPr lang="en-GB" sz="1200">
              <a:solidFill>
                <a:srgbClr val="0D0D0D"/>
              </a:solidFill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pPr>
            <a:endParaRPr lang="en-GB" sz="1200">
              <a:solidFill>
                <a:srgbClr val="0D0D0D"/>
              </a:solidFill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pPr>
            <a:endParaRPr lang="en-GB" sz="1200">
              <a:solidFill>
                <a:srgbClr val="0D0D0D"/>
              </a:solidFill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en-GB" sz="120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CA6FEFB-0DE0-D6D4-31B7-FF9B047F65EB}"/>
              </a:ext>
            </a:extLst>
          </p:cNvPr>
          <p:cNvSpPr txBox="1"/>
          <p:nvPr/>
        </p:nvSpPr>
        <p:spPr>
          <a:xfrm>
            <a:off x="6514393" y="1559565"/>
            <a:ext cx="4434960" cy="1295327"/>
          </a:xfrm>
          <a:prstGeom prst="rect">
            <a:avLst/>
          </a:prstGeom>
          <a:noFill/>
        </p:spPr>
        <p:txBody>
          <a:bodyPr wrap="square" lIns="108000" tIns="108000" rIns="108000" bIns="108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300"/>
              </a:spcBef>
              <a:defRPr/>
            </a:pPr>
            <a:r>
              <a:rPr lang="en-GB" sz="1400" b="1" i="0" u="none" strike="noStrike">
                <a:solidFill>
                  <a:schemeClr val="accent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Aggregated Data Display</a:t>
            </a:r>
          </a:p>
          <a:p>
            <a:pPr>
              <a:spcBef>
                <a:spcPts val="300"/>
              </a:spcBef>
              <a:defRPr/>
            </a:pPr>
            <a:r>
              <a:rPr lang="en-US" sz="140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key figures provide a quick statistical summary of the data, helpful for understanding the overall distribution across OECD countries.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88EFBCE-FB26-209E-2F93-DC26D38D702A}"/>
              </a:ext>
            </a:extLst>
          </p:cNvPr>
          <p:cNvSpPr txBox="1"/>
          <p:nvPr/>
        </p:nvSpPr>
        <p:spPr>
          <a:xfrm>
            <a:off x="6514393" y="2576026"/>
            <a:ext cx="4434960" cy="1079884"/>
          </a:xfrm>
          <a:prstGeom prst="rect">
            <a:avLst/>
          </a:prstGeom>
          <a:noFill/>
        </p:spPr>
        <p:txBody>
          <a:bodyPr wrap="square" lIns="108000" tIns="108000" rIns="108000" bIns="108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300"/>
              </a:spcBef>
              <a:defRPr/>
            </a:pPr>
            <a:r>
              <a:rPr lang="en-GB" sz="1400" b="1" i="0" u="none" strike="noStrike">
                <a:solidFill>
                  <a:schemeClr val="accent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Bar Chart Visual</a:t>
            </a:r>
          </a:p>
          <a:p>
            <a:pPr>
              <a:spcBef>
                <a:spcPts val="300"/>
              </a:spcBef>
              <a:defRPr/>
            </a:pPr>
            <a:r>
              <a:rPr lang="en-US" sz="140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use of a bar charts for various economic indicators effectively illustrates comparative statistics.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7C07C61-E451-186A-B0B7-7D2ACA5BCF68}"/>
              </a:ext>
            </a:extLst>
          </p:cNvPr>
          <p:cNvSpPr txBox="1"/>
          <p:nvPr/>
        </p:nvSpPr>
        <p:spPr>
          <a:xfrm>
            <a:off x="6514393" y="3395264"/>
            <a:ext cx="4434960" cy="1079884"/>
          </a:xfrm>
          <a:prstGeom prst="rect">
            <a:avLst/>
          </a:prstGeom>
          <a:noFill/>
        </p:spPr>
        <p:txBody>
          <a:bodyPr wrap="square" lIns="108000" tIns="108000" rIns="108000" bIns="108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300"/>
              </a:spcBef>
              <a:defRPr/>
            </a:pPr>
            <a:r>
              <a:rPr lang="en-GB" sz="1400" b="1" i="0" u="none" strike="noStrike">
                <a:solidFill>
                  <a:schemeClr val="accent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omprehensive Country Overview</a:t>
            </a:r>
          </a:p>
          <a:p>
            <a:pPr>
              <a:spcBef>
                <a:spcPts val="300"/>
              </a:spcBef>
              <a:defRPr/>
            </a:pPr>
            <a:r>
              <a:rPr lang="en-US" sz="140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respective distributions per OECD country are shown in order to facilitate comparison.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58E0C67-61EE-0B06-4C10-4D3E7D74553B}"/>
              </a:ext>
            </a:extLst>
          </p:cNvPr>
          <p:cNvSpPr txBox="1"/>
          <p:nvPr/>
        </p:nvSpPr>
        <p:spPr>
          <a:xfrm>
            <a:off x="6514393" y="4266002"/>
            <a:ext cx="4434960" cy="1295327"/>
          </a:xfrm>
          <a:prstGeom prst="rect">
            <a:avLst/>
          </a:prstGeom>
          <a:noFill/>
        </p:spPr>
        <p:txBody>
          <a:bodyPr wrap="square" lIns="108000" tIns="108000" rIns="108000" bIns="108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300"/>
              </a:spcBef>
              <a:defRPr/>
            </a:pPr>
            <a:r>
              <a:rPr lang="en-GB" sz="1400" b="1" i="0" u="none" strike="noStrike">
                <a:solidFill>
                  <a:schemeClr val="accent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Extensive Selection of Indicators</a:t>
            </a:r>
          </a:p>
          <a:p>
            <a:pPr>
              <a:spcBef>
                <a:spcPts val="300"/>
              </a:spcBef>
              <a:defRPr/>
            </a:pPr>
            <a:r>
              <a:rPr lang="en-US" sz="140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tions for clicking on map elements for more data, tab selection for varied views, and potential filtering, sorting, and detailed data pop-ups on hover.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6119BAD-3FE2-7A7C-61C7-4DC68A56408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9382" y="2422936"/>
            <a:ext cx="5637023" cy="3157200"/>
          </a:xfrm>
          <a:prstGeom prst="rect">
            <a:avLst/>
          </a:prstGeom>
        </p:spPr>
      </p:pic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09DE1D3D-59F3-B279-1660-7A198C587C5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755128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66DF3330-DBDE-6CB3-785F-9D81FD2A2FD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9382" y="2422936"/>
            <a:ext cx="5637023" cy="3157200"/>
          </a:xfrm>
          <a:prstGeom prst="rect">
            <a:avLst/>
          </a:prstGeom>
        </p:spPr>
      </p:pic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78CFE8B2-31EB-D409-CC1E-14D103DBD7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892097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8CFE8B2-31EB-D409-CC1E-14D103DBD7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8BE9390-D0C8-E8CA-F07E-977B0B13B8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en-GB"/>
              <a:t>The slide juxtaposes employment earnings against education levels in OECD countries, using bar charts and statistical summaries to highlight trend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5F5A60-61A2-6772-F72D-5374550B4C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5FC67E-E9DB-4ACE-B3DB-64B7A5397B4F}" type="slidenum">
              <a:rPr lang="de-DE" smtClean="0"/>
              <a:pPr/>
              <a:t>11</a:t>
            </a:fld>
            <a:endParaRPr lang="de-DE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F73AC2C-FFCF-54C5-7CC8-1A13D70893A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err="1"/>
              <a:t>PowerBI</a:t>
            </a:r>
            <a:r>
              <a:rPr lang="en-GB"/>
              <a:t> – Employment and Educatio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5F48B10-5AF2-0FBF-50F0-C77E82DD370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/>
              <a:t>Appendix</a:t>
            </a:r>
          </a:p>
          <a:p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3FA0A8A-8092-0D06-0F3A-EDAC2A2B729D}"/>
              </a:ext>
            </a:extLst>
          </p:cNvPr>
          <p:cNvSpPr txBox="1">
            <a:spLocks/>
          </p:cNvSpPr>
          <p:nvPr/>
        </p:nvSpPr>
        <p:spPr>
          <a:xfrm>
            <a:off x="426720" y="1938103"/>
            <a:ext cx="4752523" cy="30312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 sz="1200" b="1">
                <a:solidFill>
                  <a:schemeClr val="accent1"/>
                </a:solidFill>
              </a:rPr>
              <a:t>Dashboard View 3</a:t>
            </a:r>
            <a:endParaRPr lang="en-GB" sz="1200" baseline="30000">
              <a:solidFill>
                <a:schemeClr val="accent1"/>
              </a:solidFill>
            </a:endParaRP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endParaRPr lang="en-GB" sz="1200">
              <a:solidFill>
                <a:srgbClr val="0D0D0D"/>
              </a:solidFill>
            </a:endParaRP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endParaRPr lang="en-GB" sz="1200">
              <a:solidFill>
                <a:srgbClr val="0D0D0D"/>
              </a:solidFill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pPr>
            <a:endParaRPr lang="en-GB" sz="1200">
              <a:solidFill>
                <a:srgbClr val="0D0D0D"/>
              </a:solidFill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pPr>
            <a:endParaRPr lang="en-GB" sz="1200">
              <a:solidFill>
                <a:srgbClr val="0D0D0D"/>
              </a:solidFill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en-GB" sz="120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CA6FEFB-0DE0-D6D4-31B7-FF9B047F65EB}"/>
              </a:ext>
            </a:extLst>
          </p:cNvPr>
          <p:cNvSpPr txBox="1"/>
          <p:nvPr/>
        </p:nvSpPr>
        <p:spPr>
          <a:xfrm>
            <a:off x="6514393" y="1559565"/>
            <a:ext cx="4434960" cy="1295327"/>
          </a:xfrm>
          <a:prstGeom prst="rect">
            <a:avLst/>
          </a:prstGeom>
          <a:noFill/>
        </p:spPr>
        <p:txBody>
          <a:bodyPr wrap="square" lIns="108000" tIns="108000" rIns="108000" bIns="108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300"/>
              </a:spcBef>
              <a:defRPr/>
            </a:pPr>
            <a:r>
              <a:rPr lang="en-GB" sz="1400" b="1" i="0" u="none" strike="noStrike">
                <a:solidFill>
                  <a:schemeClr val="accent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Dual Data Panels</a:t>
            </a:r>
          </a:p>
          <a:p>
            <a:pPr>
              <a:spcBef>
                <a:spcPts val="300"/>
              </a:spcBef>
              <a:defRPr/>
            </a:pPr>
            <a:r>
              <a:rPr lang="en-US" sz="140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wo panels, each with its own set of statistical data, indicating a focus on employment and education statistics within OECD countries.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88EFBCE-FB26-209E-2F93-DC26D38D702A}"/>
              </a:ext>
            </a:extLst>
          </p:cNvPr>
          <p:cNvSpPr txBox="1"/>
          <p:nvPr/>
        </p:nvSpPr>
        <p:spPr>
          <a:xfrm>
            <a:off x="6514392" y="2517411"/>
            <a:ext cx="4681145" cy="1510771"/>
          </a:xfrm>
          <a:prstGeom prst="rect">
            <a:avLst/>
          </a:prstGeom>
          <a:noFill/>
        </p:spPr>
        <p:txBody>
          <a:bodyPr wrap="square" lIns="108000" tIns="108000" rIns="108000" bIns="108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300"/>
              </a:spcBef>
              <a:defRPr/>
            </a:pPr>
            <a:r>
              <a:rPr lang="en-GB" sz="1400" b="1" i="0" u="none" strike="noStrike">
                <a:solidFill>
                  <a:schemeClr val="accent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Interactive Features</a:t>
            </a:r>
          </a:p>
          <a:p>
            <a:pPr>
              <a:spcBef>
                <a:spcPts val="300"/>
              </a:spcBef>
              <a:defRPr/>
            </a:pPr>
            <a:r>
              <a:rPr lang="en-US" sz="140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tions for 'Region Details,' 'Economic Development,' and 'Block Association' suggest customizable data views, and possibly the ability to filter or drill down for more detailed analysis.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7C07C61-E451-186A-B0B7-7D2ACA5BCF68}"/>
              </a:ext>
            </a:extLst>
          </p:cNvPr>
          <p:cNvSpPr txBox="1"/>
          <p:nvPr/>
        </p:nvSpPr>
        <p:spPr>
          <a:xfrm>
            <a:off x="6514393" y="3686612"/>
            <a:ext cx="4575638" cy="1510771"/>
          </a:xfrm>
          <a:prstGeom prst="rect">
            <a:avLst/>
          </a:prstGeom>
          <a:noFill/>
        </p:spPr>
        <p:txBody>
          <a:bodyPr wrap="square" lIns="108000" tIns="108000" rIns="108000" bIns="108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300"/>
              </a:spcBef>
              <a:defRPr/>
            </a:pPr>
            <a:r>
              <a:rPr lang="en-GB" sz="1400" b="1" i="0" u="none" strike="noStrike">
                <a:solidFill>
                  <a:schemeClr val="accent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Descending Bar Charts</a:t>
            </a:r>
          </a:p>
          <a:p>
            <a:pPr>
              <a:spcBef>
                <a:spcPts val="300"/>
              </a:spcBef>
              <a:defRPr/>
            </a:pPr>
            <a:r>
              <a:rPr lang="en-US" sz="140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wo bar charts show the countries in descending order of personal earnings and student skills score, allowing for an easy comparison of countries and identifying outliers.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58E0C67-61EE-0B06-4C10-4D3E7D74553B}"/>
              </a:ext>
            </a:extLst>
          </p:cNvPr>
          <p:cNvSpPr txBox="1"/>
          <p:nvPr/>
        </p:nvSpPr>
        <p:spPr>
          <a:xfrm>
            <a:off x="6514393" y="4842936"/>
            <a:ext cx="4575638" cy="1510771"/>
          </a:xfrm>
          <a:prstGeom prst="rect">
            <a:avLst/>
          </a:prstGeom>
          <a:noFill/>
        </p:spPr>
        <p:txBody>
          <a:bodyPr wrap="square" lIns="108000" tIns="108000" rIns="108000" bIns="108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300"/>
              </a:spcBef>
              <a:defRPr/>
            </a:pPr>
            <a:r>
              <a:rPr lang="en-GB" sz="1400" b="1" i="0" u="none" strike="noStrike">
                <a:solidFill>
                  <a:schemeClr val="accent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Summary Statistics</a:t>
            </a:r>
          </a:p>
          <a:p>
            <a:pPr>
              <a:spcBef>
                <a:spcPts val="300"/>
              </a:spcBef>
              <a:defRPr/>
            </a:pPr>
            <a:r>
              <a:rPr lang="en-US" sz="140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ch panel presents an average and standard deviation, which summarizes the central tendency and dispersion of the dataset for both personal earnings and student skills.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B52A77C-FD60-DE06-1256-31754D6339C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79381" y="2439801"/>
            <a:ext cx="5621450" cy="31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675402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E9C63D84-92B9-1689-DB90-A171F089A19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9381" y="2439801"/>
            <a:ext cx="5621450" cy="3157200"/>
          </a:xfrm>
          <a:prstGeom prst="rect">
            <a:avLst/>
          </a:prstGeom>
        </p:spPr>
      </p:pic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78CFE8B2-31EB-D409-CC1E-14D103DBD7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871229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8CFE8B2-31EB-D409-CC1E-14D103DBD7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8BE9390-D0C8-E8CA-F07E-977B0B13B8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GB"/>
              <a:t>Focusing on OECD countries, this slide offers a snapshot of public safety and health metrics, with interactive charts that highlight extremes in the dat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5F5A60-61A2-6772-F72D-5374550B4C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5FC67E-E9DB-4ACE-B3DB-64B7A5397B4F}" type="slidenum">
              <a:rPr lang="de-DE" smtClean="0"/>
              <a:pPr/>
              <a:t>12</a:t>
            </a:fld>
            <a:endParaRPr lang="de-DE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F73AC2C-FFCF-54C5-7CC8-1A13D70893A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err="1"/>
              <a:t>PowerBI</a:t>
            </a:r>
            <a:r>
              <a:rPr lang="en-GB"/>
              <a:t> – Quality of Lif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5F48B10-5AF2-0FBF-50F0-C77E82DD370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/>
              <a:t>Appendix</a:t>
            </a:r>
          </a:p>
          <a:p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3FA0A8A-8092-0D06-0F3A-EDAC2A2B729D}"/>
              </a:ext>
            </a:extLst>
          </p:cNvPr>
          <p:cNvSpPr txBox="1">
            <a:spLocks/>
          </p:cNvSpPr>
          <p:nvPr/>
        </p:nvSpPr>
        <p:spPr>
          <a:xfrm>
            <a:off x="426720" y="1938103"/>
            <a:ext cx="4752523" cy="30312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 sz="1200" b="1">
                <a:solidFill>
                  <a:schemeClr val="accent1"/>
                </a:solidFill>
              </a:rPr>
              <a:t>Dashboard View 4</a:t>
            </a:r>
            <a:endParaRPr lang="en-GB" sz="1200" baseline="30000">
              <a:solidFill>
                <a:schemeClr val="accent1"/>
              </a:solidFill>
            </a:endParaRP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endParaRPr lang="en-GB" sz="1200">
              <a:solidFill>
                <a:srgbClr val="0D0D0D"/>
              </a:solidFill>
            </a:endParaRP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endParaRPr lang="en-GB" sz="1200">
              <a:solidFill>
                <a:srgbClr val="0D0D0D"/>
              </a:solidFill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pPr>
            <a:endParaRPr lang="en-GB" sz="1200">
              <a:solidFill>
                <a:srgbClr val="0D0D0D"/>
              </a:solidFill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pPr>
            <a:endParaRPr lang="en-GB" sz="1200">
              <a:solidFill>
                <a:srgbClr val="0D0D0D"/>
              </a:solidFill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en-GB" sz="120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CA6FEFB-0DE0-D6D4-31B7-FF9B047F65EB}"/>
              </a:ext>
            </a:extLst>
          </p:cNvPr>
          <p:cNvSpPr txBox="1"/>
          <p:nvPr/>
        </p:nvSpPr>
        <p:spPr>
          <a:xfrm>
            <a:off x="6514392" y="1559565"/>
            <a:ext cx="4434961" cy="1295327"/>
          </a:xfrm>
          <a:prstGeom prst="rect">
            <a:avLst/>
          </a:prstGeom>
          <a:noFill/>
        </p:spPr>
        <p:txBody>
          <a:bodyPr wrap="square" lIns="108000" tIns="108000" rIns="108000" bIns="108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300"/>
              </a:spcBef>
              <a:defRPr/>
            </a:pPr>
            <a:r>
              <a:rPr lang="en-US" sz="1400" b="1" i="0" u="none" strike="noStrike">
                <a:solidFill>
                  <a:schemeClr val="accent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omprehensive Quality of Life Indicators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slide features different quality of life metrics for OECD countries, such as homicide rates, air pollution levels, life expectancy etc.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88EFBCE-FB26-209E-2F93-DC26D38D702A}"/>
              </a:ext>
            </a:extLst>
          </p:cNvPr>
          <p:cNvSpPr txBox="1"/>
          <p:nvPr/>
        </p:nvSpPr>
        <p:spPr>
          <a:xfrm>
            <a:off x="6502669" y="2551982"/>
            <a:ext cx="4434960" cy="1510771"/>
          </a:xfrm>
          <a:prstGeom prst="rect">
            <a:avLst/>
          </a:prstGeom>
          <a:noFill/>
        </p:spPr>
        <p:txBody>
          <a:bodyPr wrap="square" lIns="108000" tIns="108000" rIns="108000" bIns="108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300"/>
              </a:spcBef>
              <a:defRPr/>
            </a:pPr>
            <a:r>
              <a:rPr lang="en-GB" sz="1400" b="1" i="0" u="none" strike="noStrike">
                <a:solidFill>
                  <a:schemeClr val="accent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Top and Bottom Filters</a:t>
            </a:r>
          </a:p>
          <a:p>
            <a:pPr>
              <a:spcBef>
                <a:spcPts val="300"/>
              </a:spcBef>
              <a:defRPr/>
            </a:pPr>
            <a:r>
              <a:rPr lang="en-US" sz="140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s labeled 'Top' and 'Bottom' indicate interactive elements that could filter the displayed data to show either the countries with the best or worst indicators in each category.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7C07C61-E451-186A-B0B7-7D2ACA5BCF68}"/>
              </a:ext>
            </a:extLst>
          </p:cNvPr>
          <p:cNvSpPr txBox="1"/>
          <p:nvPr/>
        </p:nvSpPr>
        <p:spPr>
          <a:xfrm>
            <a:off x="6502669" y="3815600"/>
            <a:ext cx="4434960" cy="1295327"/>
          </a:xfrm>
          <a:prstGeom prst="rect">
            <a:avLst/>
          </a:prstGeom>
          <a:noFill/>
        </p:spPr>
        <p:txBody>
          <a:bodyPr wrap="square" lIns="108000" tIns="108000" rIns="108000" bIns="108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300"/>
              </a:spcBef>
              <a:defRPr/>
            </a:pPr>
            <a:r>
              <a:rPr lang="en-GB" sz="1400" b="1" i="0" u="none" strike="noStrike">
                <a:solidFill>
                  <a:schemeClr val="accent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Scatter Plots</a:t>
            </a:r>
          </a:p>
          <a:p>
            <a:pPr>
              <a:spcBef>
                <a:spcPts val="300"/>
              </a:spcBef>
              <a:defRPr/>
            </a:pPr>
            <a:r>
              <a:rPr lang="en-US" sz="140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ually compare countries based on homicide rates,  feeling safe walking alone etc., using color-coded markers for intuitive understanding of the data.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58E0C67-61EE-0B06-4C10-4D3E7D74553B}"/>
              </a:ext>
            </a:extLst>
          </p:cNvPr>
          <p:cNvSpPr txBox="1"/>
          <p:nvPr/>
        </p:nvSpPr>
        <p:spPr>
          <a:xfrm>
            <a:off x="6514392" y="4809371"/>
            <a:ext cx="4434960" cy="1295327"/>
          </a:xfrm>
          <a:prstGeom prst="rect">
            <a:avLst/>
          </a:prstGeom>
          <a:noFill/>
        </p:spPr>
        <p:txBody>
          <a:bodyPr wrap="square" lIns="108000" tIns="108000" rIns="108000" bIns="108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300"/>
              </a:spcBef>
              <a:defRPr/>
            </a:pPr>
            <a:r>
              <a:rPr lang="en-GB" sz="1400" b="1" i="0" u="none" strike="noStrike">
                <a:solidFill>
                  <a:schemeClr val="accent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ountry Ranking Tables</a:t>
            </a:r>
          </a:p>
          <a:p>
            <a:pPr>
              <a:spcBef>
                <a:spcPts val="300"/>
              </a:spcBef>
              <a:defRPr/>
            </a:pPr>
            <a:r>
              <a:rPr lang="en-US" sz="140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x tables list the top/bottom countries for various indicators, providing a clear ranking for easy comparison.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A33B3738-6A06-4E00-BD41-E8DD9FF7AFE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817438F2-A6CB-053F-AD2C-7E65C3CA8DA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79380" y="2439801"/>
            <a:ext cx="5630305" cy="31604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043335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78CFE8B2-31EB-D409-CC1E-14D103DBD7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236392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8CFE8B2-31EB-D409-CC1E-14D103DBD7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8BE9390-D0C8-E8CA-F07E-977B0B13B8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GB"/>
              <a:t>A detailed cross-analysis of life quality indicators reveals their positive or negative correlations with personal earnings and life expectancy in OECD nation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5F5A60-61A2-6772-F72D-5374550B4C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5FC67E-E9DB-4ACE-B3DB-64B7A5397B4F}" type="slidenum">
              <a:rPr lang="de-DE" smtClean="0"/>
              <a:pPr/>
              <a:t>13</a:t>
            </a:fld>
            <a:endParaRPr lang="de-DE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F73AC2C-FFCF-54C5-7CC8-1A13D70893A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err="1"/>
              <a:t>PowerBI</a:t>
            </a:r>
            <a:r>
              <a:rPr lang="en-GB"/>
              <a:t> – Data Analysi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5F48B10-5AF2-0FBF-50F0-C77E82DD370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/>
              <a:t>Appendix</a:t>
            </a:r>
          </a:p>
          <a:p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3FA0A8A-8092-0D06-0F3A-EDAC2A2B729D}"/>
              </a:ext>
            </a:extLst>
          </p:cNvPr>
          <p:cNvSpPr txBox="1">
            <a:spLocks/>
          </p:cNvSpPr>
          <p:nvPr/>
        </p:nvSpPr>
        <p:spPr>
          <a:xfrm>
            <a:off x="426720" y="1938103"/>
            <a:ext cx="4752523" cy="30312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 sz="1200" b="1">
                <a:solidFill>
                  <a:schemeClr val="accent1"/>
                </a:solidFill>
              </a:rPr>
              <a:t>Dashboard View 5</a:t>
            </a:r>
            <a:endParaRPr lang="en-GB" sz="1200" baseline="30000">
              <a:solidFill>
                <a:schemeClr val="accent1"/>
              </a:solidFill>
            </a:endParaRP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endParaRPr lang="en-GB" sz="1200">
              <a:solidFill>
                <a:srgbClr val="0D0D0D"/>
              </a:solidFill>
            </a:endParaRP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endParaRPr lang="en-GB" sz="1200">
              <a:solidFill>
                <a:srgbClr val="0D0D0D"/>
              </a:solidFill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pPr>
            <a:endParaRPr lang="en-GB" sz="1200">
              <a:solidFill>
                <a:srgbClr val="0D0D0D"/>
              </a:solidFill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pPr>
            <a:endParaRPr lang="en-GB" sz="1200">
              <a:solidFill>
                <a:srgbClr val="0D0D0D"/>
              </a:solidFill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en-GB" sz="120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CA6FEFB-0DE0-D6D4-31B7-FF9B047F65EB}"/>
              </a:ext>
            </a:extLst>
          </p:cNvPr>
          <p:cNvSpPr txBox="1"/>
          <p:nvPr/>
        </p:nvSpPr>
        <p:spPr>
          <a:xfrm>
            <a:off x="6514393" y="1559565"/>
            <a:ext cx="4434960" cy="1510771"/>
          </a:xfrm>
          <a:prstGeom prst="rect">
            <a:avLst/>
          </a:prstGeom>
          <a:noFill/>
        </p:spPr>
        <p:txBody>
          <a:bodyPr wrap="square" lIns="108000" tIns="108000" rIns="108000" bIns="108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300"/>
              </a:spcBef>
              <a:defRPr/>
            </a:pPr>
            <a:r>
              <a:rPr lang="en-GB" sz="1400" b="1" i="0" u="none" strike="noStrike">
                <a:solidFill>
                  <a:schemeClr val="accent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orrelation Analysis</a:t>
            </a:r>
          </a:p>
          <a:p>
            <a:pPr>
              <a:spcBef>
                <a:spcPts val="300"/>
              </a:spcBef>
              <a:defRPr/>
            </a:pPr>
            <a:r>
              <a:rPr lang="en-US" sz="140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s slide offers a visual representation of the correlation between the most interesting relationships, featuring scatter plots for each indicator.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88EFBCE-FB26-209E-2F93-DC26D38D702A}"/>
              </a:ext>
            </a:extLst>
          </p:cNvPr>
          <p:cNvSpPr txBox="1"/>
          <p:nvPr/>
        </p:nvSpPr>
        <p:spPr>
          <a:xfrm>
            <a:off x="6514393" y="2781336"/>
            <a:ext cx="4434960" cy="1510771"/>
          </a:xfrm>
          <a:prstGeom prst="rect">
            <a:avLst/>
          </a:prstGeom>
          <a:noFill/>
        </p:spPr>
        <p:txBody>
          <a:bodyPr wrap="square" lIns="108000" tIns="108000" rIns="108000" bIns="108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300"/>
              </a:spcBef>
              <a:defRPr/>
            </a:pPr>
            <a:r>
              <a:rPr lang="en-GB" sz="1400" b="1" i="0" u="none" strike="noStrike">
                <a:solidFill>
                  <a:schemeClr val="accent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Positive and Negative Correlations</a:t>
            </a:r>
          </a:p>
          <a:p>
            <a:pPr>
              <a:spcBef>
                <a:spcPts val="300"/>
              </a:spcBef>
              <a:defRPr/>
            </a:pPr>
            <a:r>
              <a:rPr lang="en-US" sz="140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ch scatter plot is labeled as having a positive or negative correlation, providing an at-a-glance understanding of how each factor might relate to life expectancy and personal earnings.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7C07C61-E451-186A-B0B7-7D2ACA5BCF68}"/>
              </a:ext>
            </a:extLst>
          </p:cNvPr>
          <p:cNvSpPr txBox="1"/>
          <p:nvPr/>
        </p:nvSpPr>
        <p:spPr>
          <a:xfrm>
            <a:off x="6514393" y="4001294"/>
            <a:ext cx="4434960" cy="1295327"/>
          </a:xfrm>
          <a:prstGeom prst="rect">
            <a:avLst/>
          </a:prstGeom>
          <a:noFill/>
        </p:spPr>
        <p:txBody>
          <a:bodyPr wrap="square" lIns="108000" tIns="108000" rIns="108000" bIns="108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300"/>
              </a:spcBef>
              <a:defRPr/>
            </a:pPr>
            <a:r>
              <a:rPr lang="en-GB" sz="1400" b="1" i="0" u="none" strike="noStrike">
                <a:solidFill>
                  <a:schemeClr val="accent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Interactive Detail Viewing</a:t>
            </a:r>
          </a:p>
          <a:p>
            <a:pPr>
              <a:spcBef>
                <a:spcPts val="300"/>
              </a:spcBef>
              <a:defRPr/>
            </a:pPr>
            <a:r>
              <a:rPr lang="en-US" sz="140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 'Select to Zoom In’, the slide allows users to focus on specific details of each scatter plot for a more detailed examination.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58E0C67-61EE-0B06-4C10-4D3E7D74553B}"/>
              </a:ext>
            </a:extLst>
          </p:cNvPr>
          <p:cNvSpPr txBox="1"/>
          <p:nvPr/>
        </p:nvSpPr>
        <p:spPr>
          <a:xfrm>
            <a:off x="6514393" y="5035520"/>
            <a:ext cx="4434960" cy="1079884"/>
          </a:xfrm>
          <a:prstGeom prst="rect">
            <a:avLst/>
          </a:prstGeom>
          <a:noFill/>
        </p:spPr>
        <p:txBody>
          <a:bodyPr wrap="square" lIns="108000" tIns="108000" rIns="108000" bIns="108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300"/>
              </a:spcBef>
              <a:defRPr/>
            </a:pPr>
            <a:r>
              <a:rPr lang="en-GB" sz="14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gnificant Relationships</a:t>
            </a:r>
            <a:endParaRPr lang="en-GB" sz="1400" b="1" i="0" u="none" strike="noStrike">
              <a:solidFill>
                <a:schemeClr val="accent2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300"/>
              </a:spcBef>
              <a:defRPr/>
            </a:pPr>
            <a:r>
              <a:rPr lang="en-US" sz="140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ch context shown serves to represent the most valuable insights from the dataset.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177921F9-A4A4-1CD9-5865-79BF7918497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9B9D21C-FCC3-23B7-87CF-3EB05D5B4D4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9380" y="2439801"/>
            <a:ext cx="5630305" cy="3160462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F82E18A0-F004-1A64-13D6-C0C5FE0DAE1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79380" y="2439801"/>
            <a:ext cx="5620330" cy="31604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247732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21F2C7A-F4CB-0FF4-62FD-ED4BB96DB7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58317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1F2C7A-F4CB-0FF4-62FD-ED4BB96DB7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EBE7D5A-8264-6333-A8F4-9072F68C4F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Fostering a deep understanding of your dataset and extracting meaningful conclusions using Power BI's dynamic reporting featur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4617282-B5DB-FDCE-F9C7-99BC6EBF77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5FC67E-E9DB-4ACE-B3DB-64B7A5397B4F}" type="slidenum">
              <a:rPr lang="de-DE" smtClean="0"/>
              <a:pPr/>
              <a:t>2</a:t>
            </a:fld>
            <a:endParaRPr lang="de-DE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0527A35-4908-E837-DA52-B67BA08A8B8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/>
              <a:t>Table of Content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9240D3B-34D5-14D4-20EC-8AEDF397A57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/>
              <a:t>Table of Contents</a:t>
            </a:r>
          </a:p>
        </p:txBody>
      </p:sp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id="{B7C7AF3F-BD9F-0B75-26A1-87340749A6F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7312719"/>
              </p:ext>
            </p:extLst>
          </p:nvPr>
        </p:nvGraphicFramePr>
        <p:xfrm>
          <a:off x="426720" y="1944806"/>
          <a:ext cx="11382103" cy="415099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pic>
        <p:nvPicPr>
          <p:cNvPr id="14" name="Graphic 13" descr="Research with solid fill">
            <a:extLst>
              <a:ext uri="{FF2B5EF4-FFF2-40B4-BE49-F238E27FC236}">
                <a16:creationId xmlns:a16="http://schemas.microsoft.com/office/drawing/2014/main" id="{8C02F4D1-8A9A-E6AC-9B7B-C8E069F28EA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158436" y="4958096"/>
            <a:ext cx="593618" cy="593618"/>
          </a:xfrm>
          <a:prstGeom prst="rect">
            <a:avLst/>
          </a:prstGeom>
        </p:spPr>
      </p:pic>
      <p:pic>
        <p:nvPicPr>
          <p:cNvPr id="16" name="Graphic 15" descr="Bar chart with solid fill">
            <a:extLst>
              <a:ext uri="{FF2B5EF4-FFF2-40B4-BE49-F238E27FC236}">
                <a16:creationId xmlns:a16="http://schemas.microsoft.com/office/drawing/2014/main" id="{68D37F68-A8E2-1BF2-9FCD-19024A26F773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173027" y="2457195"/>
            <a:ext cx="593618" cy="593618"/>
          </a:xfrm>
          <a:prstGeom prst="rect">
            <a:avLst/>
          </a:prstGeom>
        </p:spPr>
      </p:pic>
      <p:pic>
        <p:nvPicPr>
          <p:cNvPr id="9" name="Graphic 8" descr="Presentation with pie chart with solid fill">
            <a:extLst>
              <a:ext uri="{FF2B5EF4-FFF2-40B4-BE49-F238E27FC236}">
                <a16:creationId xmlns:a16="http://schemas.microsoft.com/office/drawing/2014/main" id="{F46AFCFE-1DB8-8B95-EBC1-015010636F99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0160536" y="4977154"/>
            <a:ext cx="602912" cy="602912"/>
          </a:xfrm>
          <a:prstGeom prst="rect">
            <a:avLst/>
          </a:prstGeom>
        </p:spPr>
      </p:pic>
      <p:pic>
        <p:nvPicPr>
          <p:cNvPr id="13" name="Graphic 12" descr="Boardroom with solid fill">
            <a:extLst>
              <a:ext uri="{FF2B5EF4-FFF2-40B4-BE49-F238E27FC236}">
                <a16:creationId xmlns:a16="http://schemas.microsoft.com/office/drawing/2014/main" id="{EEDA4C34-E6A6-784E-2F61-E6D55D345365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7269877" y="2543666"/>
            <a:ext cx="602912" cy="602912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70608CA7-CC47-15C4-001C-82ED5A54F876}"/>
              </a:ext>
            </a:extLst>
          </p:cNvPr>
          <p:cNvSpPr txBox="1"/>
          <p:nvPr/>
        </p:nvSpPr>
        <p:spPr>
          <a:xfrm>
            <a:off x="3416300" y="3519718"/>
            <a:ext cx="2374900" cy="1723549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sz="1100" b="0" i="0" u="none" strike="noStrike">
                <a:solidFill>
                  <a:srgbClr val="0D0D0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Utilize Power BI's built-in statistical functions for data relationships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sz="1100" b="0" i="0" u="none" strike="noStrike">
                <a:solidFill>
                  <a:srgbClr val="0D0D0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reate Power BI dashboards for multivariate analysis visualizations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sz="1100" b="0" i="0" u="none" strike="noStrike">
                <a:solidFill>
                  <a:srgbClr val="0D0D0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Design interactive Power BI reports</a:t>
            </a:r>
          </a:p>
          <a:p>
            <a:pPr algn="l"/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F8F6472-69D6-5E3E-5834-26D772E99C1D}"/>
              </a:ext>
            </a:extLst>
          </p:cNvPr>
          <p:cNvSpPr txBox="1"/>
          <p:nvPr/>
        </p:nvSpPr>
        <p:spPr>
          <a:xfrm>
            <a:off x="426720" y="3217313"/>
            <a:ext cx="2374900" cy="1277273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GB" sz="1100" b="0" i="0" u="none">
                <a:latin typeface="Arial" panose="020B0604020202020204" pitchFamily="34" charset="0"/>
                <a:cs typeface="Arial" panose="020B0604020202020204" pitchFamily="34" charset="0"/>
              </a:rPr>
              <a:t>Check data integrity and completenes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100" b="0" i="0" u="none">
                <a:latin typeface="Arial" panose="020B0604020202020204" pitchFamily="34" charset="0"/>
                <a:cs typeface="Arial" panose="020B0604020202020204" pitchFamily="34" charset="0"/>
              </a:rPr>
              <a:t>Basic feature engineering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GB" sz="1100" b="0" i="0" u="none">
                <a:latin typeface="Arial" panose="020B0604020202020204" pitchFamily="34" charset="0"/>
                <a:cs typeface="Arial" panose="020B0604020202020204" pitchFamily="34" charset="0"/>
              </a:rPr>
              <a:t>Review dataset metadata for context</a:t>
            </a:r>
            <a:endParaRPr lang="en-GB" sz="1100" noProof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GB" sz="1100" b="0" i="0" u="none">
                <a:latin typeface="Arial" panose="020B0604020202020204" pitchFamily="34" charset="0"/>
                <a:cs typeface="Arial" panose="020B0604020202020204" pitchFamily="34" charset="0"/>
              </a:rPr>
              <a:t>Align indicators with research/policy interest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CFC4D5E-6281-AE75-4290-7F8E7E22D2FE}"/>
              </a:ext>
            </a:extLst>
          </p:cNvPr>
          <p:cNvSpPr txBox="1"/>
          <p:nvPr/>
        </p:nvSpPr>
        <p:spPr>
          <a:xfrm>
            <a:off x="9390380" y="3519718"/>
            <a:ext cx="2374900" cy="769441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GB" sz="1100" b="0" i="0" u="none" strike="noStrike">
                <a:solidFill>
                  <a:srgbClr val="0D0D0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Summarize key analytical findings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GB" sz="1100" b="0" i="0" u="none" strike="noStrike">
                <a:solidFill>
                  <a:srgbClr val="0D0D0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Present recommendations based on data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5ADEFE0-151E-CF6A-4358-3091DEAEF96B}"/>
              </a:ext>
            </a:extLst>
          </p:cNvPr>
          <p:cNvSpPr txBox="1"/>
          <p:nvPr/>
        </p:nvSpPr>
        <p:spPr>
          <a:xfrm>
            <a:off x="6400800" y="3299799"/>
            <a:ext cx="2154327" cy="1215717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sz="1100" b="0" i="0" u="none" strike="noStrike">
                <a:solidFill>
                  <a:srgbClr val="0D0D0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onceptualisation of findings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IE" sz="1100" b="0" i="0" u="none" strike="noStrike">
                <a:solidFill>
                  <a:srgbClr val="0D0D0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Organising the findings</a:t>
            </a:r>
            <a:endParaRPr lang="en-GB" sz="1100" b="0" i="0" u="none" strike="noStrike">
              <a:solidFill>
                <a:srgbClr val="0D0D0D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sz="1100" b="0" i="0" u="none" strike="noStrike">
                <a:solidFill>
                  <a:srgbClr val="0D0D0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Prioritisation of most relevant insights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00202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3" name="think-cell data - do not delete" hidden="1">
            <a:extLst>
              <a:ext uri="{FF2B5EF4-FFF2-40B4-BE49-F238E27FC236}">
                <a16:creationId xmlns:a16="http://schemas.microsoft.com/office/drawing/2014/main" id="{BC7D7C00-2BAE-4A45-B8E1-AB1A2D36F5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32446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01" imgH="502" progId="TCLayout.ActiveDocument.1">
                  <p:embed/>
                </p:oleObj>
              </mc:Choice>
              <mc:Fallback>
                <p:oleObj name="think-cell Slide" r:id="rId3" imgW="501" imgH="502" progId="TCLayout.ActiveDocument.1">
                  <p:embed/>
                  <p:pic>
                    <p:nvPicPr>
                      <p:cNvPr id="4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C7D7C00-2BAE-4A45-B8E1-AB1A2D36F5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E4B0CCE-FC5A-ED5C-B9AC-ABFECF6BE5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The tailored and structured data is pivotal for conducting in-depth analytical research that leads to insightful discoveries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826355F-004C-4DD2-4E9B-286EC1F43D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5FC67E-E9DB-4ACE-B3DB-64B7A5397B4F}" type="slidenum">
              <a:rPr lang="de-DE" smtClean="0"/>
              <a:pPr/>
              <a:t>3</a:t>
            </a:fld>
            <a:endParaRPr lang="de-DE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426B840-DDE2-FA16-4D5F-08DE565E64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/>
              <a:t>The Well-Being Data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8AE0CE6-7F12-694C-68BB-AA24126B07A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/>
              <a:t>Dataset Introduction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66817C0-B038-3876-F09D-DBFD0A822350}"/>
              </a:ext>
            </a:extLst>
          </p:cNvPr>
          <p:cNvGrpSpPr/>
          <p:nvPr/>
        </p:nvGrpSpPr>
        <p:grpSpPr>
          <a:xfrm>
            <a:off x="520501" y="1934897"/>
            <a:ext cx="3586401" cy="4177295"/>
            <a:chOff x="525428" y="1214501"/>
            <a:chExt cx="3583077" cy="4712030"/>
          </a:xfrm>
        </p:grpSpPr>
        <p:sp>
          <p:nvSpPr>
            <p:cNvPr id="9" name="Freeform 153">
              <a:extLst>
                <a:ext uri="{FF2B5EF4-FFF2-40B4-BE49-F238E27FC236}">
                  <a16:creationId xmlns:a16="http://schemas.microsoft.com/office/drawing/2014/main" id="{33C84BEE-C6D9-46E7-589C-4E273A4ECF02}"/>
                </a:ext>
              </a:extLst>
            </p:cNvPr>
            <p:cNvSpPr>
              <a:spLocks/>
            </p:cNvSpPr>
            <p:nvPr/>
          </p:nvSpPr>
          <p:spPr bwMode="auto">
            <a:xfrm>
              <a:off x="2410296" y="4852405"/>
              <a:ext cx="1178937" cy="66200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73" y="0"/>
                </a:cxn>
                <a:cxn ang="0">
                  <a:pos x="515" y="156"/>
                </a:cxn>
                <a:cxn ang="0">
                  <a:pos x="673" y="314"/>
                </a:cxn>
                <a:cxn ang="0">
                  <a:pos x="0" y="314"/>
                </a:cxn>
                <a:cxn ang="0">
                  <a:pos x="0" y="0"/>
                </a:cxn>
              </a:cxnLst>
              <a:rect l="0" t="0" r="r" b="b"/>
              <a:pathLst>
                <a:path w="673" h="314">
                  <a:moveTo>
                    <a:pt x="0" y="0"/>
                  </a:moveTo>
                  <a:lnTo>
                    <a:pt x="673" y="0"/>
                  </a:lnTo>
                  <a:lnTo>
                    <a:pt x="515" y="156"/>
                  </a:lnTo>
                  <a:lnTo>
                    <a:pt x="673" y="314"/>
                  </a:lnTo>
                  <a:lnTo>
                    <a:pt x="0" y="314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shade val="30000"/>
                    <a:satMod val="115000"/>
                    <a:alpha val="70000"/>
                  </a:schemeClr>
                </a:gs>
                <a:gs pos="50000">
                  <a:schemeClr val="accent1">
                    <a:shade val="67500"/>
                    <a:satMod val="115000"/>
                    <a:alpha val="60000"/>
                  </a:schemeClr>
                </a:gs>
                <a:gs pos="100000">
                  <a:schemeClr val="accent1">
                    <a:shade val="100000"/>
                    <a:satMod val="115000"/>
                    <a:alpha val="40000"/>
                  </a:schemeClr>
                </a:gs>
              </a:gsLst>
              <a:lin ang="0" scaled="1"/>
              <a:tileRect/>
            </a:gra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0" name="Freeform 155">
              <a:extLst>
                <a:ext uri="{FF2B5EF4-FFF2-40B4-BE49-F238E27FC236}">
                  <a16:creationId xmlns:a16="http://schemas.microsoft.com/office/drawing/2014/main" id="{D44BBC73-67DC-A95F-0A2F-12B5159E8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9622" y="3768108"/>
              <a:ext cx="1294321" cy="66410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73" y="0"/>
                </a:cxn>
                <a:cxn ang="0">
                  <a:pos x="516" y="157"/>
                </a:cxn>
                <a:cxn ang="0">
                  <a:pos x="673" y="315"/>
                </a:cxn>
                <a:cxn ang="0">
                  <a:pos x="0" y="315"/>
                </a:cxn>
                <a:cxn ang="0">
                  <a:pos x="0" y="0"/>
                </a:cxn>
              </a:cxnLst>
              <a:rect l="0" t="0" r="r" b="b"/>
              <a:pathLst>
                <a:path w="673" h="315">
                  <a:moveTo>
                    <a:pt x="0" y="0"/>
                  </a:moveTo>
                  <a:lnTo>
                    <a:pt x="673" y="0"/>
                  </a:lnTo>
                  <a:lnTo>
                    <a:pt x="516" y="157"/>
                  </a:lnTo>
                  <a:lnTo>
                    <a:pt x="673" y="315"/>
                  </a:lnTo>
                  <a:lnTo>
                    <a:pt x="0" y="315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12ABDB">
                    <a:shade val="30000"/>
                    <a:satMod val="115000"/>
                    <a:alpha val="68000"/>
                  </a:srgbClr>
                </a:gs>
                <a:gs pos="50000">
                  <a:srgbClr val="12ABDB">
                    <a:shade val="67500"/>
                    <a:satMod val="115000"/>
                    <a:alpha val="60000"/>
                  </a:srgbClr>
                </a:gs>
                <a:gs pos="99000">
                  <a:srgbClr val="12ABDB">
                    <a:shade val="100000"/>
                    <a:satMod val="115000"/>
                    <a:alpha val="40000"/>
                  </a:srgbClr>
                </a:gs>
              </a:gsLst>
              <a:lin ang="0" scaled="1"/>
              <a:tileRect/>
            </a:gra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grpSp>
          <p:nvGrpSpPr>
            <p:cNvPr id="11" name="Groupe 71">
              <a:extLst>
                <a:ext uri="{FF2B5EF4-FFF2-40B4-BE49-F238E27FC236}">
                  <a16:creationId xmlns:a16="http://schemas.microsoft.com/office/drawing/2014/main" id="{987121C8-3BB5-E582-17D3-31CDF78407EF}"/>
                </a:ext>
              </a:extLst>
            </p:cNvPr>
            <p:cNvGrpSpPr/>
            <p:nvPr/>
          </p:nvGrpSpPr>
          <p:grpSpPr>
            <a:xfrm>
              <a:off x="1155513" y="4838324"/>
              <a:ext cx="1259639" cy="1088207"/>
              <a:chOff x="1375570" y="4982719"/>
              <a:chExt cx="1259639" cy="1088207"/>
            </a:xfrm>
          </p:grpSpPr>
          <p:sp>
            <p:nvSpPr>
              <p:cNvPr id="34" name="Freeform 161">
                <a:extLst>
                  <a:ext uri="{FF2B5EF4-FFF2-40B4-BE49-F238E27FC236}">
                    <a16:creationId xmlns:a16="http://schemas.microsoft.com/office/drawing/2014/main" id="{54967ADD-6CBA-7514-71E7-4DF2C02D43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5570" y="4982719"/>
                <a:ext cx="628712" cy="1088207"/>
              </a:xfrm>
              <a:custGeom>
                <a:avLst/>
                <a:gdLst/>
                <a:ahLst/>
                <a:cxnLst>
                  <a:cxn ang="0">
                    <a:pos x="284" y="513"/>
                  </a:cxn>
                  <a:cxn ang="0">
                    <a:pos x="0" y="313"/>
                  </a:cxn>
                  <a:cxn ang="0">
                    <a:pos x="0" y="0"/>
                  </a:cxn>
                  <a:cxn ang="0">
                    <a:pos x="284" y="200"/>
                  </a:cxn>
                  <a:cxn ang="0">
                    <a:pos x="284" y="513"/>
                  </a:cxn>
                </a:cxnLst>
                <a:rect l="0" t="0" r="r" b="b"/>
                <a:pathLst>
                  <a:path w="284" h="513">
                    <a:moveTo>
                      <a:pt x="284" y="513"/>
                    </a:moveTo>
                    <a:lnTo>
                      <a:pt x="0" y="313"/>
                    </a:lnTo>
                    <a:lnTo>
                      <a:pt x="0" y="0"/>
                    </a:lnTo>
                    <a:lnTo>
                      <a:pt x="284" y="200"/>
                    </a:lnTo>
                    <a:lnTo>
                      <a:pt x="284" y="513"/>
                    </a:lnTo>
                    <a:close/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  <p:sp>
            <p:nvSpPr>
              <p:cNvPr id="35" name="Freeform 162">
                <a:extLst>
                  <a:ext uri="{FF2B5EF4-FFF2-40B4-BE49-F238E27FC236}">
                    <a16:creationId xmlns:a16="http://schemas.microsoft.com/office/drawing/2014/main" id="{BA0C484E-7214-7612-57A8-6B050D50E6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04283" y="4982719"/>
                <a:ext cx="630926" cy="1088207"/>
              </a:xfrm>
              <a:custGeom>
                <a:avLst/>
                <a:gdLst/>
                <a:ahLst/>
                <a:cxnLst>
                  <a:cxn ang="0">
                    <a:pos x="0" y="513"/>
                  </a:cxn>
                  <a:cxn ang="0">
                    <a:pos x="285" y="313"/>
                  </a:cxn>
                  <a:cxn ang="0">
                    <a:pos x="285" y="0"/>
                  </a:cxn>
                  <a:cxn ang="0">
                    <a:pos x="0" y="200"/>
                  </a:cxn>
                  <a:cxn ang="0">
                    <a:pos x="0" y="513"/>
                  </a:cxn>
                </a:cxnLst>
                <a:rect l="0" t="0" r="r" b="b"/>
                <a:pathLst>
                  <a:path w="285" h="513">
                    <a:moveTo>
                      <a:pt x="0" y="513"/>
                    </a:moveTo>
                    <a:lnTo>
                      <a:pt x="285" y="313"/>
                    </a:lnTo>
                    <a:lnTo>
                      <a:pt x="285" y="0"/>
                    </a:lnTo>
                    <a:lnTo>
                      <a:pt x="0" y="200"/>
                    </a:lnTo>
                    <a:lnTo>
                      <a:pt x="0" y="513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1">
                      <a:lumMod val="75000"/>
                      <a:shade val="30000"/>
                      <a:satMod val="115000"/>
                    </a:schemeClr>
                  </a:gs>
                  <a:gs pos="50000">
                    <a:schemeClr val="accent1">
                      <a:lumMod val="75000"/>
                      <a:shade val="67500"/>
                      <a:satMod val="115000"/>
                    </a:schemeClr>
                  </a:gs>
                  <a:gs pos="100000">
                    <a:schemeClr val="accent1">
                      <a:lumMod val="75000"/>
                      <a:shade val="100000"/>
                      <a:satMod val="115000"/>
                    </a:schemeClr>
                  </a:gs>
                </a:gsLst>
                <a:lin ang="10800000" scaled="1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</p:grpSp>
        <p:grpSp>
          <p:nvGrpSpPr>
            <p:cNvPr id="12" name="Groupe 70">
              <a:extLst>
                <a:ext uri="{FF2B5EF4-FFF2-40B4-BE49-F238E27FC236}">
                  <a16:creationId xmlns:a16="http://schemas.microsoft.com/office/drawing/2014/main" id="{E2096736-0F94-569C-A42A-FA19296DD431}"/>
                </a:ext>
              </a:extLst>
            </p:cNvPr>
            <p:cNvGrpSpPr/>
            <p:nvPr/>
          </p:nvGrpSpPr>
          <p:grpSpPr>
            <a:xfrm>
              <a:off x="548614" y="3346422"/>
              <a:ext cx="1261849" cy="1510452"/>
              <a:chOff x="746369" y="3500419"/>
              <a:chExt cx="1261849" cy="1510452"/>
            </a:xfrm>
          </p:grpSpPr>
          <p:sp>
            <p:nvSpPr>
              <p:cNvPr id="31" name="Freeform 164">
                <a:extLst>
                  <a:ext uri="{FF2B5EF4-FFF2-40B4-BE49-F238E27FC236}">
                    <a16:creationId xmlns:a16="http://schemas.microsoft.com/office/drawing/2014/main" id="{720C1A92-B751-4587-1261-3D00EDE74A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4243" y="3922664"/>
                <a:ext cx="628711" cy="1088207"/>
              </a:xfrm>
              <a:custGeom>
                <a:avLst/>
                <a:gdLst/>
                <a:ahLst/>
                <a:cxnLst>
                  <a:cxn ang="0">
                    <a:pos x="284" y="513"/>
                  </a:cxn>
                  <a:cxn ang="0">
                    <a:pos x="0" y="314"/>
                  </a:cxn>
                  <a:cxn ang="0">
                    <a:pos x="0" y="0"/>
                  </a:cxn>
                  <a:cxn ang="0">
                    <a:pos x="284" y="200"/>
                  </a:cxn>
                  <a:cxn ang="0">
                    <a:pos x="284" y="513"/>
                  </a:cxn>
                </a:cxnLst>
                <a:rect l="0" t="0" r="r" b="b"/>
                <a:pathLst>
                  <a:path w="284" h="513">
                    <a:moveTo>
                      <a:pt x="284" y="513"/>
                    </a:moveTo>
                    <a:lnTo>
                      <a:pt x="0" y="314"/>
                    </a:lnTo>
                    <a:lnTo>
                      <a:pt x="0" y="0"/>
                    </a:lnTo>
                    <a:lnTo>
                      <a:pt x="284" y="200"/>
                    </a:lnTo>
                    <a:lnTo>
                      <a:pt x="284" y="513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12ABDB">
                      <a:shade val="30000"/>
                      <a:satMod val="115000"/>
                    </a:srgbClr>
                  </a:gs>
                  <a:gs pos="50000">
                    <a:srgbClr val="12ABDB">
                      <a:shade val="67500"/>
                      <a:satMod val="115000"/>
                    </a:srgbClr>
                  </a:gs>
                  <a:gs pos="100000">
                    <a:srgbClr val="12ABDB">
                      <a:shade val="100000"/>
                      <a:satMod val="115000"/>
                    </a:srgbClr>
                  </a:gs>
                </a:gsLst>
                <a:lin ang="0" scaled="1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b="1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  <p:sp>
            <p:nvSpPr>
              <p:cNvPr id="32" name="Freeform 165">
                <a:extLst>
                  <a:ext uri="{FF2B5EF4-FFF2-40B4-BE49-F238E27FC236}">
                    <a16:creationId xmlns:a16="http://schemas.microsoft.com/office/drawing/2014/main" id="{0A0E09C7-EB3F-55E1-1A9F-65190E7E4C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59328" y="3914083"/>
                <a:ext cx="633138" cy="1088207"/>
              </a:xfrm>
              <a:custGeom>
                <a:avLst/>
                <a:gdLst/>
                <a:ahLst/>
                <a:cxnLst>
                  <a:cxn ang="0">
                    <a:pos x="0" y="513"/>
                  </a:cxn>
                  <a:cxn ang="0">
                    <a:pos x="286" y="314"/>
                  </a:cxn>
                  <a:cxn ang="0">
                    <a:pos x="286" y="0"/>
                  </a:cxn>
                  <a:cxn ang="0">
                    <a:pos x="0" y="200"/>
                  </a:cxn>
                  <a:cxn ang="0">
                    <a:pos x="0" y="513"/>
                  </a:cxn>
                </a:cxnLst>
                <a:rect l="0" t="0" r="r" b="b"/>
                <a:pathLst>
                  <a:path w="286" h="513">
                    <a:moveTo>
                      <a:pt x="0" y="513"/>
                    </a:moveTo>
                    <a:lnTo>
                      <a:pt x="286" y="314"/>
                    </a:lnTo>
                    <a:lnTo>
                      <a:pt x="286" y="0"/>
                    </a:lnTo>
                    <a:lnTo>
                      <a:pt x="0" y="200"/>
                    </a:lnTo>
                    <a:lnTo>
                      <a:pt x="0" y="513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12ABDB">
                      <a:shade val="30000"/>
                      <a:satMod val="115000"/>
                    </a:srgbClr>
                  </a:gs>
                  <a:gs pos="50000">
                    <a:srgbClr val="12ABDB">
                      <a:shade val="67500"/>
                      <a:satMod val="115000"/>
                    </a:srgbClr>
                  </a:gs>
                  <a:gs pos="100000">
                    <a:srgbClr val="12ABDB">
                      <a:shade val="100000"/>
                      <a:satMod val="115000"/>
                    </a:srgbClr>
                  </a:gs>
                </a:gsLst>
                <a:lin ang="0" scaled="1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b="1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  <p:sp>
            <p:nvSpPr>
              <p:cNvPr id="33" name="Freeform 166">
                <a:extLst>
                  <a:ext uri="{FF2B5EF4-FFF2-40B4-BE49-F238E27FC236}">
                    <a16:creationId xmlns:a16="http://schemas.microsoft.com/office/drawing/2014/main" id="{794AD692-468C-1BD4-76BC-EDB149F4FB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6369" y="3500419"/>
                <a:ext cx="1261849" cy="846383"/>
              </a:xfrm>
              <a:custGeom>
                <a:avLst/>
                <a:gdLst/>
                <a:ahLst/>
                <a:cxnLst>
                  <a:cxn ang="0">
                    <a:pos x="0" y="199"/>
                  </a:cxn>
                  <a:cxn ang="0">
                    <a:pos x="284" y="399"/>
                  </a:cxn>
                  <a:cxn ang="0">
                    <a:pos x="570" y="199"/>
                  </a:cxn>
                  <a:cxn ang="0">
                    <a:pos x="284" y="0"/>
                  </a:cxn>
                  <a:cxn ang="0">
                    <a:pos x="0" y="199"/>
                  </a:cxn>
                </a:cxnLst>
                <a:rect l="0" t="0" r="r" b="b"/>
                <a:pathLst>
                  <a:path w="570" h="399">
                    <a:moveTo>
                      <a:pt x="0" y="199"/>
                    </a:moveTo>
                    <a:lnTo>
                      <a:pt x="284" y="399"/>
                    </a:lnTo>
                    <a:lnTo>
                      <a:pt x="570" y="199"/>
                    </a:lnTo>
                    <a:lnTo>
                      <a:pt x="284" y="0"/>
                    </a:lnTo>
                    <a:lnTo>
                      <a:pt x="0" y="199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12ABDB">
                      <a:shade val="30000"/>
                      <a:satMod val="115000"/>
                    </a:srgbClr>
                  </a:gs>
                  <a:gs pos="50000">
                    <a:srgbClr val="12ABDB">
                      <a:shade val="67500"/>
                      <a:satMod val="115000"/>
                    </a:srgbClr>
                  </a:gs>
                  <a:gs pos="100000">
                    <a:srgbClr val="12ABDB">
                      <a:shade val="100000"/>
                      <a:satMod val="115000"/>
                    </a:srgbClr>
                  </a:gs>
                </a:gsLst>
                <a:lin ang="0" scaled="1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b="1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</p:grpSp>
        <p:grpSp>
          <p:nvGrpSpPr>
            <p:cNvPr id="13" name="Groupe 69">
              <a:extLst>
                <a:ext uri="{FF2B5EF4-FFF2-40B4-BE49-F238E27FC236}">
                  <a16:creationId xmlns:a16="http://schemas.microsoft.com/office/drawing/2014/main" id="{575AA8DB-6448-FAE3-6024-3831F7B86115}"/>
                </a:ext>
              </a:extLst>
            </p:cNvPr>
            <p:cNvGrpSpPr/>
            <p:nvPr/>
          </p:nvGrpSpPr>
          <p:grpSpPr>
            <a:xfrm>
              <a:off x="1161173" y="2279903"/>
              <a:ext cx="1261854" cy="1501869"/>
              <a:chOff x="1381230" y="2448768"/>
              <a:chExt cx="1261854" cy="1501869"/>
            </a:xfrm>
          </p:grpSpPr>
          <p:sp>
            <p:nvSpPr>
              <p:cNvPr id="28" name="Freeform 167">
                <a:extLst>
                  <a:ext uri="{FF2B5EF4-FFF2-40B4-BE49-F238E27FC236}">
                    <a16:creationId xmlns:a16="http://schemas.microsoft.com/office/drawing/2014/main" id="{617F0E99-E859-1D9B-E46E-D79A9DE5E7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81230" y="2864553"/>
                <a:ext cx="630927" cy="1086084"/>
              </a:xfrm>
              <a:custGeom>
                <a:avLst/>
                <a:gdLst/>
                <a:ahLst/>
                <a:cxnLst>
                  <a:cxn ang="0">
                    <a:pos x="285" y="512"/>
                  </a:cxn>
                  <a:cxn ang="0">
                    <a:pos x="0" y="313"/>
                  </a:cxn>
                  <a:cxn ang="0">
                    <a:pos x="0" y="0"/>
                  </a:cxn>
                  <a:cxn ang="0">
                    <a:pos x="285" y="199"/>
                  </a:cxn>
                  <a:cxn ang="0">
                    <a:pos x="285" y="512"/>
                  </a:cxn>
                </a:cxnLst>
                <a:rect l="0" t="0" r="r" b="b"/>
                <a:pathLst>
                  <a:path w="285" h="512">
                    <a:moveTo>
                      <a:pt x="285" y="512"/>
                    </a:moveTo>
                    <a:lnTo>
                      <a:pt x="0" y="313"/>
                    </a:lnTo>
                    <a:lnTo>
                      <a:pt x="0" y="0"/>
                    </a:lnTo>
                    <a:lnTo>
                      <a:pt x="285" y="199"/>
                    </a:lnTo>
                    <a:lnTo>
                      <a:pt x="285" y="512"/>
                    </a:lnTo>
                    <a:close/>
                  </a:path>
                </a:pathLst>
              </a:custGeom>
              <a:solidFill>
                <a:schemeClr val="accent3">
                  <a:lumMod val="90000"/>
                  <a:lumOff val="10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  <p:sp>
            <p:nvSpPr>
              <p:cNvPr id="29" name="Freeform 168">
                <a:extLst>
                  <a:ext uri="{FF2B5EF4-FFF2-40B4-BE49-F238E27FC236}">
                    <a16:creationId xmlns:a16="http://schemas.microsoft.com/office/drawing/2014/main" id="{71700FAF-1427-12A7-C3A2-9FA9EA89E2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12157" y="2864553"/>
                <a:ext cx="630927" cy="1086084"/>
              </a:xfrm>
              <a:custGeom>
                <a:avLst/>
                <a:gdLst/>
                <a:ahLst/>
                <a:cxnLst>
                  <a:cxn ang="0">
                    <a:pos x="0" y="512"/>
                  </a:cxn>
                  <a:cxn ang="0">
                    <a:pos x="285" y="313"/>
                  </a:cxn>
                  <a:cxn ang="0">
                    <a:pos x="285" y="0"/>
                  </a:cxn>
                  <a:cxn ang="0">
                    <a:pos x="0" y="199"/>
                  </a:cxn>
                  <a:cxn ang="0">
                    <a:pos x="0" y="512"/>
                  </a:cxn>
                </a:cxnLst>
                <a:rect l="0" t="0" r="r" b="b"/>
                <a:pathLst>
                  <a:path w="285" h="512">
                    <a:moveTo>
                      <a:pt x="0" y="512"/>
                    </a:moveTo>
                    <a:lnTo>
                      <a:pt x="285" y="313"/>
                    </a:lnTo>
                    <a:lnTo>
                      <a:pt x="285" y="0"/>
                    </a:lnTo>
                    <a:lnTo>
                      <a:pt x="0" y="199"/>
                    </a:lnTo>
                    <a:lnTo>
                      <a:pt x="0" y="512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3">
                      <a:lumMod val="75000"/>
                      <a:lumOff val="25000"/>
                      <a:shade val="30000"/>
                      <a:satMod val="115000"/>
                    </a:schemeClr>
                  </a:gs>
                  <a:gs pos="50000">
                    <a:schemeClr val="accent3">
                      <a:lumMod val="75000"/>
                      <a:lumOff val="25000"/>
                      <a:shade val="67500"/>
                      <a:satMod val="115000"/>
                    </a:schemeClr>
                  </a:gs>
                  <a:gs pos="100000">
                    <a:schemeClr val="accent3">
                      <a:lumMod val="75000"/>
                      <a:lumOff val="25000"/>
                      <a:shade val="100000"/>
                      <a:satMod val="115000"/>
                    </a:schemeClr>
                  </a:gs>
                </a:gsLst>
                <a:lin ang="10800000" scaled="1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  <p:sp>
            <p:nvSpPr>
              <p:cNvPr id="30" name="Freeform 169">
                <a:extLst>
                  <a:ext uri="{FF2B5EF4-FFF2-40B4-BE49-F238E27FC236}">
                    <a16:creationId xmlns:a16="http://schemas.microsoft.com/office/drawing/2014/main" id="{7480B081-56B3-D151-C1B9-71064E5D2D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81230" y="2448768"/>
                <a:ext cx="1261852" cy="846383"/>
              </a:xfrm>
              <a:custGeom>
                <a:avLst/>
                <a:gdLst/>
                <a:ahLst/>
                <a:cxnLst>
                  <a:cxn ang="0">
                    <a:pos x="0" y="200"/>
                  </a:cxn>
                  <a:cxn ang="0">
                    <a:pos x="285" y="399"/>
                  </a:cxn>
                  <a:cxn ang="0">
                    <a:pos x="570" y="200"/>
                  </a:cxn>
                  <a:cxn ang="0">
                    <a:pos x="285" y="0"/>
                  </a:cxn>
                  <a:cxn ang="0">
                    <a:pos x="0" y="200"/>
                  </a:cxn>
                </a:cxnLst>
                <a:rect l="0" t="0" r="r" b="b"/>
                <a:pathLst>
                  <a:path w="570" h="399">
                    <a:moveTo>
                      <a:pt x="0" y="200"/>
                    </a:moveTo>
                    <a:lnTo>
                      <a:pt x="285" y="399"/>
                    </a:lnTo>
                    <a:lnTo>
                      <a:pt x="570" y="200"/>
                    </a:lnTo>
                    <a:lnTo>
                      <a:pt x="285" y="0"/>
                    </a:lnTo>
                    <a:lnTo>
                      <a:pt x="0" y="20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3">
                      <a:lumMod val="50000"/>
                      <a:lumOff val="50000"/>
                      <a:shade val="30000"/>
                      <a:satMod val="115000"/>
                    </a:schemeClr>
                  </a:gs>
                  <a:gs pos="50000">
                    <a:schemeClr val="accent3">
                      <a:lumMod val="50000"/>
                      <a:lumOff val="50000"/>
                      <a:shade val="67500"/>
                      <a:satMod val="115000"/>
                    </a:schemeClr>
                  </a:gs>
                  <a:gs pos="100000">
                    <a:schemeClr val="accent3">
                      <a:lumMod val="50000"/>
                      <a:lumOff val="50000"/>
                      <a:shade val="100000"/>
                      <a:satMod val="115000"/>
                    </a:schemeClr>
                  </a:gs>
                </a:gsLst>
                <a:lin ang="10800000" scaled="1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</p:grpSp>
        <p:grpSp>
          <p:nvGrpSpPr>
            <p:cNvPr id="14" name="Groupe 68">
              <a:extLst>
                <a:ext uri="{FF2B5EF4-FFF2-40B4-BE49-F238E27FC236}">
                  <a16:creationId xmlns:a16="http://schemas.microsoft.com/office/drawing/2014/main" id="{0F2B9E7B-1EDE-B45B-5067-06F0F401001B}"/>
                </a:ext>
              </a:extLst>
            </p:cNvPr>
            <p:cNvGrpSpPr/>
            <p:nvPr/>
          </p:nvGrpSpPr>
          <p:grpSpPr>
            <a:xfrm>
              <a:off x="525428" y="1214501"/>
              <a:ext cx="1261849" cy="1501870"/>
              <a:chOff x="730617" y="1398234"/>
              <a:chExt cx="1261849" cy="1501870"/>
            </a:xfrm>
          </p:grpSpPr>
          <p:sp>
            <p:nvSpPr>
              <p:cNvPr id="25" name="Freeform 170">
                <a:extLst>
                  <a:ext uri="{FF2B5EF4-FFF2-40B4-BE49-F238E27FC236}">
                    <a16:creationId xmlns:a16="http://schemas.microsoft.com/office/drawing/2014/main" id="{E9109D6B-B7B1-3D2D-27E5-7CDBF6B0D0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0617" y="1811897"/>
                <a:ext cx="630925" cy="1088207"/>
              </a:xfrm>
              <a:custGeom>
                <a:avLst/>
                <a:gdLst/>
                <a:ahLst/>
                <a:cxnLst>
                  <a:cxn ang="0">
                    <a:pos x="285" y="513"/>
                  </a:cxn>
                  <a:cxn ang="0">
                    <a:pos x="0" y="314"/>
                  </a:cxn>
                  <a:cxn ang="0">
                    <a:pos x="0" y="0"/>
                  </a:cxn>
                  <a:cxn ang="0">
                    <a:pos x="285" y="200"/>
                  </a:cxn>
                  <a:cxn ang="0">
                    <a:pos x="285" y="513"/>
                  </a:cxn>
                </a:cxnLst>
                <a:rect l="0" t="0" r="r" b="b"/>
                <a:pathLst>
                  <a:path w="285" h="513">
                    <a:moveTo>
                      <a:pt x="285" y="513"/>
                    </a:moveTo>
                    <a:lnTo>
                      <a:pt x="0" y="314"/>
                    </a:lnTo>
                    <a:lnTo>
                      <a:pt x="0" y="0"/>
                    </a:lnTo>
                    <a:lnTo>
                      <a:pt x="285" y="200"/>
                    </a:lnTo>
                    <a:lnTo>
                      <a:pt x="285" y="513"/>
                    </a:lnTo>
                    <a:close/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  <p:sp>
            <p:nvSpPr>
              <p:cNvPr id="26" name="Freeform 171">
                <a:extLst>
                  <a:ext uri="{FF2B5EF4-FFF2-40B4-BE49-F238E27FC236}">
                    <a16:creationId xmlns:a16="http://schemas.microsoft.com/office/drawing/2014/main" id="{C59314B6-EC0E-FF3D-4026-3F3D1E9054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61540" y="1811897"/>
                <a:ext cx="630925" cy="1088207"/>
              </a:xfrm>
              <a:custGeom>
                <a:avLst/>
                <a:gdLst/>
                <a:ahLst/>
                <a:cxnLst>
                  <a:cxn ang="0">
                    <a:pos x="0" y="513"/>
                  </a:cxn>
                  <a:cxn ang="0">
                    <a:pos x="285" y="314"/>
                  </a:cxn>
                  <a:cxn ang="0">
                    <a:pos x="285" y="0"/>
                  </a:cxn>
                  <a:cxn ang="0">
                    <a:pos x="0" y="200"/>
                  </a:cxn>
                  <a:cxn ang="0">
                    <a:pos x="0" y="513"/>
                  </a:cxn>
                </a:cxnLst>
                <a:rect l="0" t="0" r="r" b="b"/>
                <a:pathLst>
                  <a:path w="285" h="513">
                    <a:moveTo>
                      <a:pt x="0" y="513"/>
                    </a:moveTo>
                    <a:lnTo>
                      <a:pt x="285" y="314"/>
                    </a:lnTo>
                    <a:lnTo>
                      <a:pt x="285" y="0"/>
                    </a:lnTo>
                    <a:lnTo>
                      <a:pt x="0" y="200"/>
                    </a:lnTo>
                    <a:lnTo>
                      <a:pt x="0" y="513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1">
                      <a:lumMod val="75000"/>
                      <a:shade val="30000"/>
                      <a:satMod val="115000"/>
                    </a:schemeClr>
                  </a:gs>
                  <a:gs pos="50000">
                    <a:schemeClr val="accent1">
                      <a:lumMod val="75000"/>
                      <a:shade val="67500"/>
                      <a:satMod val="115000"/>
                    </a:schemeClr>
                  </a:gs>
                  <a:gs pos="100000">
                    <a:schemeClr val="accent1">
                      <a:lumMod val="75000"/>
                      <a:shade val="100000"/>
                      <a:satMod val="115000"/>
                    </a:schemeClr>
                  </a:gs>
                </a:gsLst>
                <a:lin ang="10800000" scaled="1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  <p:sp>
            <p:nvSpPr>
              <p:cNvPr id="27" name="Freeform 172">
                <a:extLst>
                  <a:ext uri="{FF2B5EF4-FFF2-40B4-BE49-F238E27FC236}">
                    <a16:creationId xmlns:a16="http://schemas.microsoft.com/office/drawing/2014/main" id="{7B552EF9-30A3-CC02-237E-6CA8E4A936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0617" y="1398234"/>
                <a:ext cx="1261849" cy="846383"/>
              </a:xfrm>
              <a:custGeom>
                <a:avLst/>
                <a:gdLst/>
                <a:ahLst/>
                <a:cxnLst>
                  <a:cxn ang="0">
                    <a:pos x="0" y="199"/>
                  </a:cxn>
                  <a:cxn ang="0">
                    <a:pos x="285" y="399"/>
                  </a:cxn>
                  <a:cxn ang="0">
                    <a:pos x="570" y="199"/>
                  </a:cxn>
                  <a:cxn ang="0">
                    <a:pos x="285" y="0"/>
                  </a:cxn>
                  <a:cxn ang="0">
                    <a:pos x="0" y="199"/>
                  </a:cxn>
                </a:cxnLst>
                <a:rect l="0" t="0" r="r" b="b"/>
                <a:pathLst>
                  <a:path w="570" h="399">
                    <a:moveTo>
                      <a:pt x="0" y="199"/>
                    </a:moveTo>
                    <a:lnTo>
                      <a:pt x="285" y="399"/>
                    </a:lnTo>
                    <a:lnTo>
                      <a:pt x="570" y="199"/>
                    </a:lnTo>
                    <a:lnTo>
                      <a:pt x="285" y="0"/>
                    </a:lnTo>
                    <a:lnTo>
                      <a:pt x="0" y="199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1">
                      <a:lumMod val="75000"/>
                      <a:shade val="30000"/>
                      <a:satMod val="115000"/>
                    </a:schemeClr>
                  </a:gs>
                  <a:gs pos="50000">
                    <a:schemeClr val="accent1">
                      <a:lumMod val="75000"/>
                      <a:shade val="67500"/>
                      <a:satMod val="115000"/>
                    </a:schemeClr>
                  </a:gs>
                  <a:gs pos="100000">
                    <a:schemeClr val="accent1">
                      <a:lumMod val="75000"/>
                      <a:shade val="100000"/>
                      <a:satMod val="115000"/>
                    </a:schemeClr>
                  </a:gs>
                </a:gsLst>
                <a:lin ang="10800000" scaled="1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</p:grpSp>
        <p:sp>
          <p:nvSpPr>
            <p:cNvPr id="15" name="Freeform 155">
              <a:extLst>
                <a:ext uri="{FF2B5EF4-FFF2-40B4-BE49-F238E27FC236}">
                  <a16:creationId xmlns:a16="http://schemas.microsoft.com/office/drawing/2014/main" id="{59FAC658-366B-0BB4-2B06-03EEF390A62E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7345" y="1635791"/>
              <a:ext cx="1294321" cy="66410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73" y="0"/>
                </a:cxn>
                <a:cxn ang="0">
                  <a:pos x="516" y="157"/>
                </a:cxn>
                <a:cxn ang="0">
                  <a:pos x="673" y="315"/>
                </a:cxn>
                <a:cxn ang="0">
                  <a:pos x="0" y="315"/>
                </a:cxn>
                <a:cxn ang="0">
                  <a:pos x="0" y="0"/>
                </a:cxn>
              </a:cxnLst>
              <a:rect l="0" t="0" r="r" b="b"/>
              <a:pathLst>
                <a:path w="673" h="315">
                  <a:moveTo>
                    <a:pt x="0" y="0"/>
                  </a:moveTo>
                  <a:lnTo>
                    <a:pt x="673" y="0"/>
                  </a:lnTo>
                  <a:lnTo>
                    <a:pt x="516" y="157"/>
                  </a:lnTo>
                  <a:lnTo>
                    <a:pt x="673" y="315"/>
                  </a:lnTo>
                  <a:lnTo>
                    <a:pt x="0" y="315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lumMod val="75000"/>
                    <a:shade val="30000"/>
                    <a:satMod val="115000"/>
                    <a:alpha val="80000"/>
                  </a:schemeClr>
                </a:gs>
                <a:gs pos="0">
                  <a:schemeClr val="accent1">
                    <a:lumMod val="75000"/>
                    <a:shade val="67500"/>
                    <a:satMod val="115000"/>
                    <a:alpha val="70000"/>
                  </a:schemeClr>
                </a:gs>
                <a:gs pos="99000">
                  <a:schemeClr val="accent1">
                    <a:lumMod val="75000"/>
                    <a:shade val="100000"/>
                    <a:satMod val="115000"/>
                    <a:alpha val="40000"/>
                  </a:schemeClr>
                </a:gs>
              </a:gsLst>
              <a:lin ang="0" scaled="1"/>
              <a:tileRect/>
            </a:gra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6" name="Freeform 153">
              <a:extLst>
                <a:ext uri="{FF2B5EF4-FFF2-40B4-BE49-F238E27FC236}">
                  <a16:creationId xmlns:a16="http://schemas.microsoft.com/office/drawing/2014/main" id="{65CB1989-44B5-2193-EC4F-6534D8CC4437}"/>
                </a:ext>
              </a:extLst>
            </p:cNvPr>
            <p:cNvSpPr>
              <a:spLocks/>
            </p:cNvSpPr>
            <p:nvPr/>
          </p:nvSpPr>
          <p:spPr bwMode="auto">
            <a:xfrm>
              <a:off x="2420498" y="2695603"/>
              <a:ext cx="1178937" cy="66200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73" y="0"/>
                </a:cxn>
                <a:cxn ang="0">
                  <a:pos x="515" y="156"/>
                </a:cxn>
                <a:cxn ang="0">
                  <a:pos x="673" y="314"/>
                </a:cxn>
                <a:cxn ang="0">
                  <a:pos x="0" y="314"/>
                </a:cxn>
                <a:cxn ang="0">
                  <a:pos x="0" y="0"/>
                </a:cxn>
              </a:cxnLst>
              <a:rect l="0" t="0" r="r" b="b"/>
              <a:pathLst>
                <a:path w="673" h="314">
                  <a:moveTo>
                    <a:pt x="0" y="0"/>
                  </a:moveTo>
                  <a:lnTo>
                    <a:pt x="673" y="0"/>
                  </a:lnTo>
                  <a:lnTo>
                    <a:pt x="515" y="156"/>
                  </a:lnTo>
                  <a:lnTo>
                    <a:pt x="673" y="314"/>
                  </a:lnTo>
                  <a:lnTo>
                    <a:pt x="0" y="314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  <a:lumOff val="25000"/>
                    <a:shade val="30000"/>
                    <a:satMod val="115000"/>
                    <a:alpha val="70000"/>
                  </a:schemeClr>
                </a:gs>
                <a:gs pos="50000">
                  <a:schemeClr val="accent3">
                    <a:lumMod val="75000"/>
                    <a:lumOff val="25000"/>
                    <a:shade val="67500"/>
                    <a:satMod val="115000"/>
                    <a:alpha val="60000"/>
                  </a:schemeClr>
                </a:gs>
                <a:gs pos="100000">
                  <a:schemeClr val="accent3">
                    <a:lumMod val="75000"/>
                    <a:lumOff val="25000"/>
                    <a:shade val="100000"/>
                    <a:satMod val="115000"/>
                    <a:alpha val="40000"/>
                  </a:schemeClr>
                </a:gs>
              </a:gsLst>
              <a:lin ang="0" scaled="1"/>
              <a:tileRect/>
            </a:gra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7" name="Oval 160">
              <a:extLst>
                <a:ext uri="{FF2B5EF4-FFF2-40B4-BE49-F238E27FC236}">
                  <a16:creationId xmlns:a16="http://schemas.microsoft.com/office/drawing/2014/main" id="{E3F48576-71C5-8F83-E058-A1F240F00F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27484" y="1649649"/>
              <a:ext cx="561749" cy="564937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lumMod val="75000"/>
                    <a:shade val="30000"/>
                    <a:satMod val="115000"/>
                  </a:schemeClr>
                </a:gs>
                <a:gs pos="50000">
                  <a:schemeClr val="accent1">
                    <a:lumMod val="75000"/>
                    <a:shade val="67500"/>
                    <a:satMod val="115000"/>
                  </a:schemeClr>
                </a:gs>
                <a:gs pos="100000">
                  <a:schemeClr val="accent1">
                    <a:lumMod val="75000"/>
                    <a:shade val="100000"/>
                    <a:satMod val="115000"/>
                  </a:schemeClr>
                </a:gs>
              </a:gsLst>
              <a:lin ang="0" scaled="1"/>
              <a:tileRect/>
            </a:gra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8" name="Oval 159">
              <a:extLst>
                <a:ext uri="{FF2B5EF4-FFF2-40B4-BE49-F238E27FC236}">
                  <a16:creationId xmlns:a16="http://schemas.microsoft.com/office/drawing/2014/main" id="{30867C0A-2991-4C8F-9374-A52AE0EEE6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30096" y="2749666"/>
              <a:ext cx="561749" cy="564937"/>
            </a:xfrm>
            <a:prstGeom prst="ellipse">
              <a:avLst/>
            </a:prstGeom>
            <a:gradFill flip="none" rotWithShape="1">
              <a:gsLst>
                <a:gs pos="0">
                  <a:schemeClr val="accent3">
                    <a:lumMod val="75000"/>
                    <a:lumOff val="25000"/>
                    <a:shade val="30000"/>
                    <a:satMod val="115000"/>
                  </a:schemeClr>
                </a:gs>
                <a:gs pos="50000">
                  <a:schemeClr val="accent3">
                    <a:lumMod val="75000"/>
                    <a:lumOff val="25000"/>
                    <a:shade val="67500"/>
                    <a:satMod val="115000"/>
                  </a:schemeClr>
                </a:gs>
                <a:gs pos="100000">
                  <a:schemeClr val="accent3">
                    <a:lumMod val="75000"/>
                    <a:lumOff val="25000"/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12700">
              <a:noFill/>
              <a:round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vert="horz" wrap="none" lIns="91440" tIns="45720" rIns="91440" bIns="45720" numCol="1" anchor="ctr" anchorCtr="1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9" name="Oval 158">
              <a:extLst>
                <a:ext uri="{FF2B5EF4-FFF2-40B4-BE49-F238E27FC236}">
                  <a16:creationId xmlns:a16="http://schemas.microsoft.com/office/drawing/2014/main" id="{FB96047E-4E08-7AFD-5D1B-726B1676CA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12442" y="3824295"/>
              <a:ext cx="561749" cy="567273"/>
            </a:xfrm>
            <a:prstGeom prst="ellipse">
              <a:avLst/>
            </a:prstGeom>
            <a:gradFill flip="none" rotWithShape="1">
              <a:gsLst>
                <a:gs pos="0">
                  <a:srgbClr val="12ABDB">
                    <a:shade val="30000"/>
                    <a:satMod val="115000"/>
                  </a:srgbClr>
                </a:gs>
                <a:gs pos="50000">
                  <a:srgbClr val="12ABDB">
                    <a:shade val="67500"/>
                    <a:satMod val="115000"/>
                  </a:srgbClr>
                </a:gs>
                <a:gs pos="100000">
                  <a:srgbClr val="12ABDB">
                    <a:shade val="100000"/>
                    <a:satMod val="115000"/>
                  </a:srgbClr>
                </a:gs>
              </a:gsLst>
              <a:lin ang="0" scaled="1"/>
              <a:tileRect/>
            </a:gra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0" name="Oval 157">
              <a:extLst>
                <a:ext uri="{FF2B5EF4-FFF2-40B4-BE49-F238E27FC236}">
                  <a16:creationId xmlns:a16="http://schemas.microsoft.com/office/drawing/2014/main" id="{CCD9057F-9D7C-444C-799C-A0094BD04F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46756" y="4919033"/>
              <a:ext cx="561749" cy="564937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</a:schemeClr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0" scaled="1"/>
              <a:tileRect/>
            </a:gra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pic>
          <p:nvPicPr>
            <p:cNvPr id="21" name="Graphic 20" descr="Bullseye with solid fill">
              <a:extLst>
                <a:ext uri="{FF2B5EF4-FFF2-40B4-BE49-F238E27FC236}">
                  <a16:creationId xmlns:a16="http://schemas.microsoft.com/office/drawing/2014/main" id="{BDD964E0-1E75-77AE-32E2-6BF2139ECA4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039874" y="3852867"/>
              <a:ext cx="510127" cy="510127"/>
            </a:xfrm>
            <a:prstGeom prst="rect">
              <a:avLst/>
            </a:prstGeom>
          </p:spPr>
        </p:pic>
        <p:pic>
          <p:nvPicPr>
            <p:cNvPr id="22" name="Graphic 21" descr="Research with solid fill">
              <a:extLst>
                <a:ext uri="{FF2B5EF4-FFF2-40B4-BE49-F238E27FC236}">
                  <a16:creationId xmlns:a16="http://schemas.microsoft.com/office/drawing/2014/main" id="{6D56300B-987A-19C3-4B4F-5272053A345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628294" y="5001852"/>
              <a:ext cx="398671" cy="398671"/>
            </a:xfrm>
            <a:prstGeom prst="rect">
              <a:avLst/>
            </a:prstGeom>
          </p:spPr>
        </p:pic>
        <p:pic>
          <p:nvPicPr>
            <p:cNvPr id="23" name="Graphic 22" descr="Business Growth with solid fill">
              <a:extLst>
                <a:ext uri="{FF2B5EF4-FFF2-40B4-BE49-F238E27FC236}">
                  <a16:creationId xmlns:a16="http://schemas.microsoft.com/office/drawing/2014/main" id="{2373A47C-3174-FDEC-4743-C16D4B984BD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574191" y="2783196"/>
              <a:ext cx="510834" cy="510834"/>
            </a:xfrm>
            <a:prstGeom prst="rect">
              <a:avLst/>
            </a:prstGeom>
          </p:spPr>
        </p:pic>
        <p:pic>
          <p:nvPicPr>
            <p:cNvPr id="24" name="Graphic 23" descr="Document with solid fill">
              <a:extLst>
                <a:ext uri="{FF2B5EF4-FFF2-40B4-BE49-F238E27FC236}">
                  <a16:creationId xmlns:a16="http://schemas.microsoft.com/office/drawing/2014/main" id="{73C60173-6CA3-EBEE-906B-90A9B094F0A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3090106" y="1684481"/>
              <a:ext cx="469693" cy="469693"/>
            </a:xfrm>
            <a:prstGeom prst="rect">
              <a:avLst/>
            </a:prstGeom>
          </p:spPr>
        </p:pic>
      </p:grpSp>
      <p:sp>
        <p:nvSpPr>
          <p:cNvPr id="37" name="TextBox 36">
            <a:extLst>
              <a:ext uri="{FF2B5EF4-FFF2-40B4-BE49-F238E27FC236}">
                <a16:creationId xmlns:a16="http://schemas.microsoft.com/office/drawing/2014/main" id="{6A26EC3D-BDB0-8E56-5E32-CFAD8ECF2BD0}"/>
              </a:ext>
            </a:extLst>
          </p:cNvPr>
          <p:cNvSpPr txBox="1"/>
          <p:nvPr/>
        </p:nvSpPr>
        <p:spPr>
          <a:xfrm>
            <a:off x="3697884" y="2216476"/>
            <a:ext cx="7942525" cy="707886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algn="l"/>
            <a:r>
              <a:rPr lang="en-GB" sz="1400" b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: 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sz="1300">
                <a:latin typeface="Arial" panose="020B0604020202020204" pitchFamily="34" charset="0"/>
                <a:cs typeface="Arial" panose="020B0604020202020204" pitchFamily="34" charset="0"/>
              </a:rPr>
              <a:t>Provided by the OECD (Organisation for Economic Co-operation and Development) in 2017, involving extensive consultation with OECD member countries to select indicators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05C40CDF-AB9D-3759-4D46-A2FEE1C66174}"/>
              </a:ext>
            </a:extLst>
          </p:cNvPr>
          <p:cNvSpPr txBox="1"/>
          <p:nvPr/>
        </p:nvSpPr>
        <p:spPr>
          <a:xfrm>
            <a:off x="4176849" y="3069107"/>
            <a:ext cx="7631974" cy="907941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algn="l"/>
            <a:r>
              <a:rPr lang="en-GB" sz="1400" b="1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ope: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sz="1300">
                <a:latin typeface="Arial" panose="020B0604020202020204" pitchFamily="34" charset="0"/>
                <a:cs typeface="Arial" panose="020B0604020202020204" pitchFamily="34" charset="0"/>
              </a:rPr>
              <a:t>Covers 34 topics related to well-being and economic indicators of the OECD countries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sz="1300">
                <a:latin typeface="Arial" panose="020B0604020202020204" pitchFamily="34" charset="0"/>
                <a:cs typeface="Arial" panose="020B0604020202020204" pitchFamily="34" charset="0"/>
              </a:rPr>
              <a:t>Each topic is represented by one to three indicators, reflecting a broad spectrum of societal well-being aspects.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8D591D79-48FE-8121-F995-FFCBDB09EBF8}"/>
              </a:ext>
            </a:extLst>
          </p:cNvPr>
          <p:cNvSpPr txBox="1"/>
          <p:nvPr/>
        </p:nvSpPr>
        <p:spPr>
          <a:xfrm>
            <a:off x="3697884" y="3986011"/>
            <a:ext cx="8110939" cy="1107996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algn="l"/>
            <a:r>
              <a:rPr lang="en-GB" sz="1400" b="1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jective: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sz="1300">
                <a:latin typeface="Arial" panose="020B0604020202020204" pitchFamily="34" charset="0"/>
                <a:cs typeface="Arial" panose="020B0604020202020204" pitchFamily="34" charset="0"/>
              </a:rPr>
              <a:t>Aims to involve citizens in the debate on measuring societal well-being and empower them in the policy-making process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sz="1300">
                <a:latin typeface="Arial" panose="020B0604020202020204" pitchFamily="34" charset="0"/>
                <a:cs typeface="Arial" panose="020B0604020202020204" pitchFamily="34" charset="0"/>
              </a:rPr>
              <a:t>Seeks to provide a comprehensive, comparative measure of well-being across OECD member countries, based on a set of carefully selected indicators.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0F4E42AE-6223-1976-3B65-AB7771A74CB7}"/>
              </a:ext>
            </a:extLst>
          </p:cNvPr>
          <p:cNvSpPr txBox="1"/>
          <p:nvPr/>
        </p:nvSpPr>
        <p:spPr>
          <a:xfrm>
            <a:off x="4176849" y="5200400"/>
            <a:ext cx="7463560" cy="707886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algn="l"/>
            <a:r>
              <a:rPr lang="en-GB" sz="1400" b="1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Quality: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sz="1300">
                <a:latin typeface="Arial" panose="020B0604020202020204" pitchFamily="34" charset="0"/>
                <a:cs typeface="Arial" panose="020B0604020202020204" pitchFamily="34" charset="0"/>
              </a:rPr>
              <a:t>Structured data aggregated by country, with indicators averaged within each of the 11 topics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sz="1300">
                <a:latin typeface="Arial" panose="020B0604020202020204" pitchFamily="34" charset="0"/>
                <a:cs typeface="Arial" panose="020B0604020202020204" pitchFamily="34" charset="0"/>
              </a:rPr>
              <a:t>Cleaned data available in formats conducive to analysis and research, such as CSV or Excel</a:t>
            </a:r>
          </a:p>
        </p:txBody>
      </p:sp>
      <p:sp>
        <p:nvSpPr>
          <p:cNvPr id="75" name="Freeform 163">
            <a:extLst>
              <a:ext uri="{FF2B5EF4-FFF2-40B4-BE49-F238E27FC236}">
                <a16:creationId xmlns:a16="http://schemas.microsoft.com/office/drawing/2014/main" id="{21D4EF20-BE5D-F780-B942-6C51901289CC}"/>
              </a:ext>
            </a:extLst>
          </p:cNvPr>
          <p:cNvSpPr>
            <a:spLocks/>
          </p:cNvSpPr>
          <p:nvPr/>
        </p:nvSpPr>
        <p:spPr bwMode="auto">
          <a:xfrm>
            <a:off x="1144080" y="4764304"/>
            <a:ext cx="1263071" cy="795872"/>
          </a:xfrm>
          <a:custGeom>
            <a:avLst/>
            <a:gdLst/>
            <a:ahLst/>
            <a:cxnLst>
              <a:cxn ang="0">
                <a:pos x="0" y="199"/>
              </a:cxn>
              <a:cxn ang="0">
                <a:pos x="284" y="399"/>
              </a:cxn>
              <a:cxn ang="0">
                <a:pos x="569" y="199"/>
              </a:cxn>
              <a:cxn ang="0">
                <a:pos x="284" y="0"/>
              </a:cxn>
              <a:cxn ang="0">
                <a:pos x="0" y="199"/>
              </a:cxn>
            </a:cxnLst>
            <a:rect l="0" t="0" r="r" b="b"/>
            <a:pathLst>
              <a:path w="569" h="399">
                <a:moveTo>
                  <a:pt x="0" y="199"/>
                </a:moveTo>
                <a:lnTo>
                  <a:pt x="284" y="399"/>
                </a:lnTo>
                <a:lnTo>
                  <a:pt x="569" y="199"/>
                </a:lnTo>
                <a:lnTo>
                  <a:pt x="284" y="0"/>
                </a:lnTo>
                <a:lnTo>
                  <a:pt x="0" y="199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0800000" scaled="1"/>
            <a:tileRect/>
          </a:gra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85445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08943EC7-42AB-7DFE-9077-6ADCFC513D1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39050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01" imgH="502" progId="TCLayout.ActiveDocument.1">
                  <p:embed/>
                </p:oleObj>
              </mc:Choice>
              <mc:Fallback>
                <p:oleObj name="think-cell Slide" r:id="rId3" imgW="501" imgH="502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8943EC7-42AB-7DFE-9077-6ADCFC513D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F597122-A0E0-C071-C13E-A03BCEC521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A broad-scale dataset analysis dissects 34 critical economic and well-being indicators, offering a comparative view across OECD countries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B4D2AD1-0172-3647-09F7-A37565CCC2F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68278" y="1812472"/>
            <a:ext cx="4752523" cy="4351338"/>
          </a:xfrm>
        </p:spPr>
        <p:txBody>
          <a:bodyPr/>
          <a:lstStyle/>
          <a:p>
            <a:pPr marL="0" indent="0" algn="l">
              <a:spcBef>
                <a:spcPts val="0"/>
              </a:spcBef>
              <a:buNone/>
            </a:pPr>
            <a:r>
              <a:rPr lang="en-GB" sz="1400" b="1" i="0" u="none" strike="noStrike">
                <a:solidFill>
                  <a:schemeClr val="accent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Housing Quality and Affordability:</a:t>
            </a:r>
            <a:endParaRPr lang="en-GB" sz="1400">
              <a:solidFill>
                <a:schemeClr val="accent1"/>
              </a:solidFill>
            </a:endParaRPr>
          </a:p>
          <a:p>
            <a:pPr>
              <a:spcBef>
                <a:spcPts val="0"/>
              </a:spcBef>
            </a:pPr>
            <a:r>
              <a:rPr lang="en-GB" sz="1400" b="0" i="0" u="none" strike="noStrike">
                <a:solidFill>
                  <a:srgbClr val="0D0D0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Insights on dwelling quality, affordability via expenditure on housing, and space per person</a:t>
            </a:r>
          </a:p>
          <a:p>
            <a:pPr marL="0" indent="0">
              <a:spcBef>
                <a:spcPts val="0"/>
              </a:spcBef>
              <a:buNone/>
            </a:pP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083979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8397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come and Wealth:</a:t>
            </a:r>
            <a:endParaRPr lang="en-GB" sz="1400">
              <a:solidFill>
                <a:srgbClr val="083979"/>
              </a:solidFill>
            </a:endParaRPr>
          </a:p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a on disposable income and net financial wealth hint at financial stability and savings</a:t>
            </a:r>
          </a:p>
          <a:p>
            <a:pPr marL="0" indent="0" algn="l">
              <a:buNone/>
            </a:pPr>
            <a:r>
              <a:rPr lang="en-GB" sz="1400" b="1" i="0" u="none" strike="noStrike">
                <a:solidFill>
                  <a:schemeClr val="accent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Employment and Job Security:</a:t>
            </a:r>
            <a:endParaRPr lang="en-GB" sz="1400">
              <a:solidFill>
                <a:schemeClr val="accent1"/>
              </a:solidFill>
            </a:endParaRPr>
          </a:p>
          <a:p>
            <a:pPr>
              <a:spcBef>
                <a:spcPts val="0"/>
              </a:spcBef>
            </a:pPr>
            <a:r>
              <a:rPr lang="en-GB" sz="1400" b="0" i="0" u="none" strike="noStrike">
                <a:solidFill>
                  <a:srgbClr val="0D0D0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Indicators of job market health, including employment rates and security against long-term unemployment</a:t>
            </a:r>
            <a:endParaRPr lang="en-GB" sz="1400">
              <a:solidFill>
                <a:srgbClr val="0D0D0D"/>
              </a:solidFill>
            </a:endParaRPr>
          </a:p>
          <a:p>
            <a:pPr marL="0" indent="0" algn="l">
              <a:buNone/>
            </a:pPr>
            <a:r>
              <a:rPr lang="en-GB" sz="1400" b="1" i="0" u="none" strike="noStrike">
                <a:solidFill>
                  <a:schemeClr val="accent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Health and Well-being:</a:t>
            </a:r>
            <a:endParaRPr lang="en-GB" sz="1400">
              <a:solidFill>
                <a:schemeClr val="accent1"/>
              </a:solidFill>
            </a:endParaRPr>
          </a:p>
          <a:p>
            <a:pPr>
              <a:spcBef>
                <a:spcPts val="0"/>
              </a:spcBef>
            </a:pPr>
            <a:r>
              <a:rPr lang="en-GB" sz="1400" b="0" i="0" u="none" strike="noStrike">
                <a:solidFill>
                  <a:srgbClr val="0D0D0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Metrics on self-perceived health, life satisfaction, and safety at night reflect physical and mental well-being</a:t>
            </a:r>
            <a:endParaRPr lang="en-GB" sz="1400">
              <a:solidFill>
                <a:srgbClr val="0D0D0D"/>
              </a:solidFill>
            </a:endParaRPr>
          </a:p>
          <a:p>
            <a:pPr marL="0" indent="0" algn="l">
              <a:buNone/>
            </a:pPr>
            <a:r>
              <a:rPr lang="en-GB" sz="1400" b="1" i="0" u="none" strike="noStrike">
                <a:solidFill>
                  <a:schemeClr val="accent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Safety and Leisure:</a:t>
            </a:r>
            <a:endParaRPr lang="en-GB" sz="1400">
              <a:solidFill>
                <a:schemeClr val="accent1"/>
              </a:solidFill>
            </a:endParaRPr>
          </a:p>
          <a:p>
            <a:pPr>
              <a:spcBef>
                <a:spcPts val="0"/>
              </a:spcBef>
            </a:pPr>
            <a:r>
              <a:rPr lang="en-GB" sz="1400" b="0" i="0" u="none" strike="noStrike">
                <a:solidFill>
                  <a:srgbClr val="0D0D0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Information on public safety via homicide rates and the balance of work with leisure time</a:t>
            </a:r>
            <a:endParaRPr lang="en-GB" sz="1400">
              <a:solidFill>
                <a:srgbClr val="0D0D0D"/>
              </a:solidFill>
            </a:endParaRPr>
          </a:p>
          <a:p>
            <a:pPr marL="0" indent="0" algn="l">
              <a:buNone/>
            </a:pPr>
            <a:r>
              <a:rPr lang="en-GB" sz="1400" b="1" i="0" u="none" strike="noStrike">
                <a:solidFill>
                  <a:schemeClr val="accent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Work-life Balance:</a:t>
            </a:r>
            <a:endParaRPr lang="en-GB" sz="1400">
              <a:solidFill>
                <a:schemeClr val="accent1"/>
              </a:solidFill>
            </a:endParaRPr>
          </a:p>
          <a:p>
            <a:pPr>
              <a:spcBef>
                <a:spcPts val="0"/>
              </a:spcBef>
            </a:pPr>
            <a:r>
              <a:rPr lang="en-GB" sz="1400" b="0" i="0" u="none" strike="noStrike">
                <a:solidFill>
                  <a:srgbClr val="0D0D0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Working hours data provides insight into potential overwork and its impact on well-being</a:t>
            </a:r>
          </a:p>
          <a:p>
            <a:pPr marL="0" indent="0">
              <a:spcBef>
                <a:spcPts val="0"/>
              </a:spcBef>
              <a:buNone/>
            </a:pPr>
            <a:endParaRPr lang="en-GB" sz="1400" b="0" i="0" u="none" strike="noStrike">
              <a:solidFill>
                <a:srgbClr val="0D0D0D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0"/>
              </a:spcBef>
              <a:buNone/>
            </a:pPr>
            <a:endParaRPr lang="en-GB" sz="1400" b="0" i="0" u="none" strike="noStrike">
              <a:solidFill>
                <a:srgbClr val="0D0D0D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endParaRPr lang="en-GB" sz="1400">
              <a:solidFill>
                <a:srgbClr val="0D0D0D"/>
              </a:solidFill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endParaRPr lang="en-GB" sz="1400" b="0" i="0" u="none" strike="noStrike">
              <a:solidFill>
                <a:srgbClr val="0D0D0D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GB" sz="14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C883197-4DAC-9A23-766C-A57934BCF7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5FC67E-E9DB-4ACE-B3DB-64B7A5397B4F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A58B3A6-149D-D632-06C3-64EBB3A64C8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/>
              <a:t>Note: (1) Australian Bureau of Statistics, </a:t>
            </a:r>
            <a:r>
              <a:rPr lang="en-GB" err="1"/>
              <a:t>GeoNames</a:t>
            </a:r>
            <a:r>
              <a:rPr lang="en-GB"/>
              <a:t>, Microsoft, </a:t>
            </a:r>
            <a:r>
              <a:rPr lang="en-GB" err="1"/>
              <a:t>Navinfo</a:t>
            </a:r>
            <a:r>
              <a:rPr lang="en-GB"/>
              <a:t>, Open Places, OpenStreetMap, TomTom, </a:t>
            </a:r>
            <a:r>
              <a:rPr lang="en-GB" err="1"/>
              <a:t>Zenri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7D26D69-0927-B5B9-1EFC-1A11EAD5438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/>
              <a:t>Dataset Introduction</a:t>
            </a:r>
          </a:p>
        </p:txBody>
      </p:sp>
      <p:pic>
        <p:nvPicPr>
          <p:cNvPr id="14" name="Graphic 13" descr="Yoga outline">
            <a:extLst>
              <a:ext uri="{FF2B5EF4-FFF2-40B4-BE49-F238E27FC236}">
                <a16:creationId xmlns:a16="http://schemas.microsoft.com/office/drawing/2014/main" id="{658EF99A-6F28-98C5-411A-B623B75A36E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503093" y="5445735"/>
            <a:ext cx="542247" cy="542247"/>
          </a:xfrm>
          <a:prstGeom prst="rect">
            <a:avLst/>
          </a:prstGeom>
        </p:spPr>
      </p:pic>
      <p:pic>
        <p:nvPicPr>
          <p:cNvPr id="16" name="Graphic 15" descr="Dance outline">
            <a:extLst>
              <a:ext uri="{FF2B5EF4-FFF2-40B4-BE49-F238E27FC236}">
                <a16:creationId xmlns:a16="http://schemas.microsoft.com/office/drawing/2014/main" id="{5D2C53B3-57C4-3F03-6C66-9CF01C0D557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469658" y="4742023"/>
            <a:ext cx="623619" cy="623619"/>
          </a:xfrm>
          <a:prstGeom prst="rect">
            <a:avLst/>
          </a:prstGeom>
        </p:spPr>
      </p:pic>
      <p:pic>
        <p:nvPicPr>
          <p:cNvPr id="18" name="Graphic 17" descr="Medical outline">
            <a:extLst>
              <a:ext uri="{FF2B5EF4-FFF2-40B4-BE49-F238E27FC236}">
                <a16:creationId xmlns:a16="http://schemas.microsoft.com/office/drawing/2014/main" id="{81283D06-C7CA-8F73-26EA-ED6BC387637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444332" y="4112682"/>
            <a:ext cx="659768" cy="566908"/>
          </a:xfrm>
          <a:prstGeom prst="rect">
            <a:avLst/>
          </a:prstGeom>
        </p:spPr>
      </p:pic>
      <p:pic>
        <p:nvPicPr>
          <p:cNvPr id="20" name="Graphic 19" descr="Office worker male outline">
            <a:extLst>
              <a:ext uri="{FF2B5EF4-FFF2-40B4-BE49-F238E27FC236}">
                <a16:creationId xmlns:a16="http://schemas.microsoft.com/office/drawing/2014/main" id="{B364EB2D-535A-E55A-7484-2C3F0B0C4A2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455122" y="3366450"/>
            <a:ext cx="600291" cy="600291"/>
          </a:xfrm>
          <a:prstGeom prst="rect">
            <a:avLst/>
          </a:prstGeom>
        </p:spPr>
      </p:pic>
      <p:pic>
        <p:nvPicPr>
          <p:cNvPr id="22" name="Graphic 21" descr="Coins outline">
            <a:extLst>
              <a:ext uri="{FF2B5EF4-FFF2-40B4-BE49-F238E27FC236}">
                <a16:creationId xmlns:a16="http://schemas.microsoft.com/office/drawing/2014/main" id="{38019879-3A2C-64C5-7EC9-CF50B4807D51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6479732" y="1869545"/>
            <a:ext cx="638686" cy="638686"/>
          </a:xfrm>
          <a:prstGeom prst="rect">
            <a:avLst/>
          </a:prstGeom>
        </p:spPr>
      </p:pic>
      <p:pic>
        <p:nvPicPr>
          <p:cNvPr id="24" name="Graphic 23" descr="Home outline">
            <a:extLst>
              <a:ext uri="{FF2B5EF4-FFF2-40B4-BE49-F238E27FC236}">
                <a16:creationId xmlns:a16="http://schemas.microsoft.com/office/drawing/2014/main" id="{A858C3C7-2175-D4C6-1AD6-0EAEBE3A1FB5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6469658" y="2644827"/>
            <a:ext cx="575682" cy="575682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A02DE836-1881-513F-9AF4-04300847D60F}"/>
              </a:ext>
            </a:extLst>
          </p:cNvPr>
          <p:cNvGrpSpPr/>
          <p:nvPr/>
        </p:nvGrpSpPr>
        <p:grpSpPr>
          <a:xfrm>
            <a:off x="-288010" y="1919968"/>
            <a:ext cx="6405781" cy="4269775"/>
            <a:chOff x="-256308" y="2046708"/>
            <a:chExt cx="6346371" cy="3941274"/>
          </a:xfrm>
        </p:grpSpPr>
        <mc:AlternateContent xmlns:mc="http://schemas.openxmlformats.org/markup-compatibility/2006">
          <mc:Choice xmlns:cx4="http://schemas.microsoft.com/office/drawing/2016/5/10/chartex" Requires="cx4">
            <p:graphicFrame>
              <p:nvGraphicFramePr>
                <p:cNvPr id="9" name="Chart 8">
                  <a:extLst>
                    <a:ext uri="{FF2B5EF4-FFF2-40B4-BE49-F238E27FC236}">
                      <a16:creationId xmlns:a16="http://schemas.microsoft.com/office/drawing/2014/main" id="{B510362E-9237-2156-78CC-C4047EA83D57}"/>
                    </a:ext>
                  </a:extLst>
                </p:cNvPr>
                <p:cNvGraphicFramePr/>
                <p:nvPr>
                  <p:extLst>
                    <p:ext uri="{D42A27DB-BD31-4B8C-83A1-F6EECF244321}">
                      <p14:modId xmlns:p14="http://schemas.microsoft.com/office/powerpoint/2010/main" val="210768229"/>
                    </p:ext>
                  </p:extLst>
                </p:nvPr>
              </p:nvGraphicFramePr>
              <p:xfrm>
                <a:off x="-256308" y="2046708"/>
                <a:ext cx="6346371" cy="3941274"/>
              </p:xfrm>
              <a:graphic>
                <a:graphicData uri="http://schemas.microsoft.com/office/drawing/2014/chartex">
                  <cx:chart xmlns:cx="http://schemas.microsoft.com/office/drawing/2014/chartex" xmlns:r="http://schemas.openxmlformats.org/officeDocument/2006/relationships" r:id="rId17"/>
                </a:graphicData>
              </a:graphic>
            </p:graphicFrame>
          </mc:Choice>
          <mc:Fallback>
            <p:pic>
              <p:nvPicPr>
                <p:cNvPr id="9" name="Chart 8">
                  <a:extLst>
                    <a:ext uri="{FF2B5EF4-FFF2-40B4-BE49-F238E27FC236}">
                      <a16:creationId xmlns:a16="http://schemas.microsoft.com/office/drawing/2014/main" id="{B510362E-9237-2156-78CC-C4047EA83D57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18"/>
                <a:stretch>
                  <a:fillRect/>
                </a:stretch>
              </p:blipFill>
              <p:spPr>
                <a:xfrm>
                  <a:off x="-288010" y="1919968"/>
                  <a:ext cx="6405781" cy="4269775"/>
                </a:xfrm>
                <a:prstGeom prst="rect">
                  <a:avLst/>
                </a:prstGeom>
              </p:spPr>
            </p:pic>
          </mc:Fallback>
        </mc:AlternateContent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915B4520-526B-01A2-00C1-3372369DC82B}"/>
                </a:ext>
              </a:extLst>
            </p:cNvPr>
            <p:cNvSpPr/>
            <p:nvPr/>
          </p:nvSpPr>
          <p:spPr>
            <a:xfrm>
              <a:off x="2339379" y="5609949"/>
              <a:ext cx="3696269" cy="334504"/>
            </a:xfrm>
            <a:prstGeom prst="rect">
              <a:avLst/>
            </a:prstGeom>
            <a:solidFill>
              <a:srgbClr val="F2F2F2"/>
            </a:solidFill>
            <a:ln>
              <a:solidFill>
                <a:srgbClr val="F2F2F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/>
                <a:t>&gt;</a:t>
              </a:r>
            </a:p>
          </p:txBody>
        </p:sp>
      </p:grp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3B1A1D4-C3E2-1BBD-1546-48D9444C19E6}"/>
              </a:ext>
            </a:extLst>
          </p:cNvPr>
          <p:cNvSpPr txBox="1">
            <a:spLocks/>
          </p:cNvSpPr>
          <p:nvPr/>
        </p:nvSpPr>
        <p:spPr>
          <a:xfrm>
            <a:off x="426720" y="1938103"/>
            <a:ext cx="4752523" cy="30312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 sz="1200" b="1">
                <a:solidFill>
                  <a:schemeClr val="accent1"/>
                </a:solidFill>
              </a:rPr>
              <a:t>World Map of OECD Countries</a:t>
            </a:r>
            <a:r>
              <a:rPr lang="en-GB" sz="1200" b="1" baseline="30000">
                <a:solidFill>
                  <a:schemeClr val="accent1"/>
                </a:solidFill>
              </a:rPr>
              <a:t>1</a:t>
            </a:r>
            <a:endParaRPr lang="en-GB" sz="1200" baseline="30000">
              <a:solidFill>
                <a:schemeClr val="accent1"/>
              </a:solidFill>
            </a:endParaRP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endParaRPr lang="en-GB" sz="1200">
              <a:solidFill>
                <a:srgbClr val="0D0D0D"/>
              </a:solidFill>
            </a:endParaRP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endParaRPr lang="en-GB" sz="1200">
              <a:solidFill>
                <a:srgbClr val="0D0D0D"/>
              </a:solidFill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pPr>
            <a:endParaRPr lang="en-GB" sz="1200">
              <a:solidFill>
                <a:srgbClr val="0D0D0D"/>
              </a:solidFill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pPr>
            <a:endParaRPr lang="en-GB" sz="1200">
              <a:solidFill>
                <a:srgbClr val="0D0D0D"/>
              </a:solidFill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en-GB" sz="120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2E15BFB-2334-7AAD-B2F5-9231F7BC8C51}"/>
              </a:ext>
            </a:extLst>
          </p:cNvPr>
          <p:cNvSpPr txBox="1"/>
          <p:nvPr/>
        </p:nvSpPr>
        <p:spPr>
          <a:xfrm>
            <a:off x="140677" y="1667580"/>
            <a:ext cx="184731" cy="369332"/>
          </a:xfrm>
          <a:prstGeom prst="rect">
            <a:avLst/>
          </a:prstGeom>
        </p:spPr>
        <p:txBody>
          <a:bodyPr wrap="none" rtlCol="0" anchor="ctr">
            <a:spAutoFit/>
          </a:bodyPr>
          <a:lstStyle/>
          <a:p>
            <a:pPr algn="l"/>
            <a:endParaRPr lang="de-DE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53E4D89B-BFCB-D1C6-BF95-85B2EB33359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/>
              <a:t>The Well-Being Data</a:t>
            </a:r>
          </a:p>
        </p:txBody>
      </p:sp>
    </p:spTree>
    <p:extLst>
      <p:ext uri="{BB962C8B-B14F-4D97-AF65-F5344CB8AC3E}">
        <p14:creationId xmlns:p14="http://schemas.microsoft.com/office/powerpoint/2010/main" val="338742120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58DD322-A097-79E3-C845-601B043E6E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112979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8DD322-A097-79E3-C845-601B043E6E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D5A4734-B0FD-AC5F-DAF9-501963EB37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By analysing and visualising the data set, a series of insightful discoveries have emerge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BB5A9C6-6CCF-E85B-AE61-D66A9F018C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5FC67E-E9DB-4ACE-B3DB-64B7A5397B4F}" type="slidenum">
              <a:rPr lang="de-DE" smtClean="0"/>
              <a:pPr/>
              <a:t>5</a:t>
            </a:fld>
            <a:endParaRPr lang="de-DE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D5D9469-6180-5735-9166-22E48B1FA2C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/>
              <a:t>Discussion of Result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318C474-F6DC-27D1-5EF8-B886A7F62ED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GB"/>
              <a:t>Discussion of Result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BD951FE-CD8A-7822-DAC6-5EEC88EEC1E1}"/>
              </a:ext>
            </a:extLst>
          </p:cNvPr>
          <p:cNvSpPr/>
          <p:nvPr/>
        </p:nvSpPr>
        <p:spPr>
          <a:xfrm>
            <a:off x="426720" y="2009645"/>
            <a:ext cx="1766589" cy="4028532"/>
          </a:xfrm>
          <a:prstGeom prst="rect">
            <a:avLst/>
          </a:prstGeom>
          <a:solidFill>
            <a:schemeClr val="accent3">
              <a:lumMod val="40000"/>
              <a:lumOff val="60000"/>
              <a:alpha val="49745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24" tIns="38862" rIns="77724" bIns="38862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360D291-5A2B-2CE5-A64F-3A7C9983823C}"/>
              </a:ext>
            </a:extLst>
          </p:cNvPr>
          <p:cNvCxnSpPr>
            <a:cxnSpLocks/>
          </p:cNvCxnSpPr>
          <p:nvPr/>
        </p:nvCxnSpPr>
        <p:spPr>
          <a:xfrm>
            <a:off x="535758" y="3837082"/>
            <a:ext cx="1453471" cy="0"/>
          </a:xfrm>
          <a:prstGeom prst="line">
            <a:avLst/>
          </a:prstGeom>
          <a:ln w="24289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Rectangle 55">
            <a:extLst>
              <a:ext uri="{FF2B5EF4-FFF2-40B4-BE49-F238E27FC236}">
                <a16:creationId xmlns:a16="http://schemas.microsoft.com/office/drawing/2014/main" id="{D5033E61-2959-EB11-F26E-F370EF56CE6E}"/>
              </a:ext>
            </a:extLst>
          </p:cNvPr>
          <p:cNvSpPr/>
          <p:nvPr/>
        </p:nvSpPr>
        <p:spPr>
          <a:xfrm>
            <a:off x="2350686" y="2009645"/>
            <a:ext cx="1766589" cy="4028533"/>
          </a:xfrm>
          <a:prstGeom prst="rect">
            <a:avLst/>
          </a:prstGeom>
          <a:solidFill>
            <a:schemeClr val="accent3">
              <a:lumMod val="60000"/>
              <a:lumOff val="40000"/>
              <a:alpha val="49745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24" tIns="38862" rIns="77724" bIns="38862" rtlCol="0" anchor="ctr"/>
          <a:lstStyle/>
          <a:p>
            <a:pPr algn="ctr"/>
            <a:endParaRPr lang="de-DE" sz="1600">
              <a:solidFill>
                <a:srgbClr val="FFFFFF"/>
              </a:solidFill>
              <a:latin typeface="Ubuntu"/>
            </a:endParaRPr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C278D78F-594E-6D5C-BE41-EC63DF23B0B9}"/>
              </a:ext>
            </a:extLst>
          </p:cNvPr>
          <p:cNvCxnSpPr>
            <a:cxnSpLocks/>
          </p:cNvCxnSpPr>
          <p:nvPr/>
        </p:nvCxnSpPr>
        <p:spPr>
          <a:xfrm>
            <a:off x="2459724" y="3837082"/>
            <a:ext cx="1453471" cy="0"/>
          </a:xfrm>
          <a:prstGeom prst="line">
            <a:avLst/>
          </a:prstGeom>
          <a:ln w="24289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tangle 59">
            <a:extLst>
              <a:ext uri="{FF2B5EF4-FFF2-40B4-BE49-F238E27FC236}">
                <a16:creationId xmlns:a16="http://schemas.microsoft.com/office/drawing/2014/main" id="{AF7E10F1-631F-BD2A-8554-FA04C292332A}"/>
              </a:ext>
            </a:extLst>
          </p:cNvPr>
          <p:cNvSpPr/>
          <p:nvPr/>
        </p:nvSpPr>
        <p:spPr>
          <a:xfrm>
            <a:off x="4274652" y="2009645"/>
            <a:ext cx="1766589" cy="4028533"/>
          </a:xfrm>
          <a:prstGeom prst="rect">
            <a:avLst/>
          </a:prstGeom>
          <a:solidFill>
            <a:schemeClr val="accent3">
              <a:lumMod val="75000"/>
              <a:alpha val="3183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24" tIns="38862" rIns="77724" bIns="38862" rtlCol="0" anchor="ctr"/>
          <a:lstStyle/>
          <a:p>
            <a:pPr algn="ctr"/>
            <a:endParaRPr lang="de-DE" sz="1600" err="1">
              <a:solidFill>
                <a:srgbClr val="FFFFFF"/>
              </a:solidFill>
              <a:latin typeface="Ubuntu"/>
            </a:endParaRPr>
          </a:p>
        </p:txBody>
      </p: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716035E8-8EB7-3671-2672-F7DDB1638468}"/>
              </a:ext>
            </a:extLst>
          </p:cNvPr>
          <p:cNvCxnSpPr>
            <a:cxnSpLocks/>
          </p:cNvCxnSpPr>
          <p:nvPr/>
        </p:nvCxnSpPr>
        <p:spPr>
          <a:xfrm>
            <a:off x="4383690" y="3837082"/>
            <a:ext cx="1453471" cy="0"/>
          </a:xfrm>
          <a:prstGeom prst="line">
            <a:avLst/>
          </a:prstGeom>
          <a:ln w="24289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tangle 63">
            <a:extLst>
              <a:ext uri="{FF2B5EF4-FFF2-40B4-BE49-F238E27FC236}">
                <a16:creationId xmlns:a16="http://schemas.microsoft.com/office/drawing/2014/main" id="{C69A96A1-1FC3-9710-2458-07E66CD6035F}"/>
              </a:ext>
            </a:extLst>
          </p:cNvPr>
          <p:cNvSpPr/>
          <p:nvPr/>
        </p:nvSpPr>
        <p:spPr>
          <a:xfrm>
            <a:off x="6198618" y="2009645"/>
            <a:ext cx="1766589" cy="4028533"/>
          </a:xfrm>
          <a:prstGeom prst="rect">
            <a:avLst/>
          </a:prstGeom>
          <a:solidFill>
            <a:schemeClr val="accent3">
              <a:lumMod val="75000"/>
              <a:alpha val="37253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24" tIns="38862" rIns="77724" bIns="38862" rtlCol="0" anchor="ctr"/>
          <a:lstStyle/>
          <a:p>
            <a:pPr algn="ctr"/>
            <a:endParaRPr lang="de-DE" sz="1600" err="1">
              <a:solidFill>
                <a:srgbClr val="FFFFFF"/>
              </a:solidFill>
              <a:latin typeface="Ubuntu"/>
            </a:endParaRPr>
          </a:p>
        </p:txBody>
      </p: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67944D4B-E56C-2054-2FF9-C60D82AAE8C4}"/>
              </a:ext>
            </a:extLst>
          </p:cNvPr>
          <p:cNvCxnSpPr>
            <a:cxnSpLocks/>
          </p:cNvCxnSpPr>
          <p:nvPr/>
        </p:nvCxnSpPr>
        <p:spPr>
          <a:xfrm>
            <a:off x="6307656" y="3837082"/>
            <a:ext cx="1453471" cy="0"/>
          </a:xfrm>
          <a:prstGeom prst="line">
            <a:avLst/>
          </a:prstGeom>
          <a:ln w="24289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tangle 67">
            <a:extLst>
              <a:ext uri="{FF2B5EF4-FFF2-40B4-BE49-F238E27FC236}">
                <a16:creationId xmlns:a16="http://schemas.microsoft.com/office/drawing/2014/main" id="{C24D24BE-071F-71FC-3EEB-746A9175E993}"/>
              </a:ext>
            </a:extLst>
          </p:cNvPr>
          <p:cNvSpPr/>
          <p:nvPr/>
        </p:nvSpPr>
        <p:spPr>
          <a:xfrm>
            <a:off x="8120426" y="2009645"/>
            <a:ext cx="1766589" cy="4028533"/>
          </a:xfrm>
          <a:prstGeom prst="rect">
            <a:avLst/>
          </a:prstGeom>
          <a:solidFill>
            <a:schemeClr val="accent3">
              <a:lumMod val="75000"/>
              <a:alpha val="46747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24" tIns="38862" rIns="77724" bIns="38862" rtlCol="0" anchor="ctr"/>
          <a:lstStyle/>
          <a:p>
            <a:pPr algn="ctr"/>
            <a:endParaRPr lang="de-DE" sz="1600" err="1">
              <a:solidFill>
                <a:srgbClr val="FFFFFF"/>
              </a:solidFill>
              <a:latin typeface="Ubuntu"/>
            </a:endParaRPr>
          </a:p>
        </p:txBody>
      </p: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8CA220C5-79D3-1120-E90B-DDAE564A5292}"/>
              </a:ext>
            </a:extLst>
          </p:cNvPr>
          <p:cNvCxnSpPr>
            <a:cxnSpLocks/>
          </p:cNvCxnSpPr>
          <p:nvPr/>
        </p:nvCxnSpPr>
        <p:spPr>
          <a:xfrm>
            <a:off x="8229464" y="3837082"/>
            <a:ext cx="1453471" cy="0"/>
          </a:xfrm>
          <a:prstGeom prst="line">
            <a:avLst/>
          </a:prstGeom>
          <a:ln w="24289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tangle 71">
            <a:extLst>
              <a:ext uri="{FF2B5EF4-FFF2-40B4-BE49-F238E27FC236}">
                <a16:creationId xmlns:a16="http://schemas.microsoft.com/office/drawing/2014/main" id="{51CED8AF-D957-49B9-0995-BEC6E967C822}"/>
              </a:ext>
            </a:extLst>
          </p:cNvPr>
          <p:cNvSpPr/>
          <p:nvPr/>
        </p:nvSpPr>
        <p:spPr>
          <a:xfrm>
            <a:off x="10042234" y="2009646"/>
            <a:ext cx="1766589" cy="4028533"/>
          </a:xfrm>
          <a:prstGeom prst="rect">
            <a:avLst/>
          </a:prstGeom>
          <a:solidFill>
            <a:schemeClr val="accent3">
              <a:lumMod val="75000"/>
              <a:alpha val="49745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24" tIns="38862" rIns="77724" bIns="38862" rtlCol="0" anchor="ctr"/>
          <a:lstStyle/>
          <a:p>
            <a:pPr algn="ctr"/>
            <a:endParaRPr lang="de-DE" sz="1600">
              <a:solidFill>
                <a:srgbClr val="FFFFFF"/>
              </a:solidFill>
              <a:latin typeface="Ubuntu"/>
            </a:endParaRPr>
          </a:p>
        </p:txBody>
      </p: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E24FDD74-83CA-EE25-8E99-FE886ABFA3C3}"/>
              </a:ext>
            </a:extLst>
          </p:cNvPr>
          <p:cNvCxnSpPr>
            <a:cxnSpLocks/>
          </p:cNvCxnSpPr>
          <p:nvPr/>
        </p:nvCxnSpPr>
        <p:spPr>
          <a:xfrm>
            <a:off x="10151272" y="3837082"/>
            <a:ext cx="1453471" cy="0"/>
          </a:xfrm>
          <a:prstGeom prst="line">
            <a:avLst/>
          </a:prstGeom>
          <a:ln w="24289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FC5629B0-2FC0-753A-C1CB-A0A4786033C8}"/>
              </a:ext>
            </a:extLst>
          </p:cNvPr>
          <p:cNvSpPr txBox="1"/>
          <p:nvPr/>
        </p:nvSpPr>
        <p:spPr>
          <a:xfrm>
            <a:off x="424561" y="3313862"/>
            <a:ext cx="1728513" cy="523220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algn="l"/>
            <a:r>
              <a:rPr lang="en-GB" sz="1400" b="1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fe expectancy is influenced…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C716443-7B6A-ABB9-F621-D593F96CABDB}"/>
              </a:ext>
            </a:extLst>
          </p:cNvPr>
          <p:cNvSpPr txBox="1"/>
          <p:nvPr/>
        </p:nvSpPr>
        <p:spPr>
          <a:xfrm>
            <a:off x="472377" y="3971940"/>
            <a:ext cx="1674258" cy="2031325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algn="l"/>
            <a:r>
              <a:rPr lang="en-GB" sz="1400">
                <a:latin typeface="Arial" panose="020B0604020202020204" pitchFamily="34" charset="0"/>
                <a:cs typeface="Arial" panose="020B0604020202020204" pitchFamily="34" charset="0"/>
              </a:rPr>
              <a:t>… positively by GDP per Capita &amp; Quality of Support Network</a:t>
            </a:r>
          </a:p>
          <a:p>
            <a:pPr algn="l"/>
            <a:r>
              <a:rPr lang="en-GB" sz="1400">
                <a:latin typeface="Arial" panose="020B0604020202020204" pitchFamily="34" charset="0"/>
                <a:cs typeface="Arial" panose="020B0604020202020204" pitchFamily="34" charset="0"/>
              </a:rPr>
              <a:t>… and negatively by homicide rate and dwellings without basic faciliti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705AED9-A006-9F75-AA77-7A59B54CE4F4}"/>
              </a:ext>
            </a:extLst>
          </p:cNvPr>
          <p:cNvSpPr txBox="1"/>
          <p:nvPr/>
        </p:nvSpPr>
        <p:spPr>
          <a:xfrm>
            <a:off x="2378973" y="3313862"/>
            <a:ext cx="1766589" cy="523220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algn="l"/>
            <a:r>
              <a:rPr lang="en-GB" sz="1400" b="1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air of South Korea…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B5FD6F9-6199-F4CE-6493-5E9EEDD2651A}"/>
              </a:ext>
            </a:extLst>
          </p:cNvPr>
          <p:cNvSpPr txBox="1"/>
          <p:nvPr/>
        </p:nvSpPr>
        <p:spPr>
          <a:xfrm>
            <a:off x="2358895" y="3971418"/>
            <a:ext cx="1766589" cy="738664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algn="l"/>
            <a:r>
              <a:rPr lang="en-GB" sz="1400">
                <a:latin typeface="Arial" panose="020B0604020202020204" pitchFamily="34" charset="0"/>
                <a:cs typeface="Arial" panose="020B0604020202020204" pitchFamily="34" charset="0"/>
              </a:rPr>
              <a:t>… has almost 10X more pollution than the air of Iceland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985C973-C37D-7778-810A-E1D9A826C561}"/>
              </a:ext>
            </a:extLst>
          </p:cNvPr>
          <p:cNvSpPr txBox="1"/>
          <p:nvPr/>
        </p:nvSpPr>
        <p:spPr>
          <a:xfrm>
            <a:off x="4290813" y="3529305"/>
            <a:ext cx="1780874" cy="307777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algn="l"/>
            <a:r>
              <a:rPr lang="en-GB" sz="1400" b="1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celand is…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531761B-BFA2-FB5B-AE25-CBA68AC59981}"/>
              </a:ext>
            </a:extLst>
          </p:cNvPr>
          <p:cNvSpPr txBox="1"/>
          <p:nvPr/>
        </p:nvSpPr>
        <p:spPr>
          <a:xfrm>
            <a:off x="4270335" y="3977823"/>
            <a:ext cx="1766589" cy="954107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algn="l"/>
            <a:r>
              <a:rPr lang="en-GB" sz="1400">
                <a:latin typeface="Arial" panose="020B0604020202020204" pitchFamily="34" charset="0"/>
                <a:cs typeface="Arial" panose="020B0604020202020204" pitchFamily="34" charset="0"/>
              </a:rPr>
              <a:t>… the country with the best score on both environmental measure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A05F18A-D151-CF95-A91C-50EDEAA95994}"/>
              </a:ext>
            </a:extLst>
          </p:cNvPr>
          <p:cNvSpPr txBox="1"/>
          <p:nvPr/>
        </p:nvSpPr>
        <p:spPr>
          <a:xfrm>
            <a:off x="6205947" y="3098418"/>
            <a:ext cx="1759362" cy="738664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algn="l"/>
            <a:r>
              <a:rPr lang="en-GB" sz="1400" b="1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richest country is Luxembourg…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839A41A-C41D-FC5D-9512-3AC70C79376A}"/>
              </a:ext>
            </a:extLst>
          </p:cNvPr>
          <p:cNvSpPr txBox="1"/>
          <p:nvPr/>
        </p:nvSpPr>
        <p:spPr>
          <a:xfrm>
            <a:off x="6194301" y="3977823"/>
            <a:ext cx="1827480" cy="954107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algn="l"/>
            <a:r>
              <a:rPr lang="en-GB" sz="1400">
                <a:latin typeface="Arial" panose="020B0604020202020204" pitchFamily="34" charset="0"/>
                <a:cs typeface="Arial" panose="020B0604020202020204" pitchFamily="34" charset="0"/>
              </a:rPr>
              <a:t>… with almost three times the OECD AVERAGE for GDP / CAP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7114788-A0D5-F658-4967-EB49AFC5469C}"/>
              </a:ext>
            </a:extLst>
          </p:cNvPr>
          <p:cNvSpPr txBox="1"/>
          <p:nvPr/>
        </p:nvSpPr>
        <p:spPr>
          <a:xfrm>
            <a:off x="8118267" y="3098418"/>
            <a:ext cx="1766589" cy="738664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algn="l"/>
            <a:r>
              <a:rPr lang="en-GB" sz="1400" b="1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gher</a:t>
            </a:r>
            <a:r>
              <a:rPr lang="en-GB" sz="1400" b="1">
                <a:latin typeface="Arial" panose="020B0604020202020204" pitchFamily="34" charset="0"/>
                <a:cs typeface="Arial" panose="020B0604020202020204" pitchFamily="34" charset="0"/>
              </a:rPr>
              <a:t> personal earnings increase…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E52B094-299F-D49E-E230-A1E037A2F60E}"/>
              </a:ext>
            </a:extLst>
          </p:cNvPr>
          <p:cNvSpPr txBox="1"/>
          <p:nvPr/>
        </p:nvSpPr>
        <p:spPr>
          <a:xfrm>
            <a:off x="8118267" y="3967432"/>
            <a:ext cx="1766589" cy="1169551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oms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per pers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ater qual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afe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fe satisfaction</a:t>
            </a:r>
            <a:endParaRPr lang="en-GB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A57019D-7CFA-2D74-D4B1-E5D754118464}"/>
              </a:ext>
            </a:extLst>
          </p:cNvPr>
          <p:cNvSpPr txBox="1"/>
          <p:nvPr/>
        </p:nvSpPr>
        <p:spPr>
          <a:xfrm>
            <a:off x="10032266" y="3098418"/>
            <a:ext cx="1766589" cy="738664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algn="l"/>
            <a:r>
              <a:rPr lang="en-GB" sz="1400" b="1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countries with the highest life satisfaction are… 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72183BD-8D2F-CF78-117D-36647121DFF8}"/>
              </a:ext>
            </a:extLst>
          </p:cNvPr>
          <p:cNvSpPr txBox="1"/>
          <p:nvPr/>
        </p:nvSpPr>
        <p:spPr>
          <a:xfrm>
            <a:off x="10032265" y="3988214"/>
            <a:ext cx="1766589" cy="1169551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sz="1400">
                <a:latin typeface="Arial" panose="020B0604020202020204" pitchFamily="34" charset="0"/>
                <a:cs typeface="Arial" panose="020B0604020202020204" pitchFamily="34" charset="0"/>
              </a:rPr>
              <a:t>Iceland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sz="1400">
                <a:latin typeface="Arial" panose="020B0604020202020204" pitchFamily="34" charset="0"/>
                <a:cs typeface="Arial" panose="020B0604020202020204" pitchFamily="34" charset="0"/>
              </a:rPr>
              <a:t>Switzerland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sz="1400">
                <a:latin typeface="Arial" panose="020B0604020202020204" pitchFamily="34" charset="0"/>
                <a:cs typeface="Arial" panose="020B0604020202020204" pitchFamily="34" charset="0"/>
              </a:rPr>
              <a:t>Norway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sz="1400">
                <a:latin typeface="Arial" panose="020B0604020202020204" pitchFamily="34" charset="0"/>
                <a:cs typeface="Arial" panose="020B0604020202020204" pitchFamily="34" charset="0"/>
              </a:rPr>
              <a:t>Finland 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sz="1400">
                <a:latin typeface="Arial" panose="020B0604020202020204" pitchFamily="34" charset="0"/>
                <a:cs typeface="Arial" panose="020B0604020202020204" pitchFamily="34" charset="0"/>
              </a:rPr>
              <a:t>Denmark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1352C26F-2B39-0B03-73CE-49DDC2BA653E}"/>
              </a:ext>
            </a:extLst>
          </p:cNvPr>
          <p:cNvSpPr/>
          <p:nvPr/>
        </p:nvSpPr>
        <p:spPr>
          <a:xfrm>
            <a:off x="10477070" y="2084253"/>
            <a:ext cx="915617" cy="900000"/>
          </a:xfrm>
          <a:prstGeom prst="ellipse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F6E98116-1214-3A29-80BB-327F433CA1C9}"/>
              </a:ext>
            </a:extLst>
          </p:cNvPr>
          <p:cNvSpPr/>
          <p:nvPr/>
        </p:nvSpPr>
        <p:spPr>
          <a:xfrm>
            <a:off x="831007" y="2084253"/>
            <a:ext cx="915617" cy="900000"/>
          </a:xfrm>
          <a:prstGeom prst="ellipse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43" name="Graphic 42" descr="Man with cane outline">
            <a:extLst>
              <a:ext uri="{FF2B5EF4-FFF2-40B4-BE49-F238E27FC236}">
                <a16:creationId xmlns:a16="http://schemas.microsoft.com/office/drawing/2014/main" id="{3A403FE5-3D81-FD60-FE64-0ABB1409B58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80346" y="2207567"/>
            <a:ext cx="612000" cy="612000"/>
          </a:xfrm>
          <a:prstGeom prst="rect">
            <a:avLst/>
          </a:prstGeom>
        </p:spPr>
      </p:pic>
      <p:sp>
        <p:nvSpPr>
          <p:cNvPr id="29" name="Oval 28">
            <a:extLst>
              <a:ext uri="{FF2B5EF4-FFF2-40B4-BE49-F238E27FC236}">
                <a16:creationId xmlns:a16="http://schemas.microsoft.com/office/drawing/2014/main" id="{A2788319-20D4-60AA-6524-012AD208493A}"/>
              </a:ext>
            </a:extLst>
          </p:cNvPr>
          <p:cNvSpPr/>
          <p:nvPr/>
        </p:nvSpPr>
        <p:spPr>
          <a:xfrm>
            <a:off x="2727255" y="2071138"/>
            <a:ext cx="915617" cy="900000"/>
          </a:xfrm>
          <a:prstGeom prst="ellipse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8" name="Graphic 27" descr="Lungs outline">
            <a:extLst>
              <a:ext uri="{FF2B5EF4-FFF2-40B4-BE49-F238E27FC236}">
                <a16:creationId xmlns:a16="http://schemas.microsoft.com/office/drawing/2014/main" id="{19757C03-50BF-DB3E-5F42-F91027F20FC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880760" y="2184423"/>
            <a:ext cx="612000" cy="612000"/>
          </a:xfrm>
          <a:prstGeom prst="rect">
            <a:avLst/>
          </a:prstGeom>
        </p:spPr>
      </p:pic>
      <p:sp>
        <p:nvSpPr>
          <p:cNvPr id="33" name="Oval 32">
            <a:extLst>
              <a:ext uri="{FF2B5EF4-FFF2-40B4-BE49-F238E27FC236}">
                <a16:creationId xmlns:a16="http://schemas.microsoft.com/office/drawing/2014/main" id="{A5CF335F-26D6-2880-EEFD-D147E3B9D448}"/>
              </a:ext>
            </a:extLst>
          </p:cNvPr>
          <p:cNvSpPr/>
          <p:nvPr/>
        </p:nvSpPr>
        <p:spPr>
          <a:xfrm>
            <a:off x="4706347" y="2071138"/>
            <a:ext cx="915617" cy="900000"/>
          </a:xfrm>
          <a:prstGeom prst="ellipse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30" name="Graphic 29" descr="Open hand with plant outline">
            <a:extLst>
              <a:ext uri="{FF2B5EF4-FFF2-40B4-BE49-F238E27FC236}">
                <a16:creationId xmlns:a16="http://schemas.microsoft.com/office/drawing/2014/main" id="{AC65165C-280F-448A-E742-5669D8D29C0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854772" y="2243730"/>
            <a:ext cx="612000" cy="612000"/>
          </a:xfrm>
          <a:prstGeom prst="rect">
            <a:avLst/>
          </a:prstGeom>
        </p:spPr>
      </p:pic>
      <p:sp>
        <p:nvSpPr>
          <p:cNvPr id="34" name="Oval 33">
            <a:extLst>
              <a:ext uri="{FF2B5EF4-FFF2-40B4-BE49-F238E27FC236}">
                <a16:creationId xmlns:a16="http://schemas.microsoft.com/office/drawing/2014/main" id="{9C947346-02F0-26B8-1D62-23B79F737263}"/>
              </a:ext>
            </a:extLst>
          </p:cNvPr>
          <p:cNvSpPr/>
          <p:nvPr/>
        </p:nvSpPr>
        <p:spPr>
          <a:xfrm>
            <a:off x="6606775" y="2082467"/>
            <a:ext cx="915617" cy="900000"/>
          </a:xfrm>
          <a:prstGeom prst="ellipse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35" name="Graphic 34" descr="Gold bars outline">
            <a:extLst>
              <a:ext uri="{FF2B5EF4-FFF2-40B4-BE49-F238E27FC236}">
                <a16:creationId xmlns:a16="http://schemas.microsoft.com/office/drawing/2014/main" id="{89F7A4D2-67B5-26CB-1CDB-40FEC5333CC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758583" y="2228253"/>
            <a:ext cx="612000" cy="612000"/>
          </a:xfrm>
          <a:prstGeom prst="rect">
            <a:avLst/>
          </a:prstGeom>
        </p:spPr>
      </p:pic>
      <p:sp>
        <p:nvSpPr>
          <p:cNvPr id="36" name="Oval 35">
            <a:extLst>
              <a:ext uri="{FF2B5EF4-FFF2-40B4-BE49-F238E27FC236}">
                <a16:creationId xmlns:a16="http://schemas.microsoft.com/office/drawing/2014/main" id="{42C3E833-9373-1E09-73FE-BCB7497162D6}"/>
              </a:ext>
            </a:extLst>
          </p:cNvPr>
          <p:cNvSpPr/>
          <p:nvPr/>
        </p:nvSpPr>
        <p:spPr>
          <a:xfrm>
            <a:off x="8498390" y="2071138"/>
            <a:ext cx="915617" cy="900000"/>
          </a:xfrm>
          <a:prstGeom prst="ellipse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32" name="Graphic 31" descr="Coins outline">
            <a:extLst>
              <a:ext uri="{FF2B5EF4-FFF2-40B4-BE49-F238E27FC236}">
                <a16:creationId xmlns:a16="http://schemas.microsoft.com/office/drawing/2014/main" id="{EA002C3D-F578-48F2-C255-27CFE1DAD6AE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8650198" y="2203409"/>
            <a:ext cx="612000" cy="612000"/>
          </a:xfrm>
          <a:prstGeom prst="rect">
            <a:avLst/>
          </a:prstGeom>
        </p:spPr>
      </p:pic>
      <p:pic>
        <p:nvPicPr>
          <p:cNvPr id="39" name="Graphic 38" descr="Rating 3 Star outline">
            <a:extLst>
              <a:ext uri="{FF2B5EF4-FFF2-40B4-BE49-F238E27FC236}">
                <a16:creationId xmlns:a16="http://schemas.microsoft.com/office/drawing/2014/main" id="{D4F77719-0D0D-64FB-DB63-AAB191BA48AA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0627281" y="2206406"/>
            <a:ext cx="612000" cy="6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193080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623FBC6D-3652-1BE9-62E2-15BB5E16B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223590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23FBC6D-3652-1BE9-62E2-15BB5E16B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F32B3C4-EDEA-3BE6-3771-5BBA46DB20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9382" y="6383374"/>
            <a:ext cx="512618" cy="313262"/>
          </a:xfrm>
        </p:spPr>
        <p:txBody>
          <a:bodyPr/>
          <a:lstStyle/>
          <a:p>
            <a:fld id="{8F5FC67E-E9DB-4ACE-B3DB-64B7A5397B4F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D0C5E76-2906-C874-5ADC-F54E764D52E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GB"/>
              <a:t>Conclusion</a:t>
            </a:r>
          </a:p>
        </p:txBody>
      </p:sp>
      <p:sp>
        <p:nvSpPr>
          <p:cNvPr id="113" name="Rectangle 13">
            <a:extLst>
              <a:ext uri="{FF2B5EF4-FFF2-40B4-BE49-F238E27FC236}">
                <a16:creationId xmlns:a16="http://schemas.microsoft.com/office/drawing/2014/main" id="{48CA3208-3B59-83B4-1275-423834BC7A25}"/>
              </a:ext>
            </a:extLst>
          </p:cNvPr>
          <p:cNvSpPr/>
          <p:nvPr/>
        </p:nvSpPr>
        <p:spPr>
          <a:xfrm>
            <a:off x="4714530" y="1967031"/>
            <a:ext cx="6586220" cy="778819"/>
          </a:xfrm>
          <a:prstGeom prst="round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3668" rIns="0" bIns="33668" rtlCol="0" anchor="t" anchorCtr="0"/>
          <a:lstStyle/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66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Economic Indicators</a:t>
            </a:r>
          </a:p>
          <a:p>
            <a:pPr lvl="0" eaLnBrk="0" hangingPunct="0">
              <a:buClr>
                <a:srgbClr val="FF6600"/>
              </a:buClr>
              <a:defRPr/>
            </a:pPr>
            <a:r>
              <a:rPr lang="en-US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active presentation of economic factors such as GDP, GDP per capita, household income etc. per OECD country, with the values for the average, median, standard deviation</a:t>
            </a:r>
            <a:endParaRPr kumimoji="0" lang="en-US" sz="140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6600"/>
              </a:buClr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114" name="Rectangle 13">
            <a:extLst>
              <a:ext uri="{FF2B5EF4-FFF2-40B4-BE49-F238E27FC236}">
                <a16:creationId xmlns:a16="http://schemas.microsoft.com/office/drawing/2014/main" id="{E9711C70-2BA2-7E93-FC97-709AC6E24080}"/>
              </a:ext>
            </a:extLst>
          </p:cNvPr>
          <p:cNvSpPr/>
          <p:nvPr/>
        </p:nvSpPr>
        <p:spPr>
          <a:xfrm>
            <a:off x="4729991" y="3968635"/>
            <a:ext cx="6406786" cy="926380"/>
          </a:xfrm>
          <a:prstGeom prst="round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3668" rIns="0" bIns="33668" rtlCol="0" anchor="t" anchorCtr="0"/>
          <a:lstStyle/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66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Quality of Life </a:t>
            </a:r>
          </a:p>
          <a:p>
            <a:pPr lvl="0" eaLnBrk="0" hangingPunct="0">
              <a:buClr>
                <a:srgbClr val="FF6600"/>
              </a:buClr>
              <a:defRPr/>
            </a:pPr>
            <a:r>
              <a:rPr lang="en-US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ualization of Safety and health and environment measures per country with the ability to select according to the level of economic development </a:t>
            </a:r>
            <a:endParaRPr kumimoji="0" lang="en-US" sz="140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6600"/>
              </a:buClr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115" name="Rectangle 13">
            <a:extLst>
              <a:ext uri="{FF2B5EF4-FFF2-40B4-BE49-F238E27FC236}">
                <a16:creationId xmlns:a16="http://schemas.microsoft.com/office/drawing/2014/main" id="{3E0155F0-F352-4ADB-4B60-CA9196175F78}"/>
              </a:ext>
            </a:extLst>
          </p:cNvPr>
          <p:cNvSpPr/>
          <p:nvPr/>
        </p:nvSpPr>
        <p:spPr>
          <a:xfrm>
            <a:off x="4729991" y="2967218"/>
            <a:ext cx="6533314" cy="959175"/>
          </a:xfrm>
          <a:prstGeom prst="round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3668" rIns="0" bIns="33668" rtlCol="0" anchor="t" anchorCtr="0"/>
          <a:lstStyle/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6600"/>
              </a:buClr>
              <a:buSzTx/>
              <a:buFontTx/>
              <a:buNone/>
              <a:tabLst/>
              <a:defRPr/>
            </a:pPr>
            <a:r>
              <a:rPr lang="en-US"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ployment &amp; Education</a:t>
            </a:r>
          </a:p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6600"/>
              </a:buClr>
              <a:buSzTx/>
              <a:buFontTx/>
              <a:buNone/>
              <a:tabLst/>
              <a:defRPr/>
            </a:pPr>
            <a:r>
              <a:rPr kumimoji="0" lang="en-US" sz="140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resentation</a:t>
            </a:r>
            <a:r>
              <a:rPr kumimoji="0" lang="en-US" sz="1400" i="0" u="none" strike="noStrike" kern="1200" cap="none" spc="0" normalizeH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of the employment and education situation per county based on a variety of measures and sub filters</a:t>
            </a:r>
            <a:endParaRPr kumimoji="0" lang="en-US" sz="110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6" name="Rectangle 13">
            <a:extLst>
              <a:ext uri="{FF2B5EF4-FFF2-40B4-BE49-F238E27FC236}">
                <a16:creationId xmlns:a16="http://schemas.microsoft.com/office/drawing/2014/main" id="{DC1842E6-479D-9190-8FED-DBC4056F11FD}"/>
              </a:ext>
            </a:extLst>
          </p:cNvPr>
          <p:cNvSpPr/>
          <p:nvPr/>
        </p:nvSpPr>
        <p:spPr>
          <a:xfrm>
            <a:off x="4718242" y="5024835"/>
            <a:ext cx="7090581" cy="881040"/>
          </a:xfrm>
          <a:prstGeom prst="round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3668" rIns="0" bIns="33668" rtlCol="0" anchor="t" anchorCtr="0"/>
          <a:lstStyle/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6600"/>
              </a:buClr>
              <a:buSzTx/>
              <a:buFontTx/>
              <a:buNone/>
              <a:tabLst/>
              <a:defRPr/>
            </a:pPr>
            <a:r>
              <a:rPr lang="en-US"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alysis of Insightful Correlations</a:t>
            </a:r>
          </a:p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6600"/>
              </a:buClr>
              <a:buSzTx/>
              <a:buFontTx/>
              <a:buNone/>
              <a:tabLst/>
              <a:defRPr/>
            </a:pPr>
            <a:r>
              <a:rPr kumimoji="0" lang="en-US" sz="140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Life expectancy</a:t>
            </a:r>
            <a:r>
              <a:rPr kumimoji="0" lang="en-US" sz="1400" i="0" u="none" strike="noStrike" kern="1200" cap="none" spc="0" normalizeH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ows a positive correlation with GDP per Capita, Quality of support network, and related negatively to dwellings without basic facilities and homicide rate</a:t>
            </a:r>
          </a:p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6600"/>
              </a:buClr>
              <a:buSzTx/>
              <a:buFontTx/>
              <a:buNone/>
              <a:tabLst/>
              <a:defRPr/>
            </a:pPr>
            <a:r>
              <a:rPr kumimoji="0" lang="en-US" sz="140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ersonal</a:t>
            </a:r>
            <a:r>
              <a:rPr kumimoji="0" lang="en-US" sz="1400" i="0" u="none" strike="noStrike" kern="1200" cap="none" spc="0" normalizeH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Earnings are relating positively to rooms per person, water quality, safely and life satisfaction showing the importance of a country's economic status</a:t>
            </a:r>
            <a:endParaRPr kumimoji="0" lang="en-US" sz="110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3634F5FD-A553-24D8-91BA-475935201A6E}"/>
              </a:ext>
            </a:extLst>
          </p:cNvPr>
          <p:cNvGrpSpPr/>
          <p:nvPr/>
        </p:nvGrpSpPr>
        <p:grpSpPr>
          <a:xfrm>
            <a:off x="-55983" y="1834312"/>
            <a:ext cx="4682951" cy="4277843"/>
            <a:chOff x="-52054" y="1742023"/>
            <a:chExt cx="4762039" cy="4428845"/>
          </a:xfrm>
        </p:grpSpPr>
        <p:sp>
          <p:nvSpPr>
            <p:cNvPr id="106" name="Freeform 25">
              <a:extLst>
                <a:ext uri="{FF2B5EF4-FFF2-40B4-BE49-F238E27FC236}">
                  <a16:creationId xmlns:a16="http://schemas.microsoft.com/office/drawing/2014/main" id="{5757794B-6B34-E3C9-6C2E-F00B67691E4A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742023"/>
              <a:ext cx="3221326" cy="4428845"/>
            </a:xfrm>
            <a:custGeom>
              <a:avLst/>
              <a:gdLst>
                <a:gd name="T0" fmla="*/ 0 w 1970"/>
                <a:gd name="T1" fmla="*/ 2575 h 2719"/>
                <a:gd name="T2" fmla="*/ 610 w 1970"/>
                <a:gd name="T3" fmla="*/ 2719 h 2719"/>
                <a:gd name="T4" fmla="*/ 1970 w 1970"/>
                <a:gd name="T5" fmla="*/ 1360 h 2719"/>
                <a:gd name="T6" fmla="*/ 610 w 1970"/>
                <a:gd name="T7" fmla="*/ 0 h 2719"/>
                <a:gd name="T8" fmla="*/ 0 w 1970"/>
                <a:gd name="T9" fmla="*/ 144 h 27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70" h="2719">
                  <a:moveTo>
                    <a:pt x="0" y="2575"/>
                  </a:moveTo>
                  <a:cubicBezTo>
                    <a:pt x="183" y="2667"/>
                    <a:pt x="391" y="2719"/>
                    <a:pt x="610" y="2719"/>
                  </a:cubicBezTo>
                  <a:cubicBezTo>
                    <a:pt x="1361" y="2719"/>
                    <a:pt x="1970" y="2111"/>
                    <a:pt x="1970" y="1360"/>
                  </a:cubicBezTo>
                  <a:cubicBezTo>
                    <a:pt x="1970" y="608"/>
                    <a:pt x="1361" y="0"/>
                    <a:pt x="610" y="0"/>
                  </a:cubicBezTo>
                  <a:cubicBezTo>
                    <a:pt x="391" y="0"/>
                    <a:pt x="183" y="52"/>
                    <a:pt x="0" y="144"/>
                  </a:cubicBezTo>
                </a:path>
              </a:pathLst>
            </a:custGeom>
            <a:solidFill>
              <a:schemeClr val="bg1">
                <a:lumMod val="75000"/>
                <a:alpha val="49000"/>
              </a:schemeClr>
            </a:solidFill>
            <a:ln w="12700" cap="flat">
              <a:solidFill>
                <a:schemeClr val="bg1">
                  <a:lumMod val="85000"/>
                </a:schemeClr>
              </a:solidFill>
              <a:prstDash val="solid"/>
              <a:miter lim="800000"/>
              <a:headEnd type="none" w="lg" len="lg"/>
              <a:tailEnd type="none" w="lg" len="lg"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Roboto Bold" charset="0"/>
                <a:ea typeface="+mn-ea"/>
                <a:cs typeface="+mn-cs"/>
              </a:endParaRPr>
            </a:p>
          </p:txBody>
        </p:sp>
        <p:sp>
          <p:nvSpPr>
            <p:cNvPr id="107" name="Oval 106">
              <a:extLst>
                <a:ext uri="{FF2B5EF4-FFF2-40B4-BE49-F238E27FC236}">
                  <a16:creationId xmlns:a16="http://schemas.microsoft.com/office/drawing/2014/main" id="{DDF4064A-C513-CE8B-DF8C-59DD473EB160}"/>
                </a:ext>
              </a:extLst>
            </p:cNvPr>
            <p:cNvSpPr>
              <a:spLocks/>
            </p:cNvSpPr>
            <p:nvPr/>
          </p:nvSpPr>
          <p:spPr>
            <a:xfrm>
              <a:off x="3905854" y="1898675"/>
              <a:ext cx="799054" cy="749076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7724" tIns="38862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Roboto Bold" charset="0"/>
                <a:ea typeface="+mn-ea"/>
                <a:cs typeface="+mn-cs"/>
              </a:endParaRPr>
            </a:p>
          </p:txBody>
        </p:sp>
        <p:sp>
          <p:nvSpPr>
            <p:cNvPr id="108" name="Freeform 8">
              <a:extLst>
                <a:ext uri="{FF2B5EF4-FFF2-40B4-BE49-F238E27FC236}">
                  <a16:creationId xmlns:a16="http://schemas.microsoft.com/office/drawing/2014/main" id="{F1644B04-7D8F-E067-824D-98BB4FE404E3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8730" y="3277464"/>
              <a:ext cx="262444" cy="261156"/>
            </a:xfrm>
            <a:prstGeom prst="ellipse">
              <a:avLst/>
            </a:prstGeom>
            <a:gradFill flip="none" rotWithShape="1">
              <a:gsLst>
                <a:gs pos="0">
                  <a:srgbClr val="0070C0">
                    <a:shade val="30000"/>
                    <a:satMod val="115000"/>
                  </a:srgbClr>
                </a:gs>
                <a:gs pos="50000">
                  <a:srgbClr val="0070C0">
                    <a:shade val="67500"/>
                    <a:satMod val="115000"/>
                  </a:srgbClr>
                </a:gs>
                <a:gs pos="100000">
                  <a:srgbClr val="0070C0">
                    <a:shade val="100000"/>
                    <a:satMod val="115000"/>
                  </a:srgbClr>
                </a:gs>
              </a:gsLst>
              <a:lin ang="10800000" scaled="1"/>
              <a:tileRect/>
            </a:gradFill>
            <a:ln w="635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Roboto Bold" charset="0"/>
                <a:ea typeface="+mn-ea"/>
                <a:cs typeface="+mn-cs"/>
              </a:endParaRPr>
            </a:p>
          </p:txBody>
        </p:sp>
        <p:sp>
          <p:nvSpPr>
            <p:cNvPr id="109" name="Oval 108">
              <a:extLst>
                <a:ext uri="{FF2B5EF4-FFF2-40B4-BE49-F238E27FC236}">
                  <a16:creationId xmlns:a16="http://schemas.microsoft.com/office/drawing/2014/main" id="{1E9F031E-796B-117F-F3DA-F919742A59CE}"/>
                </a:ext>
              </a:extLst>
            </p:cNvPr>
            <p:cNvSpPr>
              <a:spLocks/>
            </p:cNvSpPr>
            <p:nvPr/>
          </p:nvSpPr>
          <p:spPr>
            <a:xfrm>
              <a:off x="3900736" y="2954274"/>
              <a:ext cx="799054" cy="774840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7724" tIns="38862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Roboto Bold" charset="0"/>
                <a:ea typeface="+mn-ea"/>
                <a:cs typeface="+mn-cs"/>
              </a:endParaRPr>
            </a:p>
          </p:txBody>
        </p:sp>
        <p:sp>
          <p:nvSpPr>
            <p:cNvPr id="110" name="Freeform 7">
              <a:extLst>
                <a:ext uri="{FF2B5EF4-FFF2-40B4-BE49-F238E27FC236}">
                  <a16:creationId xmlns:a16="http://schemas.microsoft.com/office/drawing/2014/main" id="{1AC1EED3-5B3C-296B-F238-F453D32FD6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8730" y="4327130"/>
              <a:ext cx="262444" cy="261156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Roboto Bold" charset="0"/>
                <a:ea typeface="+mn-ea"/>
                <a:cs typeface="+mn-cs"/>
              </a:endParaRPr>
            </a:p>
          </p:txBody>
        </p: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6C2CA613-DBA1-4F7A-DCAC-C39F4B9F3B5D}"/>
                </a:ext>
              </a:extLst>
            </p:cNvPr>
            <p:cNvCxnSpPr/>
            <p:nvPr/>
          </p:nvCxnSpPr>
          <p:spPr>
            <a:xfrm flipV="1">
              <a:off x="2534268" y="5520485"/>
              <a:ext cx="1376663" cy="1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grpSp>
          <p:nvGrpSpPr>
            <p:cNvPr id="118" name="Group 117">
              <a:extLst>
                <a:ext uri="{FF2B5EF4-FFF2-40B4-BE49-F238E27FC236}">
                  <a16:creationId xmlns:a16="http://schemas.microsoft.com/office/drawing/2014/main" id="{59B090E7-8782-E387-5313-9B32D6BCDE35}"/>
                </a:ext>
              </a:extLst>
            </p:cNvPr>
            <p:cNvGrpSpPr/>
            <p:nvPr/>
          </p:nvGrpSpPr>
          <p:grpSpPr>
            <a:xfrm>
              <a:off x="2269897" y="2128146"/>
              <a:ext cx="1635957" cy="264371"/>
              <a:chOff x="2269897" y="1977144"/>
              <a:chExt cx="1635957" cy="264371"/>
            </a:xfrm>
            <a:solidFill>
              <a:schemeClr val="accent1">
                <a:lumMod val="20000"/>
                <a:lumOff val="80000"/>
              </a:schemeClr>
            </a:solidFill>
          </p:grpSpPr>
          <p:sp>
            <p:nvSpPr>
              <p:cNvPr id="119" name="Freeform 9">
                <a:extLst>
                  <a:ext uri="{FF2B5EF4-FFF2-40B4-BE49-F238E27FC236}">
                    <a16:creationId xmlns:a16="http://schemas.microsoft.com/office/drawing/2014/main" id="{6F61AC19-A04C-C29E-F29D-3D408EB3D0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69897" y="1977144"/>
                <a:ext cx="264371" cy="264371"/>
              </a:xfrm>
              <a:prstGeom prst="ellipse">
                <a:avLst/>
              </a:prstGeom>
              <a:grpFill/>
              <a:ln w="6350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1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Roboto Bold" charset="0"/>
                  <a:ea typeface="+mn-ea"/>
                  <a:cs typeface="+mn-cs"/>
                </a:endParaRPr>
              </a:p>
            </p:txBody>
          </p:sp>
          <p:cxnSp>
            <p:nvCxnSpPr>
              <p:cNvPr id="120" name="Straight Connector 119">
                <a:extLst>
                  <a:ext uri="{FF2B5EF4-FFF2-40B4-BE49-F238E27FC236}">
                    <a16:creationId xmlns:a16="http://schemas.microsoft.com/office/drawing/2014/main" id="{B4459502-EB78-5A02-4B38-81E2434E022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534268" y="2109329"/>
                <a:ext cx="1371586" cy="1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3"/>
              </a:lnRef>
              <a:fillRef idx="0">
                <a:schemeClr val="accent3"/>
              </a:fillRef>
              <a:effectRef idx="1">
                <a:schemeClr val="accent3"/>
              </a:effectRef>
              <a:fontRef idx="minor">
                <a:schemeClr val="tx1"/>
              </a:fontRef>
            </p:style>
          </p:cxnSp>
        </p:grp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7DA3088E-F00A-07A8-7DAD-A8D2BE563114}"/>
                </a:ext>
              </a:extLst>
            </p:cNvPr>
            <p:cNvCxnSpPr>
              <a:cxnSpLocks/>
            </p:cNvCxnSpPr>
            <p:nvPr/>
          </p:nvCxnSpPr>
          <p:spPr>
            <a:xfrm>
              <a:off x="3271174" y="4441985"/>
              <a:ext cx="63468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3"/>
            </a:lnRef>
            <a:fillRef idx="0">
              <a:schemeClr val="accent3"/>
            </a:fillRef>
            <a:effectRef idx="1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671E9D4-EFF0-CA4B-CFD1-538D257D1F73}"/>
                </a:ext>
              </a:extLst>
            </p:cNvPr>
            <p:cNvCxnSpPr>
              <a:cxnSpLocks/>
            </p:cNvCxnSpPr>
            <p:nvPr/>
          </p:nvCxnSpPr>
          <p:spPr>
            <a:xfrm>
              <a:off x="3271174" y="3408042"/>
              <a:ext cx="617779" cy="0"/>
            </a:xfrm>
            <a:prstGeom prst="line">
              <a:avLst/>
            </a:prstGeom>
            <a:ln w="31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47" name="Graphic 2">
              <a:extLst>
                <a:ext uri="{FF2B5EF4-FFF2-40B4-BE49-F238E27FC236}">
                  <a16:creationId xmlns:a16="http://schemas.microsoft.com/office/drawing/2014/main" id="{909E7E99-6522-DB65-92E2-A45406CCC637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116771" y="4324049"/>
              <a:ext cx="389780" cy="386563"/>
              <a:chOff x="5864412" y="3152586"/>
              <a:chExt cx="463177" cy="459352"/>
            </a:xfrm>
            <a:solidFill>
              <a:schemeClr val="bg1"/>
            </a:solidFill>
          </p:grpSpPr>
          <p:sp>
            <p:nvSpPr>
              <p:cNvPr id="148" name="Freeform: Shape 77">
                <a:extLst>
                  <a:ext uri="{FF2B5EF4-FFF2-40B4-BE49-F238E27FC236}">
                    <a16:creationId xmlns:a16="http://schemas.microsoft.com/office/drawing/2014/main" id="{AF312E21-A051-6431-229D-F04D50C904C1}"/>
                  </a:ext>
                </a:extLst>
              </p:cNvPr>
              <p:cNvSpPr/>
              <p:nvPr/>
            </p:nvSpPr>
            <p:spPr>
              <a:xfrm>
                <a:off x="5864412" y="3152586"/>
                <a:ext cx="463177" cy="258834"/>
              </a:xfrm>
              <a:custGeom>
                <a:avLst/>
                <a:gdLst>
                  <a:gd name="connsiteX0" fmla="*/ 442470 w 463177"/>
                  <a:gd name="connsiteY0" fmla="*/ 0 h 258834"/>
                  <a:gd name="connsiteX1" fmla="*/ 20162 w 463177"/>
                  <a:gd name="connsiteY1" fmla="*/ 0 h 258834"/>
                  <a:gd name="connsiteX2" fmla="*/ 0 w 463177"/>
                  <a:gd name="connsiteY2" fmla="*/ 20707 h 258834"/>
                  <a:gd name="connsiteX3" fmla="*/ 0 w 463177"/>
                  <a:gd name="connsiteY3" fmla="*/ 238672 h 258834"/>
                  <a:gd name="connsiteX4" fmla="*/ 20707 w 463177"/>
                  <a:gd name="connsiteY4" fmla="*/ 258834 h 258834"/>
                  <a:gd name="connsiteX5" fmla="*/ 443015 w 463177"/>
                  <a:gd name="connsiteY5" fmla="*/ 258834 h 258834"/>
                  <a:gd name="connsiteX6" fmla="*/ 463177 w 463177"/>
                  <a:gd name="connsiteY6" fmla="*/ 238127 h 258834"/>
                  <a:gd name="connsiteX7" fmla="*/ 463177 w 463177"/>
                  <a:gd name="connsiteY7" fmla="*/ 20162 h 258834"/>
                  <a:gd name="connsiteX8" fmla="*/ 442470 w 463177"/>
                  <a:gd name="connsiteY8" fmla="*/ 0 h 258834"/>
                  <a:gd name="connsiteX9" fmla="*/ 449554 w 463177"/>
                  <a:gd name="connsiteY9" fmla="*/ 238127 h 258834"/>
                  <a:gd name="connsiteX10" fmla="*/ 442470 w 463177"/>
                  <a:gd name="connsiteY10" fmla="*/ 245211 h 258834"/>
                  <a:gd name="connsiteX11" fmla="*/ 20162 w 463177"/>
                  <a:gd name="connsiteY11" fmla="*/ 245211 h 258834"/>
                  <a:gd name="connsiteX12" fmla="*/ 13623 w 463177"/>
                  <a:gd name="connsiteY12" fmla="*/ 238127 h 258834"/>
                  <a:gd name="connsiteX13" fmla="*/ 13623 w 463177"/>
                  <a:gd name="connsiteY13" fmla="*/ 20162 h 258834"/>
                  <a:gd name="connsiteX14" fmla="*/ 20707 w 463177"/>
                  <a:gd name="connsiteY14" fmla="*/ 13623 h 258834"/>
                  <a:gd name="connsiteX15" fmla="*/ 443015 w 463177"/>
                  <a:gd name="connsiteY15" fmla="*/ 13623 h 258834"/>
                  <a:gd name="connsiteX16" fmla="*/ 450099 w 463177"/>
                  <a:gd name="connsiteY16" fmla="*/ 20707 h 2588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63177" h="258834">
                    <a:moveTo>
                      <a:pt x="442470" y="0"/>
                    </a:moveTo>
                    <a:lnTo>
                      <a:pt x="20162" y="0"/>
                    </a:lnTo>
                    <a:cubicBezTo>
                      <a:pt x="8939" y="295"/>
                      <a:pt x="-4" y="9480"/>
                      <a:pt x="0" y="20707"/>
                    </a:cubicBezTo>
                    <a:lnTo>
                      <a:pt x="0" y="238672"/>
                    </a:lnTo>
                    <a:cubicBezTo>
                      <a:pt x="295" y="249895"/>
                      <a:pt x="9480" y="258838"/>
                      <a:pt x="20707" y="258834"/>
                    </a:cubicBezTo>
                    <a:lnTo>
                      <a:pt x="443015" y="258834"/>
                    </a:lnTo>
                    <a:cubicBezTo>
                      <a:pt x="454238" y="258539"/>
                      <a:pt x="463181" y="249354"/>
                      <a:pt x="463177" y="238127"/>
                    </a:cubicBezTo>
                    <a:lnTo>
                      <a:pt x="463177" y="20162"/>
                    </a:lnTo>
                    <a:cubicBezTo>
                      <a:pt x="462881" y="8939"/>
                      <a:pt x="453697" y="-4"/>
                      <a:pt x="442470" y="0"/>
                    </a:cubicBezTo>
                    <a:close/>
                    <a:moveTo>
                      <a:pt x="449554" y="238127"/>
                    </a:moveTo>
                    <a:cubicBezTo>
                      <a:pt x="449554" y="242040"/>
                      <a:pt x="446383" y="245211"/>
                      <a:pt x="442470" y="245211"/>
                    </a:cubicBezTo>
                    <a:lnTo>
                      <a:pt x="20162" y="245211"/>
                    </a:lnTo>
                    <a:cubicBezTo>
                      <a:pt x="16464" y="244927"/>
                      <a:pt x="13612" y="241837"/>
                      <a:pt x="13623" y="238127"/>
                    </a:cubicBezTo>
                    <a:lnTo>
                      <a:pt x="13623" y="20162"/>
                    </a:lnTo>
                    <a:cubicBezTo>
                      <a:pt x="13908" y="16464"/>
                      <a:pt x="16998" y="13612"/>
                      <a:pt x="20707" y="13623"/>
                    </a:cubicBezTo>
                    <a:lnTo>
                      <a:pt x="443015" y="13623"/>
                    </a:lnTo>
                    <a:cubicBezTo>
                      <a:pt x="446928" y="13623"/>
                      <a:pt x="450099" y="16794"/>
                      <a:pt x="450099" y="20707"/>
                    </a:cubicBezTo>
                    <a:close/>
                  </a:path>
                </a:pathLst>
              </a:custGeom>
              <a:grpFill/>
              <a:ln w="1344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Ubuntu"/>
                  <a:ea typeface="+mn-ea"/>
                  <a:cs typeface="+mn-cs"/>
                </a:endParaRPr>
              </a:p>
            </p:txBody>
          </p:sp>
          <p:sp>
            <p:nvSpPr>
              <p:cNvPr id="149" name="Freeform: Shape 78">
                <a:extLst>
                  <a:ext uri="{FF2B5EF4-FFF2-40B4-BE49-F238E27FC236}">
                    <a16:creationId xmlns:a16="http://schemas.microsoft.com/office/drawing/2014/main" id="{E11E711F-A6AF-0A9D-B619-83EF9DA0415C}"/>
                  </a:ext>
                </a:extLst>
              </p:cNvPr>
              <p:cNvSpPr/>
              <p:nvPr/>
            </p:nvSpPr>
            <p:spPr>
              <a:xfrm>
                <a:off x="5900240" y="3420002"/>
                <a:ext cx="81737" cy="81737"/>
              </a:xfrm>
              <a:custGeom>
                <a:avLst/>
                <a:gdLst>
                  <a:gd name="connsiteX0" fmla="*/ 91545 w 81737"/>
                  <a:gd name="connsiteY0" fmla="*/ 45909 h 81737"/>
                  <a:gd name="connsiteX1" fmla="*/ 45909 w 81737"/>
                  <a:gd name="connsiteY1" fmla="*/ 0 h 81737"/>
                  <a:gd name="connsiteX2" fmla="*/ 0 w 81737"/>
                  <a:gd name="connsiteY2" fmla="*/ 45637 h 81737"/>
                  <a:gd name="connsiteX3" fmla="*/ 45637 w 81737"/>
                  <a:gd name="connsiteY3" fmla="*/ 91546 h 81737"/>
                  <a:gd name="connsiteX4" fmla="*/ 45909 w 81737"/>
                  <a:gd name="connsiteY4" fmla="*/ 91546 h 81737"/>
                  <a:gd name="connsiteX5" fmla="*/ 91545 w 81737"/>
                  <a:gd name="connsiteY5" fmla="*/ 45909 h 81737"/>
                  <a:gd name="connsiteX6" fmla="*/ 13759 w 81737"/>
                  <a:gd name="connsiteY6" fmla="*/ 45909 h 81737"/>
                  <a:gd name="connsiteX7" fmla="*/ 45772 w 81737"/>
                  <a:gd name="connsiteY7" fmla="*/ 13623 h 81737"/>
                  <a:gd name="connsiteX8" fmla="*/ 78058 w 81737"/>
                  <a:gd name="connsiteY8" fmla="*/ 45637 h 81737"/>
                  <a:gd name="connsiteX9" fmla="*/ 46045 w 81737"/>
                  <a:gd name="connsiteY9" fmla="*/ 77923 h 81737"/>
                  <a:gd name="connsiteX10" fmla="*/ 45909 w 81737"/>
                  <a:gd name="connsiteY10" fmla="*/ 77923 h 81737"/>
                  <a:gd name="connsiteX11" fmla="*/ 13759 w 81737"/>
                  <a:gd name="connsiteY11" fmla="*/ 45909 h 817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81737" h="81737">
                    <a:moveTo>
                      <a:pt x="91545" y="45909"/>
                    </a:moveTo>
                    <a:cubicBezTo>
                      <a:pt x="91621" y="20629"/>
                      <a:pt x="71188" y="75"/>
                      <a:pt x="45909" y="0"/>
                    </a:cubicBezTo>
                    <a:cubicBezTo>
                      <a:pt x="20629" y="-75"/>
                      <a:pt x="75" y="20358"/>
                      <a:pt x="0" y="45637"/>
                    </a:cubicBezTo>
                    <a:cubicBezTo>
                      <a:pt x="-75" y="70917"/>
                      <a:pt x="20357" y="91471"/>
                      <a:pt x="45637" y="91546"/>
                    </a:cubicBezTo>
                    <a:cubicBezTo>
                      <a:pt x="45727" y="91546"/>
                      <a:pt x="45818" y="91546"/>
                      <a:pt x="45909" y="91546"/>
                    </a:cubicBezTo>
                    <a:cubicBezTo>
                      <a:pt x="71113" y="91546"/>
                      <a:pt x="91545" y="71114"/>
                      <a:pt x="91545" y="45909"/>
                    </a:cubicBezTo>
                    <a:close/>
                    <a:moveTo>
                      <a:pt x="13759" y="45909"/>
                    </a:moveTo>
                    <a:cubicBezTo>
                      <a:pt x="13684" y="28153"/>
                      <a:pt x="28017" y="13698"/>
                      <a:pt x="45772" y="13623"/>
                    </a:cubicBezTo>
                    <a:cubicBezTo>
                      <a:pt x="63528" y="13548"/>
                      <a:pt x="77983" y="27881"/>
                      <a:pt x="78058" y="45637"/>
                    </a:cubicBezTo>
                    <a:cubicBezTo>
                      <a:pt x="78133" y="63393"/>
                      <a:pt x="63801" y="77848"/>
                      <a:pt x="46045" y="77923"/>
                    </a:cubicBezTo>
                    <a:cubicBezTo>
                      <a:pt x="45999" y="77923"/>
                      <a:pt x="45954" y="77923"/>
                      <a:pt x="45909" y="77923"/>
                    </a:cubicBezTo>
                    <a:cubicBezTo>
                      <a:pt x="28206" y="77923"/>
                      <a:pt x="13834" y="63612"/>
                      <a:pt x="13759" y="45909"/>
                    </a:cubicBezTo>
                    <a:close/>
                  </a:path>
                </a:pathLst>
              </a:custGeom>
              <a:grpFill/>
              <a:ln w="1344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Ubuntu"/>
                  <a:ea typeface="+mn-ea"/>
                  <a:cs typeface="+mn-cs"/>
                </a:endParaRPr>
              </a:p>
            </p:txBody>
          </p:sp>
          <p:sp>
            <p:nvSpPr>
              <p:cNvPr id="150" name="Freeform: Shape 79">
                <a:extLst>
                  <a:ext uri="{FF2B5EF4-FFF2-40B4-BE49-F238E27FC236}">
                    <a16:creationId xmlns:a16="http://schemas.microsoft.com/office/drawing/2014/main" id="{02476D0B-EF8C-C4A4-68C4-638F80560495}"/>
                  </a:ext>
                </a:extLst>
              </p:cNvPr>
              <p:cNvSpPr/>
              <p:nvPr/>
            </p:nvSpPr>
            <p:spPr>
              <a:xfrm>
                <a:off x="6050364" y="3420275"/>
                <a:ext cx="81737" cy="81737"/>
              </a:xfrm>
              <a:custGeom>
                <a:avLst/>
                <a:gdLst>
                  <a:gd name="connsiteX0" fmla="*/ 91273 w 81737"/>
                  <a:gd name="connsiteY0" fmla="*/ 45637 h 81737"/>
                  <a:gd name="connsiteX1" fmla="*/ 45637 w 81737"/>
                  <a:gd name="connsiteY1" fmla="*/ 0 h 81737"/>
                  <a:gd name="connsiteX2" fmla="*/ 0 w 81737"/>
                  <a:gd name="connsiteY2" fmla="*/ 45637 h 81737"/>
                  <a:gd name="connsiteX3" fmla="*/ 45637 w 81737"/>
                  <a:gd name="connsiteY3" fmla="*/ 91273 h 81737"/>
                  <a:gd name="connsiteX4" fmla="*/ 91273 w 81737"/>
                  <a:gd name="connsiteY4" fmla="*/ 45637 h 81737"/>
                  <a:gd name="connsiteX5" fmla="*/ 13623 w 81737"/>
                  <a:gd name="connsiteY5" fmla="*/ 45637 h 81737"/>
                  <a:gd name="connsiteX6" fmla="*/ 45637 w 81737"/>
                  <a:gd name="connsiteY6" fmla="*/ 13623 h 81737"/>
                  <a:gd name="connsiteX7" fmla="*/ 77650 w 81737"/>
                  <a:gd name="connsiteY7" fmla="*/ 45637 h 81737"/>
                  <a:gd name="connsiteX8" fmla="*/ 45637 w 81737"/>
                  <a:gd name="connsiteY8" fmla="*/ 77650 h 81737"/>
                  <a:gd name="connsiteX9" fmla="*/ 13623 w 81737"/>
                  <a:gd name="connsiteY9" fmla="*/ 45637 h 817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1737" h="81737">
                    <a:moveTo>
                      <a:pt x="91273" y="45637"/>
                    </a:moveTo>
                    <a:cubicBezTo>
                      <a:pt x="91273" y="20432"/>
                      <a:pt x="70842" y="0"/>
                      <a:pt x="45637" y="0"/>
                    </a:cubicBezTo>
                    <a:cubicBezTo>
                      <a:pt x="20432" y="0"/>
                      <a:pt x="0" y="20432"/>
                      <a:pt x="0" y="45637"/>
                    </a:cubicBezTo>
                    <a:cubicBezTo>
                      <a:pt x="0" y="70842"/>
                      <a:pt x="20432" y="91273"/>
                      <a:pt x="45637" y="91273"/>
                    </a:cubicBezTo>
                    <a:cubicBezTo>
                      <a:pt x="70842" y="91273"/>
                      <a:pt x="91273" y="70842"/>
                      <a:pt x="91273" y="45637"/>
                    </a:cubicBezTo>
                    <a:close/>
                    <a:moveTo>
                      <a:pt x="13623" y="45637"/>
                    </a:moveTo>
                    <a:cubicBezTo>
                      <a:pt x="13623" y="27955"/>
                      <a:pt x="27955" y="13623"/>
                      <a:pt x="45637" y="13623"/>
                    </a:cubicBezTo>
                    <a:cubicBezTo>
                      <a:pt x="63318" y="13623"/>
                      <a:pt x="77650" y="27955"/>
                      <a:pt x="77650" y="45637"/>
                    </a:cubicBezTo>
                    <a:cubicBezTo>
                      <a:pt x="77650" y="63318"/>
                      <a:pt x="63318" y="77650"/>
                      <a:pt x="45637" y="77650"/>
                    </a:cubicBezTo>
                    <a:cubicBezTo>
                      <a:pt x="27955" y="77650"/>
                      <a:pt x="13623" y="63318"/>
                      <a:pt x="13623" y="45637"/>
                    </a:cubicBezTo>
                    <a:close/>
                  </a:path>
                </a:pathLst>
              </a:custGeom>
              <a:grpFill/>
              <a:ln w="1344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Ubuntu"/>
                  <a:ea typeface="+mn-ea"/>
                  <a:cs typeface="+mn-cs"/>
                </a:endParaRPr>
              </a:p>
            </p:txBody>
          </p:sp>
          <p:sp>
            <p:nvSpPr>
              <p:cNvPr id="151" name="Freeform: Shape 80">
                <a:extLst>
                  <a:ext uri="{FF2B5EF4-FFF2-40B4-BE49-F238E27FC236}">
                    <a16:creationId xmlns:a16="http://schemas.microsoft.com/office/drawing/2014/main" id="{BCC12792-D598-92B9-78F9-6240AF8B824F}"/>
                  </a:ext>
                </a:extLst>
              </p:cNvPr>
              <p:cNvSpPr/>
              <p:nvPr/>
            </p:nvSpPr>
            <p:spPr>
              <a:xfrm>
                <a:off x="6050364" y="3175064"/>
                <a:ext cx="81737" cy="81737"/>
              </a:xfrm>
              <a:custGeom>
                <a:avLst/>
                <a:gdLst>
                  <a:gd name="connsiteX0" fmla="*/ 45637 w 81737"/>
                  <a:gd name="connsiteY0" fmla="*/ 91273 h 81737"/>
                  <a:gd name="connsiteX1" fmla="*/ 91273 w 81737"/>
                  <a:gd name="connsiteY1" fmla="*/ 45637 h 81737"/>
                  <a:gd name="connsiteX2" fmla="*/ 45637 w 81737"/>
                  <a:gd name="connsiteY2" fmla="*/ 0 h 81737"/>
                  <a:gd name="connsiteX3" fmla="*/ 0 w 81737"/>
                  <a:gd name="connsiteY3" fmla="*/ 45637 h 81737"/>
                  <a:gd name="connsiteX4" fmla="*/ 45637 w 81737"/>
                  <a:gd name="connsiteY4" fmla="*/ 91273 h 81737"/>
                  <a:gd name="connsiteX5" fmla="*/ 45637 w 81737"/>
                  <a:gd name="connsiteY5" fmla="*/ 13623 h 81737"/>
                  <a:gd name="connsiteX6" fmla="*/ 77650 w 81737"/>
                  <a:gd name="connsiteY6" fmla="*/ 45637 h 81737"/>
                  <a:gd name="connsiteX7" fmla="*/ 45637 w 81737"/>
                  <a:gd name="connsiteY7" fmla="*/ 77650 h 81737"/>
                  <a:gd name="connsiteX8" fmla="*/ 13623 w 81737"/>
                  <a:gd name="connsiteY8" fmla="*/ 45637 h 81737"/>
                  <a:gd name="connsiteX9" fmla="*/ 45637 w 81737"/>
                  <a:gd name="connsiteY9" fmla="*/ 13623 h 817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1737" h="81737">
                    <a:moveTo>
                      <a:pt x="45637" y="91273"/>
                    </a:moveTo>
                    <a:cubicBezTo>
                      <a:pt x="70842" y="91273"/>
                      <a:pt x="91273" y="70841"/>
                      <a:pt x="91273" y="45637"/>
                    </a:cubicBezTo>
                    <a:cubicBezTo>
                      <a:pt x="91273" y="20432"/>
                      <a:pt x="70842" y="0"/>
                      <a:pt x="45637" y="0"/>
                    </a:cubicBezTo>
                    <a:cubicBezTo>
                      <a:pt x="20432" y="0"/>
                      <a:pt x="0" y="20432"/>
                      <a:pt x="0" y="45637"/>
                    </a:cubicBezTo>
                    <a:cubicBezTo>
                      <a:pt x="0" y="70841"/>
                      <a:pt x="20432" y="91273"/>
                      <a:pt x="45637" y="91273"/>
                    </a:cubicBezTo>
                    <a:close/>
                    <a:moveTo>
                      <a:pt x="45637" y="13623"/>
                    </a:moveTo>
                    <a:cubicBezTo>
                      <a:pt x="63318" y="13623"/>
                      <a:pt x="77650" y="27956"/>
                      <a:pt x="77650" y="45637"/>
                    </a:cubicBezTo>
                    <a:cubicBezTo>
                      <a:pt x="77650" y="63317"/>
                      <a:pt x="63318" y="77650"/>
                      <a:pt x="45637" y="77650"/>
                    </a:cubicBezTo>
                    <a:cubicBezTo>
                      <a:pt x="27955" y="77650"/>
                      <a:pt x="13623" y="63317"/>
                      <a:pt x="13623" y="45637"/>
                    </a:cubicBezTo>
                    <a:cubicBezTo>
                      <a:pt x="13623" y="27956"/>
                      <a:pt x="27955" y="13623"/>
                      <a:pt x="45637" y="13623"/>
                    </a:cubicBezTo>
                    <a:close/>
                  </a:path>
                </a:pathLst>
              </a:custGeom>
              <a:grpFill/>
              <a:ln w="1344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Ubuntu"/>
                  <a:ea typeface="+mn-ea"/>
                  <a:cs typeface="+mn-cs"/>
                </a:endParaRPr>
              </a:p>
            </p:txBody>
          </p:sp>
          <p:sp>
            <p:nvSpPr>
              <p:cNvPr id="152" name="Freeform: Shape 81">
                <a:extLst>
                  <a:ext uri="{FF2B5EF4-FFF2-40B4-BE49-F238E27FC236}">
                    <a16:creationId xmlns:a16="http://schemas.microsoft.com/office/drawing/2014/main" id="{776D11F0-0432-B76D-821D-102A1E411792}"/>
                  </a:ext>
                </a:extLst>
              </p:cNvPr>
              <p:cNvSpPr/>
              <p:nvPr/>
            </p:nvSpPr>
            <p:spPr>
              <a:xfrm>
                <a:off x="6014263" y="3271377"/>
                <a:ext cx="163474" cy="95360"/>
              </a:xfrm>
              <a:custGeom>
                <a:avLst/>
                <a:gdLst>
                  <a:gd name="connsiteX0" fmla="*/ 109664 w 163474"/>
                  <a:gd name="connsiteY0" fmla="*/ 0 h 95359"/>
                  <a:gd name="connsiteX1" fmla="*/ 54491 w 163474"/>
                  <a:gd name="connsiteY1" fmla="*/ 0 h 95359"/>
                  <a:gd name="connsiteX2" fmla="*/ 0 w 163474"/>
                  <a:gd name="connsiteY2" fmla="*/ 53810 h 95359"/>
                  <a:gd name="connsiteX3" fmla="*/ 0 w 163474"/>
                  <a:gd name="connsiteY3" fmla="*/ 78059 h 95359"/>
                  <a:gd name="connsiteX4" fmla="*/ 21115 w 163474"/>
                  <a:gd name="connsiteY4" fmla="*/ 99174 h 95359"/>
                  <a:gd name="connsiteX5" fmla="*/ 142359 w 163474"/>
                  <a:gd name="connsiteY5" fmla="*/ 99174 h 95359"/>
                  <a:gd name="connsiteX6" fmla="*/ 163474 w 163474"/>
                  <a:gd name="connsiteY6" fmla="*/ 78333 h 95359"/>
                  <a:gd name="connsiteX7" fmla="*/ 163474 w 163474"/>
                  <a:gd name="connsiteY7" fmla="*/ 78059 h 95359"/>
                  <a:gd name="connsiteX8" fmla="*/ 163474 w 163474"/>
                  <a:gd name="connsiteY8" fmla="*/ 53810 h 95359"/>
                  <a:gd name="connsiteX9" fmla="*/ 109664 w 163474"/>
                  <a:gd name="connsiteY9" fmla="*/ 0 h 95359"/>
                  <a:gd name="connsiteX10" fmla="*/ 149851 w 163474"/>
                  <a:gd name="connsiteY10" fmla="*/ 78059 h 95359"/>
                  <a:gd name="connsiteX11" fmla="*/ 142359 w 163474"/>
                  <a:gd name="connsiteY11" fmla="*/ 85552 h 95359"/>
                  <a:gd name="connsiteX12" fmla="*/ 21115 w 163474"/>
                  <a:gd name="connsiteY12" fmla="*/ 85552 h 95359"/>
                  <a:gd name="connsiteX13" fmla="*/ 13623 w 163474"/>
                  <a:gd name="connsiteY13" fmla="*/ 78059 h 95359"/>
                  <a:gd name="connsiteX14" fmla="*/ 13623 w 163474"/>
                  <a:gd name="connsiteY14" fmla="*/ 53810 h 95359"/>
                  <a:gd name="connsiteX15" fmla="*/ 54491 w 163474"/>
                  <a:gd name="connsiteY15" fmla="*/ 13623 h 95359"/>
                  <a:gd name="connsiteX16" fmla="*/ 110209 w 163474"/>
                  <a:gd name="connsiteY16" fmla="*/ 13623 h 95359"/>
                  <a:gd name="connsiteX17" fmla="*/ 149851 w 163474"/>
                  <a:gd name="connsiteY17" fmla="*/ 53810 h 95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63474" h="95359">
                    <a:moveTo>
                      <a:pt x="109664" y="0"/>
                    </a:moveTo>
                    <a:lnTo>
                      <a:pt x="54491" y="0"/>
                    </a:lnTo>
                    <a:cubicBezTo>
                      <a:pt x="24660" y="-2"/>
                      <a:pt x="373" y="23982"/>
                      <a:pt x="0" y="53810"/>
                    </a:cubicBezTo>
                    <a:lnTo>
                      <a:pt x="0" y="78059"/>
                    </a:lnTo>
                    <a:cubicBezTo>
                      <a:pt x="0" y="89720"/>
                      <a:pt x="9454" y="99174"/>
                      <a:pt x="21115" y="99174"/>
                    </a:cubicBezTo>
                    <a:lnTo>
                      <a:pt x="142359" y="99174"/>
                    </a:lnTo>
                    <a:cubicBezTo>
                      <a:pt x="153945" y="99249"/>
                      <a:pt x="163399" y="89919"/>
                      <a:pt x="163474" y="78333"/>
                    </a:cubicBezTo>
                    <a:cubicBezTo>
                      <a:pt x="163474" y="78241"/>
                      <a:pt x="163474" y="78150"/>
                      <a:pt x="163474" y="78059"/>
                    </a:cubicBezTo>
                    <a:lnTo>
                      <a:pt x="163474" y="53810"/>
                    </a:lnTo>
                    <a:cubicBezTo>
                      <a:pt x="163106" y="24245"/>
                      <a:pt x="139230" y="367"/>
                      <a:pt x="109664" y="0"/>
                    </a:cubicBezTo>
                    <a:close/>
                    <a:moveTo>
                      <a:pt x="149851" y="78059"/>
                    </a:moveTo>
                    <a:cubicBezTo>
                      <a:pt x="149851" y="82198"/>
                      <a:pt x="146497" y="85552"/>
                      <a:pt x="142359" y="85552"/>
                    </a:cubicBezTo>
                    <a:lnTo>
                      <a:pt x="21115" y="85552"/>
                    </a:lnTo>
                    <a:cubicBezTo>
                      <a:pt x="16977" y="85552"/>
                      <a:pt x="13623" y="82198"/>
                      <a:pt x="13623" y="78059"/>
                    </a:cubicBezTo>
                    <a:lnTo>
                      <a:pt x="13623" y="53810"/>
                    </a:lnTo>
                    <a:cubicBezTo>
                      <a:pt x="13995" y="31506"/>
                      <a:pt x="32184" y="13620"/>
                      <a:pt x="54491" y="13623"/>
                    </a:cubicBezTo>
                    <a:lnTo>
                      <a:pt x="110209" y="13623"/>
                    </a:lnTo>
                    <a:cubicBezTo>
                      <a:pt x="132038" y="14275"/>
                      <a:pt x="149497" y="31974"/>
                      <a:pt x="149851" y="53810"/>
                    </a:cubicBezTo>
                    <a:close/>
                  </a:path>
                </a:pathLst>
              </a:custGeom>
              <a:grpFill/>
              <a:ln w="1344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Ubuntu"/>
                  <a:ea typeface="+mn-ea"/>
                  <a:cs typeface="+mn-cs"/>
                </a:endParaRPr>
              </a:p>
            </p:txBody>
          </p:sp>
          <p:sp>
            <p:nvSpPr>
              <p:cNvPr id="153" name="Freeform: Shape 82">
                <a:extLst>
                  <a:ext uri="{FF2B5EF4-FFF2-40B4-BE49-F238E27FC236}">
                    <a16:creationId xmlns:a16="http://schemas.microsoft.com/office/drawing/2014/main" id="{ACB3234C-062F-F54A-89EA-0C80D5A64862}"/>
                  </a:ext>
                </a:extLst>
              </p:cNvPr>
              <p:cNvSpPr/>
              <p:nvPr/>
            </p:nvSpPr>
            <p:spPr>
              <a:xfrm>
                <a:off x="6200079" y="3420002"/>
                <a:ext cx="81737" cy="81737"/>
              </a:xfrm>
              <a:custGeom>
                <a:avLst/>
                <a:gdLst>
                  <a:gd name="connsiteX0" fmla="*/ 91546 w 81737"/>
                  <a:gd name="connsiteY0" fmla="*/ 45909 h 81737"/>
                  <a:gd name="connsiteX1" fmla="*/ 45909 w 81737"/>
                  <a:gd name="connsiteY1" fmla="*/ 0 h 81737"/>
                  <a:gd name="connsiteX2" fmla="*/ 0 w 81737"/>
                  <a:gd name="connsiteY2" fmla="*/ 45637 h 81737"/>
                  <a:gd name="connsiteX3" fmla="*/ 45637 w 81737"/>
                  <a:gd name="connsiteY3" fmla="*/ 91546 h 81737"/>
                  <a:gd name="connsiteX4" fmla="*/ 45773 w 81737"/>
                  <a:gd name="connsiteY4" fmla="*/ 91546 h 81737"/>
                  <a:gd name="connsiteX5" fmla="*/ 91546 w 81737"/>
                  <a:gd name="connsiteY5" fmla="*/ 45909 h 81737"/>
                  <a:gd name="connsiteX6" fmla="*/ 13759 w 81737"/>
                  <a:gd name="connsiteY6" fmla="*/ 45909 h 81737"/>
                  <a:gd name="connsiteX7" fmla="*/ 45773 w 81737"/>
                  <a:gd name="connsiteY7" fmla="*/ 13623 h 81737"/>
                  <a:gd name="connsiteX8" fmla="*/ 78059 w 81737"/>
                  <a:gd name="connsiteY8" fmla="*/ 45637 h 81737"/>
                  <a:gd name="connsiteX9" fmla="*/ 46045 w 81737"/>
                  <a:gd name="connsiteY9" fmla="*/ 77923 h 81737"/>
                  <a:gd name="connsiteX10" fmla="*/ 45773 w 81737"/>
                  <a:gd name="connsiteY10" fmla="*/ 77923 h 81737"/>
                  <a:gd name="connsiteX11" fmla="*/ 13759 w 81737"/>
                  <a:gd name="connsiteY11" fmla="*/ 45909 h 817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81737" h="81737">
                    <a:moveTo>
                      <a:pt x="91546" y="45909"/>
                    </a:moveTo>
                    <a:cubicBezTo>
                      <a:pt x="91621" y="20629"/>
                      <a:pt x="71189" y="75"/>
                      <a:pt x="45909" y="0"/>
                    </a:cubicBezTo>
                    <a:cubicBezTo>
                      <a:pt x="20629" y="-75"/>
                      <a:pt x="76" y="20357"/>
                      <a:pt x="0" y="45637"/>
                    </a:cubicBezTo>
                    <a:cubicBezTo>
                      <a:pt x="-75" y="70917"/>
                      <a:pt x="20357" y="91471"/>
                      <a:pt x="45637" y="91546"/>
                    </a:cubicBezTo>
                    <a:cubicBezTo>
                      <a:pt x="45682" y="91546"/>
                      <a:pt x="45728" y="91546"/>
                      <a:pt x="45773" y="91546"/>
                    </a:cubicBezTo>
                    <a:cubicBezTo>
                      <a:pt x="71000" y="91546"/>
                      <a:pt x="91471" y="71136"/>
                      <a:pt x="91546" y="45909"/>
                    </a:cubicBezTo>
                    <a:close/>
                    <a:moveTo>
                      <a:pt x="13759" y="45909"/>
                    </a:moveTo>
                    <a:cubicBezTo>
                      <a:pt x="13684" y="28153"/>
                      <a:pt x="28017" y="13699"/>
                      <a:pt x="45773" y="13623"/>
                    </a:cubicBezTo>
                    <a:cubicBezTo>
                      <a:pt x="63529" y="13548"/>
                      <a:pt x="77983" y="27882"/>
                      <a:pt x="78059" y="45637"/>
                    </a:cubicBezTo>
                    <a:cubicBezTo>
                      <a:pt x="78134" y="63393"/>
                      <a:pt x="63800" y="77848"/>
                      <a:pt x="46045" y="77923"/>
                    </a:cubicBezTo>
                    <a:cubicBezTo>
                      <a:pt x="45954" y="77923"/>
                      <a:pt x="45864" y="77923"/>
                      <a:pt x="45773" y="77923"/>
                    </a:cubicBezTo>
                    <a:cubicBezTo>
                      <a:pt x="28092" y="77923"/>
                      <a:pt x="13759" y="63590"/>
                      <a:pt x="13759" y="45909"/>
                    </a:cubicBezTo>
                    <a:close/>
                  </a:path>
                </a:pathLst>
              </a:custGeom>
              <a:grpFill/>
              <a:ln w="1344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Ubuntu"/>
                  <a:ea typeface="+mn-ea"/>
                  <a:cs typeface="+mn-cs"/>
                </a:endParaRPr>
              </a:p>
            </p:txBody>
          </p:sp>
          <p:sp>
            <p:nvSpPr>
              <p:cNvPr id="154" name="Freeform: Shape 83">
                <a:extLst>
                  <a:ext uri="{FF2B5EF4-FFF2-40B4-BE49-F238E27FC236}">
                    <a16:creationId xmlns:a16="http://schemas.microsoft.com/office/drawing/2014/main" id="{CD661511-0A47-9875-8C74-E34304709906}"/>
                  </a:ext>
                </a:extLst>
              </p:cNvPr>
              <p:cNvSpPr/>
              <p:nvPr/>
            </p:nvSpPr>
            <p:spPr>
              <a:xfrm>
                <a:off x="5865093" y="3516578"/>
                <a:ext cx="449554" cy="95360"/>
              </a:xfrm>
              <a:custGeom>
                <a:avLst/>
                <a:gdLst>
                  <a:gd name="connsiteX0" fmla="*/ 408686 w 449554"/>
                  <a:gd name="connsiteY0" fmla="*/ 10 h 95359"/>
                  <a:gd name="connsiteX1" fmla="*/ 353513 w 449554"/>
                  <a:gd name="connsiteY1" fmla="*/ 10 h 95359"/>
                  <a:gd name="connsiteX2" fmla="*/ 306378 w 449554"/>
                  <a:gd name="connsiteY2" fmla="*/ 28210 h 95359"/>
                  <a:gd name="connsiteX3" fmla="*/ 259379 w 449554"/>
                  <a:gd name="connsiteY3" fmla="*/ 10 h 95359"/>
                  <a:gd name="connsiteX4" fmla="*/ 203662 w 449554"/>
                  <a:gd name="connsiteY4" fmla="*/ 10 h 95359"/>
                  <a:gd name="connsiteX5" fmla="*/ 156527 w 449554"/>
                  <a:gd name="connsiteY5" fmla="*/ 28210 h 95359"/>
                  <a:gd name="connsiteX6" fmla="*/ 108302 w 449554"/>
                  <a:gd name="connsiteY6" fmla="*/ 10 h 95359"/>
                  <a:gd name="connsiteX7" fmla="*/ 53810 w 449554"/>
                  <a:gd name="connsiteY7" fmla="*/ 10 h 95359"/>
                  <a:gd name="connsiteX8" fmla="*/ 0 w 449554"/>
                  <a:gd name="connsiteY8" fmla="*/ 54502 h 95359"/>
                  <a:gd name="connsiteX9" fmla="*/ 0 w 449554"/>
                  <a:gd name="connsiteY9" fmla="*/ 78751 h 95359"/>
                  <a:gd name="connsiteX10" fmla="*/ 20434 w 449554"/>
                  <a:gd name="connsiteY10" fmla="*/ 99185 h 95359"/>
                  <a:gd name="connsiteX11" fmla="*/ 141678 w 449554"/>
                  <a:gd name="connsiteY11" fmla="*/ 99185 h 95359"/>
                  <a:gd name="connsiteX12" fmla="*/ 155982 w 449554"/>
                  <a:gd name="connsiteY12" fmla="*/ 93463 h 95359"/>
                  <a:gd name="connsiteX13" fmla="*/ 170286 w 449554"/>
                  <a:gd name="connsiteY13" fmla="*/ 99185 h 95359"/>
                  <a:gd name="connsiteX14" fmla="*/ 291529 w 449554"/>
                  <a:gd name="connsiteY14" fmla="*/ 99185 h 95359"/>
                  <a:gd name="connsiteX15" fmla="*/ 305833 w 449554"/>
                  <a:gd name="connsiteY15" fmla="*/ 93463 h 95359"/>
                  <a:gd name="connsiteX16" fmla="*/ 320137 w 449554"/>
                  <a:gd name="connsiteY16" fmla="*/ 99185 h 95359"/>
                  <a:gd name="connsiteX17" fmla="*/ 441380 w 449554"/>
                  <a:gd name="connsiteY17" fmla="*/ 99185 h 95359"/>
                  <a:gd name="connsiteX18" fmla="*/ 462496 w 449554"/>
                  <a:gd name="connsiteY18" fmla="*/ 78343 h 95359"/>
                  <a:gd name="connsiteX19" fmla="*/ 462496 w 449554"/>
                  <a:gd name="connsiteY19" fmla="*/ 78069 h 95359"/>
                  <a:gd name="connsiteX20" fmla="*/ 462496 w 449554"/>
                  <a:gd name="connsiteY20" fmla="*/ 53821 h 95359"/>
                  <a:gd name="connsiteX21" fmla="*/ 408686 w 449554"/>
                  <a:gd name="connsiteY21" fmla="*/ 10 h 95359"/>
                  <a:gd name="connsiteX22" fmla="*/ 149170 w 449554"/>
                  <a:gd name="connsiteY22" fmla="*/ 78069 h 95359"/>
                  <a:gd name="connsiteX23" fmla="*/ 141678 w 449554"/>
                  <a:gd name="connsiteY23" fmla="*/ 85562 h 95359"/>
                  <a:gd name="connsiteX24" fmla="*/ 20434 w 449554"/>
                  <a:gd name="connsiteY24" fmla="*/ 85562 h 95359"/>
                  <a:gd name="connsiteX25" fmla="*/ 12942 w 449554"/>
                  <a:gd name="connsiteY25" fmla="*/ 78069 h 95359"/>
                  <a:gd name="connsiteX26" fmla="*/ 12942 w 449554"/>
                  <a:gd name="connsiteY26" fmla="*/ 53821 h 95359"/>
                  <a:gd name="connsiteX27" fmla="*/ 53810 w 449554"/>
                  <a:gd name="connsiteY27" fmla="*/ 12952 h 95359"/>
                  <a:gd name="connsiteX28" fmla="*/ 108302 w 449554"/>
                  <a:gd name="connsiteY28" fmla="*/ 12952 h 95359"/>
                  <a:gd name="connsiteX29" fmla="*/ 149170 w 449554"/>
                  <a:gd name="connsiteY29" fmla="*/ 53821 h 95359"/>
                  <a:gd name="connsiteX30" fmla="*/ 299022 w 449554"/>
                  <a:gd name="connsiteY30" fmla="*/ 78069 h 95359"/>
                  <a:gd name="connsiteX31" fmla="*/ 291529 w 449554"/>
                  <a:gd name="connsiteY31" fmla="*/ 85562 h 95359"/>
                  <a:gd name="connsiteX32" fmla="*/ 170286 w 449554"/>
                  <a:gd name="connsiteY32" fmla="*/ 85562 h 95359"/>
                  <a:gd name="connsiteX33" fmla="*/ 162793 w 449554"/>
                  <a:gd name="connsiteY33" fmla="*/ 78069 h 95359"/>
                  <a:gd name="connsiteX34" fmla="*/ 162793 w 449554"/>
                  <a:gd name="connsiteY34" fmla="*/ 53821 h 95359"/>
                  <a:gd name="connsiteX35" fmla="*/ 203662 w 449554"/>
                  <a:gd name="connsiteY35" fmla="*/ 12952 h 95359"/>
                  <a:gd name="connsiteX36" fmla="*/ 259379 w 449554"/>
                  <a:gd name="connsiteY36" fmla="*/ 12952 h 95359"/>
                  <a:gd name="connsiteX37" fmla="*/ 299567 w 449554"/>
                  <a:gd name="connsiteY37" fmla="*/ 53821 h 95359"/>
                  <a:gd name="connsiteX38" fmla="*/ 448873 w 449554"/>
                  <a:gd name="connsiteY38" fmla="*/ 78069 h 95359"/>
                  <a:gd name="connsiteX39" fmla="*/ 441380 w 449554"/>
                  <a:gd name="connsiteY39" fmla="*/ 85562 h 95359"/>
                  <a:gd name="connsiteX40" fmla="*/ 320137 w 449554"/>
                  <a:gd name="connsiteY40" fmla="*/ 85562 h 95359"/>
                  <a:gd name="connsiteX41" fmla="*/ 312644 w 449554"/>
                  <a:gd name="connsiteY41" fmla="*/ 78069 h 95359"/>
                  <a:gd name="connsiteX42" fmla="*/ 312644 w 449554"/>
                  <a:gd name="connsiteY42" fmla="*/ 53821 h 95359"/>
                  <a:gd name="connsiteX43" fmla="*/ 353513 w 449554"/>
                  <a:gd name="connsiteY43" fmla="*/ 12952 h 95359"/>
                  <a:gd name="connsiteX44" fmla="*/ 409231 w 449554"/>
                  <a:gd name="connsiteY44" fmla="*/ 12952 h 95359"/>
                  <a:gd name="connsiteX45" fmla="*/ 449418 w 449554"/>
                  <a:gd name="connsiteY45" fmla="*/ 53821 h 95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</a:cxnLst>
                <a:rect l="l" t="t" r="r" b="b"/>
                <a:pathLst>
                  <a:path w="449554" h="95359">
                    <a:moveTo>
                      <a:pt x="408686" y="10"/>
                    </a:moveTo>
                    <a:lnTo>
                      <a:pt x="353513" y="10"/>
                    </a:lnTo>
                    <a:cubicBezTo>
                      <a:pt x="333809" y="20"/>
                      <a:pt x="315703" y="10853"/>
                      <a:pt x="306378" y="28210"/>
                    </a:cubicBezTo>
                    <a:cubicBezTo>
                      <a:pt x="297076" y="10895"/>
                      <a:pt x="279034" y="70"/>
                      <a:pt x="259379" y="10"/>
                    </a:cubicBezTo>
                    <a:lnTo>
                      <a:pt x="203662" y="10"/>
                    </a:lnTo>
                    <a:cubicBezTo>
                      <a:pt x="183958" y="20"/>
                      <a:pt x="165851" y="10853"/>
                      <a:pt x="156527" y="28210"/>
                    </a:cubicBezTo>
                    <a:cubicBezTo>
                      <a:pt x="147019" y="10504"/>
                      <a:pt x="128395" y="-386"/>
                      <a:pt x="108302" y="10"/>
                    </a:cubicBezTo>
                    <a:lnTo>
                      <a:pt x="53810" y="10"/>
                    </a:lnTo>
                    <a:cubicBezTo>
                      <a:pt x="23982" y="384"/>
                      <a:pt x="-2" y="24671"/>
                      <a:pt x="0" y="54502"/>
                    </a:cubicBezTo>
                    <a:lnTo>
                      <a:pt x="0" y="78751"/>
                    </a:lnTo>
                    <a:cubicBezTo>
                      <a:pt x="286" y="89916"/>
                      <a:pt x="9270" y="98899"/>
                      <a:pt x="20434" y="99185"/>
                    </a:cubicBezTo>
                    <a:lnTo>
                      <a:pt x="141678" y="99185"/>
                    </a:lnTo>
                    <a:cubicBezTo>
                      <a:pt x="147001" y="99174"/>
                      <a:pt x="152120" y="97128"/>
                      <a:pt x="155982" y="93463"/>
                    </a:cubicBezTo>
                    <a:cubicBezTo>
                      <a:pt x="159844" y="97128"/>
                      <a:pt x="164962" y="99174"/>
                      <a:pt x="170286" y="99185"/>
                    </a:cubicBezTo>
                    <a:lnTo>
                      <a:pt x="291529" y="99185"/>
                    </a:lnTo>
                    <a:cubicBezTo>
                      <a:pt x="296858" y="99203"/>
                      <a:pt x="301986" y="97151"/>
                      <a:pt x="305833" y="93463"/>
                    </a:cubicBezTo>
                    <a:cubicBezTo>
                      <a:pt x="309703" y="97116"/>
                      <a:pt x="314816" y="99160"/>
                      <a:pt x="320137" y="99185"/>
                    </a:cubicBezTo>
                    <a:lnTo>
                      <a:pt x="441380" y="99185"/>
                    </a:lnTo>
                    <a:cubicBezTo>
                      <a:pt x="452967" y="99260"/>
                      <a:pt x="462421" y="89929"/>
                      <a:pt x="462496" y="78343"/>
                    </a:cubicBezTo>
                    <a:cubicBezTo>
                      <a:pt x="462496" y="78252"/>
                      <a:pt x="462496" y="78161"/>
                      <a:pt x="462496" y="78069"/>
                    </a:cubicBezTo>
                    <a:lnTo>
                      <a:pt x="462496" y="53821"/>
                    </a:lnTo>
                    <a:cubicBezTo>
                      <a:pt x="462128" y="24255"/>
                      <a:pt x="438251" y="378"/>
                      <a:pt x="408686" y="10"/>
                    </a:cubicBezTo>
                    <a:close/>
                    <a:moveTo>
                      <a:pt x="149170" y="78069"/>
                    </a:moveTo>
                    <a:cubicBezTo>
                      <a:pt x="149170" y="82208"/>
                      <a:pt x="145816" y="85562"/>
                      <a:pt x="141678" y="85562"/>
                    </a:cubicBezTo>
                    <a:lnTo>
                      <a:pt x="20434" y="85562"/>
                    </a:lnTo>
                    <a:cubicBezTo>
                      <a:pt x="16296" y="85562"/>
                      <a:pt x="12942" y="82208"/>
                      <a:pt x="12942" y="78069"/>
                    </a:cubicBezTo>
                    <a:lnTo>
                      <a:pt x="12942" y="53821"/>
                    </a:lnTo>
                    <a:cubicBezTo>
                      <a:pt x="12942" y="31249"/>
                      <a:pt x="31239" y="12952"/>
                      <a:pt x="53810" y="12952"/>
                    </a:cubicBezTo>
                    <a:lnTo>
                      <a:pt x="108302" y="12952"/>
                    </a:lnTo>
                    <a:cubicBezTo>
                      <a:pt x="130873" y="12952"/>
                      <a:pt x="149170" y="31249"/>
                      <a:pt x="149170" y="53821"/>
                    </a:cubicBezTo>
                    <a:close/>
                    <a:moveTo>
                      <a:pt x="299022" y="78069"/>
                    </a:moveTo>
                    <a:cubicBezTo>
                      <a:pt x="299022" y="82208"/>
                      <a:pt x="295668" y="85562"/>
                      <a:pt x="291529" y="85562"/>
                    </a:cubicBezTo>
                    <a:lnTo>
                      <a:pt x="170286" y="85562"/>
                    </a:lnTo>
                    <a:cubicBezTo>
                      <a:pt x="166147" y="85562"/>
                      <a:pt x="162793" y="82208"/>
                      <a:pt x="162793" y="78069"/>
                    </a:cubicBezTo>
                    <a:lnTo>
                      <a:pt x="162793" y="53821"/>
                    </a:lnTo>
                    <a:cubicBezTo>
                      <a:pt x="162793" y="31249"/>
                      <a:pt x="181090" y="12952"/>
                      <a:pt x="203662" y="12952"/>
                    </a:cubicBezTo>
                    <a:lnTo>
                      <a:pt x="259379" y="12952"/>
                    </a:lnTo>
                    <a:cubicBezTo>
                      <a:pt x="281684" y="13324"/>
                      <a:pt x="299569" y="31513"/>
                      <a:pt x="299567" y="53821"/>
                    </a:cubicBezTo>
                    <a:close/>
                    <a:moveTo>
                      <a:pt x="448873" y="78069"/>
                    </a:moveTo>
                    <a:cubicBezTo>
                      <a:pt x="448873" y="82208"/>
                      <a:pt x="445519" y="85562"/>
                      <a:pt x="441380" y="85562"/>
                    </a:cubicBezTo>
                    <a:lnTo>
                      <a:pt x="320137" y="85562"/>
                    </a:lnTo>
                    <a:cubicBezTo>
                      <a:pt x="315998" y="85562"/>
                      <a:pt x="312644" y="82208"/>
                      <a:pt x="312644" y="78069"/>
                    </a:cubicBezTo>
                    <a:lnTo>
                      <a:pt x="312644" y="53821"/>
                    </a:lnTo>
                    <a:cubicBezTo>
                      <a:pt x="312644" y="31249"/>
                      <a:pt x="330941" y="12952"/>
                      <a:pt x="353513" y="12952"/>
                    </a:cubicBezTo>
                    <a:lnTo>
                      <a:pt x="409231" y="12952"/>
                    </a:lnTo>
                    <a:cubicBezTo>
                      <a:pt x="431535" y="13324"/>
                      <a:pt x="449421" y="31513"/>
                      <a:pt x="449418" y="53821"/>
                    </a:cubicBezTo>
                    <a:close/>
                  </a:path>
                </a:pathLst>
              </a:custGeom>
              <a:grpFill/>
              <a:ln w="1344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Ubuntu"/>
                  <a:ea typeface="+mn-ea"/>
                  <a:cs typeface="+mn-cs"/>
                </a:endParaRPr>
              </a:p>
            </p:txBody>
          </p:sp>
        </p:grpSp>
        <p:sp>
          <p:nvSpPr>
            <p:cNvPr id="165" name="Freeform 6">
              <a:extLst>
                <a:ext uri="{FF2B5EF4-FFF2-40B4-BE49-F238E27FC236}">
                  <a16:creationId xmlns:a16="http://schemas.microsoft.com/office/drawing/2014/main" id="{664326B2-61DC-A089-B9D5-5690BA51522C}"/>
                </a:ext>
              </a:extLst>
            </p:cNvPr>
            <p:cNvSpPr>
              <a:spLocks/>
            </p:cNvSpPr>
            <p:nvPr/>
          </p:nvSpPr>
          <p:spPr bwMode="auto">
            <a:xfrm>
              <a:off x="2399075" y="5391855"/>
              <a:ext cx="264371" cy="264371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Roboto Bold" charset="0"/>
                <a:ea typeface="+mn-ea"/>
                <a:cs typeface="+mn-cs"/>
              </a:endParaRPr>
            </a:p>
          </p:txBody>
        </p:sp>
        <p:grpSp>
          <p:nvGrpSpPr>
            <p:cNvPr id="166" name="Group 165">
              <a:extLst>
                <a:ext uri="{FF2B5EF4-FFF2-40B4-BE49-F238E27FC236}">
                  <a16:creationId xmlns:a16="http://schemas.microsoft.com/office/drawing/2014/main" id="{14500DB1-49B4-269A-CA7D-CE68F5141D34}"/>
                </a:ext>
              </a:extLst>
            </p:cNvPr>
            <p:cNvGrpSpPr/>
            <p:nvPr/>
          </p:nvGrpSpPr>
          <p:grpSpPr>
            <a:xfrm>
              <a:off x="3008730" y="3280120"/>
              <a:ext cx="880223" cy="261156"/>
              <a:chOff x="3008730" y="3129118"/>
              <a:chExt cx="880223" cy="261156"/>
            </a:xfrm>
          </p:grpSpPr>
          <p:sp>
            <p:nvSpPr>
              <p:cNvPr id="167" name="Freeform 8">
                <a:extLst>
                  <a:ext uri="{FF2B5EF4-FFF2-40B4-BE49-F238E27FC236}">
                    <a16:creationId xmlns:a16="http://schemas.microsoft.com/office/drawing/2014/main" id="{70AD6C7E-3188-FF5F-2AB6-1CFA326656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08730" y="3129118"/>
                <a:ext cx="262444" cy="261156"/>
              </a:xfrm>
              <a:prstGeom prst="ellipse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 w="6350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1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Roboto Bold" charset="0"/>
                  <a:ea typeface="+mn-ea"/>
                  <a:cs typeface="+mn-cs"/>
                </a:endParaRPr>
              </a:p>
            </p:txBody>
          </p:sp>
          <p:cxnSp>
            <p:nvCxnSpPr>
              <p:cNvPr id="168" name="Straight Connector 167">
                <a:extLst>
                  <a:ext uri="{FF2B5EF4-FFF2-40B4-BE49-F238E27FC236}">
                    <a16:creationId xmlns:a16="http://schemas.microsoft.com/office/drawing/2014/main" id="{480707F6-64D3-A671-909C-26A24DED0EE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271174" y="3259696"/>
                <a:ext cx="617779" cy="0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3"/>
              </a:lnRef>
              <a:fillRef idx="0">
                <a:schemeClr val="accent3"/>
              </a:fillRef>
              <a:effectRef idx="1">
                <a:schemeClr val="accent3"/>
              </a:effectRef>
              <a:fontRef idx="minor">
                <a:schemeClr val="tx1"/>
              </a:fontRef>
            </p:style>
          </p:cxnSp>
        </p:grpSp>
        <p:sp>
          <p:nvSpPr>
            <p:cNvPr id="169" name="Oval 168">
              <a:extLst>
                <a:ext uri="{FF2B5EF4-FFF2-40B4-BE49-F238E27FC236}">
                  <a16:creationId xmlns:a16="http://schemas.microsoft.com/office/drawing/2014/main" id="{C920209D-35F0-00E2-1718-99599BC698E3}"/>
                </a:ext>
              </a:extLst>
            </p:cNvPr>
            <p:cNvSpPr>
              <a:spLocks/>
            </p:cNvSpPr>
            <p:nvPr/>
          </p:nvSpPr>
          <p:spPr>
            <a:xfrm>
              <a:off x="3910931" y="4034562"/>
              <a:ext cx="799054" cy="774840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7724" tIns="38862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Roboto Bold" charset="0"/>
                <a:ea typeface="+mn-ea"/>
                <a:cs typeface="+mn-cs"/>
              </a:endParaRPr>
            </a:p>
          </p:txBody>
        </p:sp>
        <p:sp>
          <p:nvSpPr>
            <p:cNvPr id="170" name="Oval 169">
              <a:extLst>
                <a:ext uri="{FF2B5EF4-FFF2-40B4-BE49-F238E27FC236}">
                  <a16:creationId xmlns:a16="http://schemas.microsoft.com/office/drawing/2014/main" id="{D1D2DAE9-8E08-E0CB-7960-9EB4A613C270}"/>
                </a:ext>
              </a:extLst>
            </p:cNvPr>
            <p:cNvSpPr>
              <a:spLocks/>
            </p:cNvSpPr>
            <p:nvPr/>
          </p:nvSpPr>
          <p:spPr>
            <a:xfrm>
              <a:off x="3910931" y="5117351"/>
              <a:ext cx="799054" cy="774840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7724" tIns="38862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Roboto Bold" charset="0"/>
                <a:ea typeface="+mn-ea"/>
                <a:cs typeface="+mn-cs"/>
              </a:endParaRPr>
            </a:p>
          </p:txBody>
        </p:sp>
        <p:grpSp>
          <p:nvGrpSpPr>
            <p:cNvPr id="171" name="Group 170">
              <a:extLst>
                <a:ext uri="{FF2B5EF4-FFF2-40B4-BE49-F238E27FC236}">
                  <a16:creationId xmlns:a16="http://schemas.microsoft.com/office/drawing/2014/main" id="{02406768-0449-606A-C6BD-86FB82B86982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52898" y="2096885"/>
              <a:ext cx="1814049" cy="2733267"/>
              <a:chOff x="4190589" y="296070"/>
              <a:chExt cx="3968006" cy="5978696"/>
            </a:xfrm>
          </p:grpSpPr>
          <p:grpSp>
            <p:nvGrpSpPr>
              <p:cNvPr id="172" name="Group 171">
                <a:extLst>
                  <a:ext uri="{FF2B5EF4-FFF2-40B4-BE49-F238E27FC236}">
                    <a16:creationId xmlns:a16="http://schemas.microsoft.com/office/drawing/2014/main" id="{F824D3C4-BE62-82DC-CDDB-3F5FAE59ECD8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5446805" y="5411311"/>
                <a:ext cx="1391480" cy="863455"/>
                <a:chOff x="5293610" y="5399757"/>
                <a:chExt cx="1697871" cy="1053579"/>
              </a:xfrm>
            </p:grpSpPr>
            <p:sp>
              <p:nvSpPr>
                <p:cNvPr id="307" name="Freeform: Shape 268">
                  <a:extLst>
                    <a:ext uri="{FF2B5EF4-FFF2-40B4-BE49-F238E27FC236}">
                      <a16:creationId xmlns:a16="http://schemas.microsoft.com/office/drawing/2014/main" id="{8FE99FF2-DEAD-BE3E-4AE4-4777B3B76A14}"/>
                    </a:ext>
                  </a:extLst>
                </p:cNvPr>
                <p:cNvSpPr/>
                <p:nvPr/>
              </p:nvSpPr>
              <p:spPr>
                <a:xfrm>
                  <a:off x="5293610" y="5399757"/>
                  <a:ext cx="1697871" cy="212230"/>
                </a:xfrm>
                <a:custGeom>
                  <a:avLst/>
                  <a:gdLst>
                    <a:gd name="connsiteX0" fmla="*/ 113768 w 115794"/>
                    <a:gd name="connsiteY0" fmla="*/ 14474 h 14474"/>
                    <a:gd name="connsiteX1" fmla="*/ 7237 w 115794"/>
                    <a:gd name="connsiteY1" fmla="*/ 14474 h 14474"/>
                    <a:gd name="connsiteX2" fmla="*/ 0 w 115794"/>
                    <a:gd name="connsiteY2" fmla="*/ 7237 h 14474"/>
                    <a:gd name="connsiteX3" fmla="*/ 7237 w 115794"/>
                    <a:gd name="connsiteY3" fmla="*/ 0 h 14474"/>
                    <a:gd name="connsiteX4" fmla="*/ 113768 w 115794"/>
                    <a:gd name="connsiteY4" fmla="*/ 0 h 14474"/>
                    <a:gd name="connsiteX5" fmla="*/ 121005 w 115794"/>
                    <a:gd name="connsiteY5" fmla="*/ 7237 h 14474"/>
                    <a:gd name="connsiteX6" fmla="*/ 113768 w 115794"/>
                    <a:gd name="connsiteY6" fmla="*/ 14474 h 144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15794" h="14474">
                      <a:moveTo>
                        <a:pt x="113768" y="14474"/>
                      </a:moveTo>
                      <a:lnTo>
                        <a:pt x="7237" y="14474"/>
                      </a:lnTo>
                      <a:cubicBezTo>
                        <a:pt x="3240" y="14474"/>
                        <a:pt x="0" y="11233"/>
                        <a:pt x="0" y="7237"/>
                      </a:cubicBezTo>
                      <a:cubicBezTo>
                        <a:pt x="77" y="3273"/>
                        <a:pt x="3272" y="77"/>
                        <a:pt x="7237" y="0"/>
                      </a:cubicBezTo>
                      <a:lnTo>
                        <a:pt x="113768" y="0"/>
                      </a:lnTo>
                      <a:cubicBezTo>
                        <a:pt x="117764" y="0"/>
                        <a:pt x="121005" y="3241"/>
                        <a:pt x="121005" y="7237"/>
                      </a:cubicBezTo>
                      <a:cubicBezTo>
                        <a:pt x="121005" y="11233"/>
                        <a:pt x="117764" y="14474"/>
                        <a:pt x="113768" y="14474"/>
                      </a:cubicBezTo>
                      <a:close/>
                    </a:path>
                  </a:pathLst>
                </a:custGeom>
                <a:solidFill>
                  <a:schemeClr val="tx1">
                    <a:lumMod val="50000"/>
                    <a:lumOff val="50000"/>
                  </a:schemeClr>
                </a:solidFill>
                <a:ln w="140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Ubuntu"/>
                    <a:ea typeface="+mn-ea"/>
                    <a:cs typeface="+mn-cs"/>
                  </a:endParaRPr>
                </a:p>
              </p:txBody>
            </p:sp>
            <p:sp>
              <p:nvSpPr>
                <p:cNvPr id="308" name="Freeform: Shape 269">
                  <a:extLst>
                    <a:ext uri="{FF2B5EF4-FFF2-40B4-BE49-F238E27FC236}">
                      <a16:creationId xmlns:a16="http://schemas.microsoft.com/office/drawing/2014/main" id="{A54CFBC0-263A-C38D-48FB-0B71DFBC4F39}"/>
                    </a:ext>
                  </a:extLst>
                </p:cNvPr>
                <p:cNvSpPr/>
                <p:nvPr/>
              </p:nvSpPr>
              <p:spPr>
                <a:xfrm>
                  <a:off x="5363640" y="5820432"/>
                  <a:ext cx="1485641" cy="212230"/>
                </a:xfrm>
                <a:custGeom>
                  <a:avLst/>
                  <a:gdLst>
                    <a:gd name="connsiteX0" fmla="*/ 103057 w 101319"/>
                    <a:gd name="connsiteY0" fmla="*/ 14474 h 14474"/>
                    <a:gd name="connsiteX1" fmla="*/ 7237 w 101319"/>
                    <a:gd name="connsiteY1" fmla="*/ 14474 h 14474"/>
                    <a:gd name="connsiteX2" fmla="*/ 0 w 101319"/>
                    <a:gd name="connsiteY2" fmla="*/ 7237 h 14474"/>
                    <a:gd name="connsiteX3" fmla="*/ 7237 w 101319"/>
                    <a:gd name="connsiteY3" fmla="*/ 0 h 14474"/>
                    <a:gd name="connsiteX4" fmla="*/ 103057 w 101319"/>
                    <a:gd name="connsiteY4" fmla="*/ 0 h 14474"/>
                    <a:gd name="connsiteX5" fmla="*/ 110294 w 101319"/>
                    <a:gd name="connsiteY5" fmla="*/ 7237 h 14474"/>
                    <a:gd name="connsiteX6" fmla="*/ 103057 w 101319"/>
                    <a:gd name="connsiteY6" fmla="*/ 14474 h 144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1319" h="14474">
                      <a:moveTo>
                        <a:pt x="103057" y="14474"/>
                      </a:moveTo>
                      <a:lnTo>
                        <a:pt x="7237" y="14474"/>
                      </a:lnTo>
                      <a:cubicBezTo>
                        <a:pt x="3240" y="14474"/>
                        <a:pt x="0" y="11233"/>
                        <a:pt x="0" y="7237"/>
                      </a:cubicBezTo>
                      <a:cubicBezTo>
                        <a:pt x="0" y="3241"/>
                        <a:pt x="3240" y="0"/>
                        <a:pt x="7237" y="0"/>
                      </a:cubicBezTo>
                      <a:lnTo>
                        <a:pt x="103057" y="0"/>
                      </a:lnTo>
                      <a:cubicBezTo>
                        <a:pt x="107053" y="0"/>
                        <a:pt x="110294" y="3241"/>
                        <a:pt x="110294" y="7237"/>
                      </a:cubicBezTo>
                      <a:cubicBezTo>
                        <a:pt x="110294" y="11233"/>
                        <a:pt x="107053" y="14474"/>
                        <a:pt x="103057" y="14474"/>
                      </a:cubicBezTo>
                      <a:close/>
                    </a:path>
                  </a:pathLst>
                </a:custGeom>
                <a:solidFill>
                  <a:schemeClr val="tx1">
                    <a:lumMod val="50000"/>
                    <a:lumOff val="50000"/>
                  </a:schemeClr>
                </a:solidFill>
                <a:ln w="140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Ubuntu"/>
                    <a:ea typeface="+mn-ea"/>
                    <a:cs typeface="+mn-cs"/>
                  </a:endParaRPr>
                </a:p>
              </p:txBody>
            </p:sp>
            <p:sp>
              <p:nvSpPr>
                <p:cNvPr id="309" name="Freeform: Shape 270">
                  <a:extLst>
                    <a:ext uri="{FF2B5EF4-FFF2-40B4-BE49-F238E27FC236}">
                      <a16:creationId xmlns:a16="http://schemas.microsoft.com/office/drawing/2014/main" id="{D9CD19A9-113B-C477-D39E-144423580FC2}"/>
                    </a:ext>
                  </a:extLst>
                </p:cNvPr>
                <p:cNvSpPr/>
                <p:nvPr/>
              </p:nvSpPr>
              <p:spPr>
                <a:xfrm>
                  <a:off x="5652279" y="6241106"/>
                  <a:ext cx="848936" cy="212230"/>
                </a:xfrm>
                <a:custGeom>
                  <a:avLst/>
                  <a:gdLst>
                    <a:gd name="connsiteX0" fmla="*/ 63831 w 57897"/>
                    <a:gd name="connsiteY0" fmla="*/ 14474 h 14474"/>
                    <a:gd name="connsiteX1" fmla="*/ 7237 w 57897"/>
                    <a:gd name="connsiteY1" fmla="*/ 14474 h 14474"/>
                    <a:gd name="connsiteX2" fmla="*/ 0 w 57897"/>
                    <a:gd name="connsiteY2" fmla="*/ 7237 h 14474"/>
                    <a:gd name="connsiteX3" fmla="*/ 7237 w 57897"/>
                    <a:gd name="connsiteY3" fmla="*/ 0 h 14474"/>
                    <a:gd name="connsiteX4" fmla="*/ 63831 w 57897"/>
                    <a:gd name="connsiteY4" fmla="*/ 0 h 14474"/>
                    <a:gd name="connsiteX5" fmla="*/ 71069 w 57897"/>
                    <a:gd name="connsiteY5" fmla="*/ 7237 h 14474"/>
                    <a:gd name="connsiteX6" fmla="*/ 63831 w 57897"/>
                    <a:gd name="connsiteY6" fmla="*/ 14474 h 144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7897" h="14474">
                      <a:moveTo>
                        <a:pt x="63831" y="14474"/>
                      </a:moveTo>
                      <a:lnTo>
                        <a:pt x="7237" y="14474"/>
                      </a:lnTo>
                      <a:cubicBezTo>
                        <a:pt x="3240" y="14474"/>
                        <a:pt x="0" y="11233"/>
                        <a:pt x="0" y="7237"/>
                      </a:cubicBezTo>
                      <a:cubicBezTo>
                        <a:pt x="0" y="3241"/>
                        <a:pt x="3240" y="0"/>
                        <a:pt x="7237" y="0"/>
                      </a:cubicBezTo>
                      <a:lnTo>
                        <a:pt x="63831" y="0"/>
                      </a:lnTo>
                      <a:cubicBezTo>
                        <a:pt x="67796" y="77"/>
                        <a:pt x="70992" y="3273"/>
                        <a:pt x="71069" y="7237"/>
                      </a:cubicBezTo>
                      <a:cubicBezTo>
                        <a:pt x="71069" y="11233"/>
                        <a:pt x="67828" y="14474"/>
                        <a:pt x="63831" y="14474"/>
                      </a:cubicBezTo>
                      <a:close/>
                    </a:path>
                  </a:pathLst>
                </a:custGeom>
                <a:solidFill>
                  <a:schemeClr val="tx1">
                    <a:lumMod val="50000"/>
                    <a:lumOff val="50000"/>
                  </a:schemeClr>
                </a:solidFill>
                <a:ln w="140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Ubuntu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73" name="Group 172">
                <a:extLst>
                  <a:ext uri="{FF2B5EF4-FFF2-40B4-BE49-F238E27FC236}">
                    <a16:creationId xmlns:a16="http://schemas.microsoft.com/office/drawing/2014/main" id="{A5E7C014-408B-47D0-3636-D734C3337AE4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5074116" y="2042098"/>
                <a:ext cx="1025957" cy="1025957"/>
                <a:chOff x="5956708" y="2105234"/>
                <a:chExt cx="792088" cy="792088"/>
              </a:xfrm>
            </p:grpSpPr>
            <p:sp>
              <p:nvSpPr>
                <p:cNvPr id="298" name="Oval 297">
                  <a:extLst>
                    <a:ext uri="{FF2B5EF4-FFF2-40B4-BE49-F238E27FC236}">
                      <a16:creationId xmlns:a16="http://schemas.microsoft.com/office/drawing/2014/main" id="{958032ED-88AC-288B-3093-631550B89323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5956708" y="2105234"/>
                  <a:ext cx="792088" cy="792088"/>
                </a:xfrm>
                <a:prstGeom prst="ellipse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600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Ubuntu"/>
                    <a:ea typeface="+mn-ea"/>
                    <a:cs typeface="+mn-cs"/>
                  </a:endParaRPr>
                </a:p>
              </p:txBody>
            </p:sp>
            <p:grpSp>
              <p:nvGrpSpPr>
                <p:cNvPr id="299" name="Graphic 2">
                  <a:extLst>
                    <a:ext uri="{FF2B5EF4-FFF2-40B4-BE49-F238E27FC236}">
                      <a16:creationId xmlns:a16="http://schemas.microsoft.com/office/drawing/2014/main" id="{ABEC623F-2991-DE69-7921-B73272C3D271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6104081" y="2252638"/>
                  <a:ext cx="483209" cy="484952"/>
                  <a:chOff x="5864410" y="3152615"/>
                  <a:chExt cx="450015" cy="451638"/>
                </a:xfrm>
                <a:solidFill>
                  <a:schemeClr val="bg1"/>
                </a:solidFill>
              </p:grpSpPr>
              <p:sp>
                <p:nvSpPr>
                  <p:cNvPr id="300" name="Freeform: Shape 261">
                    <a:extLst>
                      <a:ext uri="{FF2B5EF4-FFF2-40B4-BE49-F238E27FC236}">
                        <a16:creationId xmlns:a16="http://schemas.microsoft.com/office/drawing/2014/main" id="{97DC524A-D757-B0B3-7A90-3C76AB5BB589}"/>
                      </a:ext>
                    </a:extLst>
                  </p:cNvPr>
                  <p:cNvSpPr/>
                  <p:nvPr/>
                </p:nvSpPr>
                <p:spPr>
                  <a:xfrm>
                    <a:off x="6174068" y="3344363"/>
                    <a:ext cx="140357" cy="140357"/>
                  </a:xfrm>
                  <a:custGeom>
                    <a:avLst/>
                    <a:gdLst>
                      <a:gd name="connsiteX0" fmla="*/ 89097 w 140356"/>
                      <a:gd name="connsiteY0" fmla="*/ 149851 h 140356"/>
                      <a:gd name="connsiteX1" fmla="*/ 84045 w 140356"/>
                      <a:gd name="connsiteY1" fmla="*/ 147745 h 140356"/>
                      <a:gd name="connsiteX2" fmla="*/ 2076 w 140356"/>
                      <a:gd name="connsiteY2" fmla="*/ 65777 h 140356"/>
                      <a:gd name="connsiteX3" fmla="*/ 2036 w 140356"/>
                      <a:gd name="connsiteY3" fmla="*/ 55852 h 140356"/>
                      <a:gd name="connsiteX4" fmla="*/ 2076 w 140356"/>
                      <a:gd name="connsiteY4" fmla="*/ 55812 h 140356"/>
                      <a:gd name="connsiteX5" fmla="*/ 55271 w 140356"/>
                      <a:gd name="connsiteY5" fmla="*/ 1915 h 140356"/>
                      <a:gd name="connsiteX6" fmla="*/ 65237 w 140356"/>
                      <a:gd name="connsiteY6" fmla="*/ 1915 h 140356"/>
                      <a:gd name="connsiteX7" fmla="*/ 147205 w 140356"/>
                      <a:gd name="connsiteY7" fmla="*/ 84023 h 140356"/>
                      <a:gd name="connsiteX8" fmla="*/ 149310 w 140356"/>
                      <a:gd name="connsiteY8" fmla="*/ 89076 h 140356"/>
                      <a:gd name="connsiteX9" fmla="*/ 147205 w 140356"/>
                      <a:gd name="connsiteY9" fmla="*/ 93989 h 140356"/>
                      <a:gd name="connsiteX10" fmla="*/ 93448 w 140356"/>
                      <a:gd name="connsiteY10" fmla="*/ 147745 h 140356"/>
                      <a:gd name="connsiteX11" fmla="*/ 89097 w 140356"/>
                      <a:gd name="connsiteY11" fmla="*/ 149851 h 140356"/>
                      <a:gd name="connsiteX12" fmla="*/ 16954 w 140356"/>
                      <a:gd name="connsiteY12" fmla="*/ 60865 h 140356"/>
                      <a:gd name="connsiteX13" fmla="*/ 89097 w 140356"/>
                      <a:gd name="connsiteY13" fmla="*/ 133008 h 140356"/>
                      <a:gd name="connsiteX14" fmla="*/ 132889 w 140356"/>
                      <a:gd name="connsiteY14" fmla="*/ 88936 h 140356"/>
                      <a:gd name="connsiteX15" fmla="*/ 60745 w 140356"/>
                      <a:gd name="connsiteY15" fmla="*/ 16652 h 14035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</a:cxnLst>
                    <a:rect l="l" t="t" r="r" b="b"/>
                    <a:pathLst>
                      <a:path w="140356" h="140356">
                        <a:moveTo>
                          <a:pt x="89097" y="149851"/>
                        </a:moveTo>
                        <a:cubicBezTo>
                          <a:pt x="87201" y="149847"/>
                          <a:pt x="85384" y="149089"/>
                          <a:pt x="84045" y="147745"/>
                        </a:cubicBezTo>
                        <a:lnTo>
                          <a:pt x="2076" y="65777"/>
                        </a:lnTo>
                        <a:cubicBezTo>
                          <a:pt x="-676" y="63047"/>
                          <a:pt x="-694" y="58605"/>
                          <a:pt x="2036" y="55852"/>
                        </a:cubicBezTo>
                        <a:cubicBezTo>
                          <a:pt x="2050" y="55838"/>
                          <a:pt x="2062" y="55826"/>
                          <a:pt x="2076" y="55812"/>
                        </a:cubicBezTo>
                        <a:lnTo>
                          <a:pt x="55271" y="1915"/>
                        </a:lnTo>
                        <a:cubicBezTo>
                          <a:pt x="58102" y="-638"/>
                          <a:pt x="62406" y="-638"/>
                          <a:pt x="65237" y="1915"/>
                        </a:cubicBezTo>
                        <a:lnTo>
                          <a:pt x="147205" y="84023"/>
                        </a:lnTo>
                        <a:cubicBezTo>
                          <a:pt x="148576" y="85344"/>
                          <a:pt x="149339" y="87173"/>
                          <a:pt x="149310" y="89076"/>
                        </a:cubicBezTo>
                        <a:cubicBezTo>
                          <a:pt x="149333" y="90937"/>
                          <a:pt x="148568" y="92721"/>
                          <a:pt x="147205" y="93989"/>
                        </a:cubicBezTo>
                        <a:lnTo>
                          <a:pt x="93448" y="147745"/>
                        </a:lnTo>
                        <a:cubicBezTo>
                          <a:pt x="92300" y="148951"/>
                          <a:pt x="90755" y="149699"/>
                          <a:pt x="89097" y="149851"/>
                        </a:cubicBezTo>
                        <a:close/>
                        <a:moveTo>
                          <a:pt x="16954" y="60865"/>
                        </a:moveTo>
                        <a:lnTo>
                          <a:pt x="89097" y="133008"/>
                        </a:lnTo>
                        <a:lnTo>
                          <a:pt x="132889" y="88936"/>
                        </a:lnTo>
                        <a:lnTo>
                          <a:pt x="60745" y="16652"/>
                        </a:lnTo>
                        <a:close/>
                      </a:path>
                    </a:pathLst>
                  </a:custGeom>
                  <a:grpFill/>
                  <a:ln w="1385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01" name="Freeform: Shape 262">
                    <a:extLst>
                      <a:ext uri="{FF2B5EF4-FFF2-40B4-BE49-F238E27FC236}">
                        <a16:creationId xmlns:a16="http://schemas.microsoft.com/office/drawing/2014/main" id="{0390E62A-E1E5-0F7B-1629-E17B7E112186}"/>
                      </a:ext>
                    </a:extLst>
                  </p:cNvPr>
                  <p:cNvSpPr/>
                  <p:nvPr/>
                </p:nvSpPr>
                <p:spPr>
                  <a:xfrm>
                    <a:off x="5982290" y="3152615"/>
                    <a:ext cx="140357" cy="140357"/>
                  </a:xfrm>
                  <a:custGeom>
                    <a:avLst/>
                    <a:gdLst>
                      <a:gd name="connsiteX0" fmla="*/ 89148 w 140356"/>
                      <a:gd name="connsiteY0" fmla="*/ 149871 h 140356"/>
                      <a:gd name="connsiteX1" fmla="*/ 84235 w 140356"/>
                      <a:gd name="connsiteY1" fmla="*/ 147766 h 140356"/>
                      <a:gd name="connsiteX2" fmla="*/ 2127 w 140356"/>
                      <a:gd name="connsiteY2" fmla="*/ 65657 h 140356"/>
                      <a:gd name="connsiteX3" fmla="*/ 1825 w 140356"/>
                      <a:gd name="connsiteY3" fmla="*/ 56135 h 140356"/>
                      <a:gd name="connsiteX4" fmla="*/ 2127 w 140356"/>
                      <a:gd name="connsiteY4" fmla="*/ 55832 h 140356"/>
                      <a:gd name="connsiteX5" fmla="*/ 55883 w 140356"/>
                      <a:gd name="connsiteY5" fmla="*/ 2076 h 140356"/>
                      <a:gd name="connsiteX6" fmla="*/ 65808 w 140356"/>
                      <a:gd name="connsiteY6" fmla="*/ 2035 h 140356"/>
                      <a:gd name="connsiteX7" fmla="*/ 65849 w 140356"/>
                      <a:gd name="connsiteY7" fmla="*/ 2076 h 140356"/>
                      <a:gd name="connsiteX8" fmla="*/ 147957 w 140356"/>
                      <a:gd name="connsiteY8" fmla="*/ 84185 h 140356"/>
                      <a:gd name="connsiteX9" fmla="*/ 147957 w 140356"/>
                      <a:gd name="connsiteY9" fmla="*/ 94150 h 140356"/>
                      <a:gd name="connsiteX10" fmla="*/ 94060 w 140356"/>
                      <a:gd name="connsiteY10" fmla="*/ 147766 h 140356"/>
                      <a:gd name="connsiteX11" fmla="*/ 89148 w 140356"/>
                      <a:gd name="connsiteY11" fmla="*/ 149871 h 140356"/>
                      <a:gd name="connsiteX12" fmla="*/ 17004 w 140356"/>
                      <a:gd name="connsiteY12" fmla="*/ 60745 h 140356"/>
                      <a:gd name="connsiteX13" fmla="*/ 89148 w 140356"/>
                      <a:gd name="connsiteY13" fmla="*/ 132888 h 140356"/>
                      <a:gd name="connsiteX14" fmla="*/ 133079 w 140356"/>
                      <a:gd name="connsiteY14" fmla="*/ 89097 h 140356"/>
                      <a:gd name="connsiteX15" fmla="*/ 60796 w 140356"/>
                      <a:gd name="connsiteY15" fmla="*/ 16954 h 14035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</a:cxnLst>
                    <a:rect l="l" t="t" r="r" b="b"/>
                    <a:pathLst>
                      <a:path w="140356" h="140356">
                        <a:moveTo>
                          <a:pt x="89148" y="149871"/>
                        </a:moveTo>
                        <a:cubicBezTo>
                          <a:pt x="87287" y="149894"/>
                          <a:pt x="85503" y="149129"/>
                          <a:pt x="84235" y="147766"/>
                        </a:cubicBezTo>
                        <a:lnTo>
                          <a:pt x="2127" y="65657"/>
                        </a:lnTo>
                        <a:cubicBezTo>
                          <a:pt x="-586" y="63111"/>
                          <a:pt x="-722" y="58848"/>
                          <a:pt x="1825" y="56135"/>
                        </a:cubicBezTo>
                        <a:cubicBezTo>
                          <a:pt x="1922" y="56031"/>
                          <a:pt x="2023" y="55930"/>
                          <a:pt x="2127" y="55832"/>
                        </a:cubicBezTo>
                        <a:lnTo>
                          <a:pt x="55883" y="2076"/>
                        </a:lnTo>
                        <a:cubicBezTo>
                          <a:pt x="58613" y="-676"/>
                          <a:pt x="63055" y="-694"/>
                          <a:pt x="65808" y="2035"/>
                        </a:cubicBezTo>
                        <a:cubicBezTo>
                          <a:pt x="65822" y="2049"/>
                          <a:pt x="65835" y="2062"/>
                          <a:pt x="65849" y="2076"/>
                        </a:cubicBezTo>
                        <a:lnTo>
                          <a:pt x="147957" y="84185"/>
                        </a:lnTo>
                        <a:cubicBezTo>
                          <a:pt x="150649" y="86961"/>
                          <a:pt x="150649" y="91373"/>
                          <a:pt x="147957" y="94150"/>
                        </a:cubicBezTo>
                        <a:lnTo>
                          <a:pt x="94060" y="147766"/>
                        </a:lnTo>
                        <a:cubicBezTo>
                          <a:pt x="92793" y="149129"/>
                          <a:pt x="91009" y="149894"/>
                          <a:pt x="89148" y="149871"/>
                        </a:cubicBezTo>
                        <a:close/>
                        <a:moveTo>
                          <a:pt x="17004" y="60745"/>
                        </a:moveTo>
                        <a:lnTo>
                          <a:pt x="89148" y="132888"/>
                        </a:lnTo>
                        <a:lnTo>
                          <a:pt x="133079" y="89097"/>
                        </a:lnTo>
                        <a:lnTo>
                          <a:pt x="60796" y="16954"/>
                        </a:lnTo>
                        <a:close/>
                      </a:path>
                    </a:pathLst>
                  </a:custGeom>
                  <a:grpFill/>
                  <a:ln w="1385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02" name="Freeform: Shape 263">
                    <a:extLst>
                      <a:ext uri="{FF2B5EF4-FFF2-40B4-BE49-F238E27FC236}">
                        <a16:creationId xmlns:a16="http://schemas.microsoft.com/office/drawing/2014/main" id="{14AF7053-F95C-1B89-A9A8-603B2368A16F}"/>
                      </a:ext>
                    </a:extLst>
                  </p:cNvPr>
                  <p:cNvSpPr/>
                  <p:nvPr/>
                </p:nvSpPr>
                <p:spPr>
                  <a:xfrm>
                    <a:off x="6069379" y="3177800"/>
                    <a:ext cx="224571" cy="224571"/>
                  </a:xfrm>
                  <a:custGeom>
                    <a:avLst/>
                    <a:gdLst>
                      <a:gd name="connsiteX0" fmla="*/ 67325 w 224570"/>
                      <a:gd name="connsiteY0" fmla="*/ 230375 h 224570"/>
                      <a:gd name="connsiteX1" fmla="*/ 67325 w 224570"/>
                      <a:gd name="connsiteY1" fmla="*/ 230375 h 224570"/>
                      <a:gd name="connsiteX2" fmla="*/ 53289 w 224570"/>
                      <a:gd name="connsiteY2" fmla="*/ 224761 h 224570"/>
                      <a:gd name="connsiteX3" fmla="*/ 5568 w 224570"/>
                      <a:gd name="connsiteY3" fmla="*/ 176899 h 224570"/>
                      <a:gd name="connsiteX4" fmla="*/ 5568 w 224570"/>
                      <a:gd name="connsiteY4" fmla="*/ 149951 h 224570"/>
                      <a:gd name="connsiteX5" fmla="*/ 141714 w 224570"/>
                      <a:gd name="connsiteY5" fmla="*/ 14226 h 224570"/>
                      <a:gd name="connsiteX6" fmla="*/ 211892 w 224570"/>
                      <a:gd name="connsiteY6" fmla="*/ 14226 h 224570"/>
                      <a:gd name="connsiteX7" fmla="*/ 216945 w 224570"/>
                      <a:gd name="connsiteY7" fmla="*/ 19138 h 224570"/>
                      <a:gd name="connsiteX8" fmla="*/ 217054 w 224570"/>
                      <a:gd name="connsiteY8" fmla="*/ 89207 h 224570"/>
                      <a:gd name="connsiteX9" fmla="*/ 216945 w 224570"/>
                      <a:gd name="connsiteY9" fmla="*/ 89317 h 224570"/>
                      <a:gd name="connsiteX10" fmla="*/ 81220 w 224570"/>
                      <a:gd name="connsiteY10" fmla="*/ 225042 h 224570"/>
                      <a:gd name="connsiteX11" fmla="*/ 67325 w 224570"/>
                      <a:gd name="connsiteY11" fmla="*/ 230375 h 224570"/>
                      <a:gd name="connsiteX12" fmla="*/ 176662 w 224570"/>
                      <a:gd name="connsiteY12" fmla="*/ 13805 h 224570"/>
                      <a:gd name="connsiteX13" fmla="*/ 151539 w 224570"/>
                      <a:gd name="connsiteY13" fmla="*/ 24191 h 224570"/>
                      <a:gd name="connsiteX14" fmla="*/ 15814 w 224570"/>
                      <a:gd name="connsiteY14" fmla="*/ 159916 h 224570"/>
                      <a:gd name="connsiteX15" fmla="*/ 15814 w 224570"/>
                      <a:gd name="connsiteY15" fmla="*/ 166934 h 224570"/>
                      <a:gd name="connsiteX16" fmla="*/ 63816 w 224570"/>
                      <a:gd name="connsiteY16" fmla="*/ 214796 h 224570"/>
                      <a:gd name="connsiteX17" fmla="*/ 63816 w 224570"/>
                      <a:gd name="connsiteY17" fmla="*/ 214796 h 224570"/>
                      <a:gd name="connsiteX18" fmla="*/ 67325 w 224570"/>
                      <a:gd name="connsiteY18" fmla="*/ 216199 h 224570"/>
                      <a:gd name="connsiteX19" fmla="*/ 67325 w 224570"/>
                      <a:gd name="connsiteY19" fmla="*/ 216199 h 224570"/>
                      <a:gd name="connsiteX20" fmla="*/ 70833 w 224570"/>
                      <a:gd name="connsiteY20" fmla="*/ 214655 h 224570"/>
                      <a:gd name="connsiteX21" fmla="*/ 206558 w 224570"/>
                      <a:gd name="connsiteY21" fmla="*/ 78930 h 224570"/>
                      <a:gd name="connsiteX22" fmla="*/ 206558 w 224570"/>
                      <a:gd name="connsiteY22" fmla="*/ 28963 h 224570"/>
                      <a:gd name="connsiteX23" fmla="*/ 202067 w 224570"/>
                      <a:gd name="connsiteY23" fmla="*/ 24191 h 224570"/>
                      <a:gd name="connsiteX24" fmla="*/ 176662 w 224570"/>
                      <a:gd name="connsiteY24" fmla="*/ 13805 h 22457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</a:cxnLst>
                    <a:rect l="l" t="t" r="r" b="b"/>
                    <a:pathLst>
                      <a:path w="224570" h="224570">
                        <a:moveTo>
                          <a:pt x="67325" y="230375"/>
                        </a:moveTo>
                        <a:lnTo>
                          <a:pt x="67325" y="230375"/>
                        </a:lnTo>
                        <a:cubicBezTo>
                          <a:pt x="62070" y="230532"/>
                          <a:pt x="56986" y="228499"/>
                          <a:pt x="53289" y="224761"/>
                        </a:cubicBezTo>
                        <a:lnTo>
                          <a:pt x="5568" y="176899"/>
                        </a:lnTo>
                        <a:cubicBezTo>
                          <a:pt x="-1856" y="169451"/>
                          <a:pt x="-1856" y="157399"/>
                          <a:pt x="5568" y="149951"/>
                        </a:cubicBezTo>
                        <a:lnTo>
                          <a:pt x="141714" y="14226"/>
                        </a:lnTo>
                        <a:cubicBezTo>
                          <a:pt x="161261" y="-4742"/>
                          <a:pt x="192344" y="-4742"/>
                          <a:pt x="211892" y="14226"/>
                        </a:cubicBezTo>
                        <a:lnTo>
                          <a:pt x="216945" y="19138"/>
                        </a:lnTo>
                        <a:cubicBezTo>
                          <a:pt x="236324" y="38457"/>
                          <a:pt x="236373" y="69828"/>
                          <a:pt x="217054" y="89207"/>
                        </a:cubicBezTo>
                        <a:cubicBezTo>
                          <a:pt x="217018" y="89243"/>
                          <a:pt x="216981" y="89280"/>
                          <a:pt x="216945" y="89317"/>
                        </a:cubicBezTo>
                        <a:lnTo>
                          <a:pt x="81220" y="225042"/>
                        </a:lnTo>
                        <a:cubicBezTo>
                          <a:pt x="77509" y="228640"/>
                          <a:pt x="72490" y="230567"/>
                          <a:pt x="67325" y="230375"/>
                        </a:cubicBezTo>
                        <a:close/>
                        <a:moveTo>
                          <a:pt x="176662" y="13805"/>
                        </a:moveTo>
                        <a:cubicBezTo>
                          <a:pt x="167232" y="13750"/>
                          <a:pt x="158177" y="17494"/>
                          <a:pt x="151539" y="24191"/>
                        </a:cubicBezTo>
                        <a:lnTo>
                          <a:pt x="15814" y="159916"/>
                        </a:lnTo>
                        <a:cubicBezTo>
                          <a:pt x="13995" y="161902"/>
                          <a:pt x="13995" y="164948"/>
                          <a:pt x="15814" y="166934"/>
                        </a:cubicBezTo>
                        <a:lnTo>
                          <a:pt x="63816" y="214796"/>
                        </a:lnTo>
                        <a:lnTo>
                          <a:pt x="63816" y="214796"/>
                        </a:lnTo>
                        <a:cubicBezTo>
                          <a:pt x="64767" y="215687"/>
                          <a:pt x="66021" y="216188"/>
                          <a:pt x="67325" y="216199"/>
                        </a:cubicBezTo>
                        <a:lnTo>
                          <a:pt x="67325" y="216199"/>
                        </a:lnTo>
                        <a:cubicBezTo>
                          <a:pt x="68651" y="216165"/>
                          <a:pt x="69913" y="215611"/>
                          <a:pt x="70833" y="214655"/>
                        </a:cubicBezTo>
                        <a:lnTo>
                          <a:pt x="206558" y="78930"/>
                        </a:lnTo>
                        <a:cubicBezTo>
                          <a:pt x="220336" y="65124"/>
                          <a:pt x="220336" y="42770"/>
                          <a:pt x="206558" y="28963"/>
                        </a:cubicBezTo>
                        <a:lnTo>
                          <a:pt x="202067" y="24191"/>
                        </a:lnTo>
                        <a:cubicBezTo>
                          <a:pt x="195361" y="17423"/>
                          <a:pt x="186190" y="13674"/>
                          <a:pt x="176662" y="13805"/>
                        </a:cubicBezTo>
                        <a:close/>
                      </a:path>
                    </a:pathLst>
                  </a:custGeom>
                  <a:grpFill/>
                  <a:ln w="1385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03" name="Freeform: Shape 264">
                    <a:extLst>
                      <a:ext uri="{FF2B5EF4-FFF2-40B4-BE49-F238E27FC236}">
                        <a16:creationId xmlns:a16="http://schemas.microsoft.com/office/drawing/2014/main" id="{942E3BDC-E537-F269-852F-C2155279DA99}"/>
                      </a:ext>
                    </a:extLst>
                  </p:cNvPr>
                  <p:cNvSpPr/>
                  <p:nvPr/>
                </p:nvSpPr>
                <p:spPr>
                  <a:xfrm>
                    <a:off x="5980446" y="3376119"/>
                    <a:ext cx="112285" cy="112285"/>
                  </a:xfrm>
                  <a:custGeom>
                    <a:avLst/>
                    <a:gdLst>
                      <a:gd name="connsiteX0" fmla="*/ 96045 w 112285"/>
                      <a:gd name="connsiteY0" fmla="*/ 121324 h 112285"/>
                      <a:gd name="connsiteX1" fmla="*/ 91133 w 112285"/>
                      <a:gd name="connsiteY1" fmla="*/ 119218 h 112285"/>
                      <a:gd name="connsiteX2" fmla="*/ 2006 w 112285"/>
                      <a:gd name="connsiteY2" fmla="*/ 30232 h 112285"/>
                      <a:gd name="connsiteX3" fmla="*/ 2006 w 112285"/>
                      <a:gd name="connsiteY3" fmla="*/ 20407 h 112285"/>
                      <a:gd name="connsiteX4" fmla="*/ 100958 w 112285"/>
                      <a:gd name="connsiteY4" fmla="*/ 20407 h 112285"/>
                      <a:gd name="connsiteX5" fmla="*/ 100958 w 112285"/>
                      <a:gd name="connsiteY5" fmla="*/ 20407 h 112285"/>
                      <a:gd name="connsiteX6" fmla="*/ 100958 w 112285"/>
                      <a:gd name="connsiteY6" fmla="*/ 118657 h 112285"/>
                      <a:gd name="connsiteX7" fmla="*/ 96045 w 112285"/>
                      <a:gd name="connsiteY7" fmla="*/ 121324 h 112285"/>
                      <a:gd name="connsiteX8" fmla="*/ 17305 w 112285"/>
                      <a:gd name="connsiteY8" fmla="*/ 25600 h 112285"/>
                      <a:gd name="connsiteX9" fmla="*/ 95764 w 112285"/>
                      <a:gd name="connsiteY9" fmla="*/ 104060 h 112285"/>
                      <a:gd name="connsiteX10" fmla="*/ 91133 w 112285"/>
                      <a:gd name="connsiteY10" fmla="*/ 30232 h 112285"/>
                      <a:gd name="connsiteX11" fmla="*/ 91133 w 112285"/>
                      <a:gd name="connsiteY11" fmla="*/ 30232 h 112285"/>
                      <a:gd name="connsiteX12" fmla="*/ 17305 w 112285"/>
                      <a:gd name="connsiteY12" fmla="*/ 25600 h 11228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</a:cxnLst>
                    <a:rect l="l" t="t" r="r" b="b"/>
                    <a:pathLst>
                      <a:path w="112285" h="112285">
                        <a:moveTo>
                          <a:pt x="96045" y="121324"/>
                        </a:moveTo>
                        <a:cubicBezTo>
                          <a:pt x="94184" y="121346"/>
                          <a:pt x="92400" y="120581"/>
                          <a:pt x="91133" y="119218"/>
                        </a:cubicBezTo>
                        <a:lnTo>
                          <a:pt x="2006" y="30232"/>
                        </a:lnTo>
                        <a:cubicBezTo>
                          <a:pt x="-669" y="27504"/>
                          <a:pt x="-669" y="23136"/>
                          <a:pt x="2006" y="20407"/>
                        </a:cubicBezTo>
                        <a:cubicBezTo>
                          <a:pt x="29378" y="-6802"/>
                          <a:pt x="73585" y="-6802"/>
                          <a:pt x="100958" y="20407"/>
                        </a:cubicBezTo>
                        <a:lnTo>
                          <a:pt x="100958" y="20407"/>
                        </a:lnTo>
                        <a:cubicBezTo>
                          <a:pt x="127705" y="47695"/>
                          <a:pt x="127705" y="91369"/>
                          <a:pt x="100958" y="118657"/>
                        </a:cubicBezTo>
                        <a:cubicBezTo>
                          <a:pt x="99797" y="120230"/>
                          <a:pt x="97997" y="121207"/>
                          <a:pt x="96045" y="121324"/>
                        </a:cubicBezTo>
                        <a:close/>
                        <a:moveTo>
                          <a:pt x="17305" y="25600"/>
                        </a:moveTo>
                        <a:lnTo>
                          <a:pt x="95764" y="104060"/>
                        </a:lnTo>
                        <a:cubicBezTo>
                          <a:pt x="112943" y="81768"/>
                          <a:pt x="110962" y="50202"/>
                          <a:pt x="91133" y="30232"/>
                        </a:cubicBezTo>
                        <a:lnTo>
                          <a:pt x="91133" y="30232"/>
                        </a:lnTo>
                        <a:cubicBezTo>
                          <a:pt x="70931" y="10925"/>
                          <a:pt x="39762" y="8969"/>
                          <a:pt x="17305" y="25600"/>
                        </a:cubicBezTo>
                        <a:close/>
                      </a:path>
                    </a:pathLst>
                  </a:custGeom>
                  <a:grpFill/>
                  <a:ln w="1385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04" name="Freeform: Shape 265">
                    <a:extLst>
                      <a:ext uri="{FF2B5EF4-FFF2-40B4-BE49-F238E27FC236}">
                        <a16:creationId xmlns:a16="http://schemas.microsoft.com/office/drawing/2014/main" id="{57B28484-E47B-DF28-25FA-3DCC3B714E4B}"/>
                      </a:ext>
                    </a:extLst>
                  </p:cNvPr>
                  <p:cNvSpPr/>
                  <p:nvPr/>
                </p:nvSpPr>
                <p:spPr>
                  <a:xfrm>
                    <a:off x="5967715" y="3448317"/>
                    <a:ext cx="56143" cy="56143"/>
                  </a:xfrm>
                  <a:custGeom>
                    <a:avLst/>
                    <a:gdLst>
                      <a:gd name="connsiteX0" fmla="*/ 53757 w 56142"/>
                      <a:gd name="connsiteY0" fmla="*/ 60774 h 56142"/>
                      <a:gd name="connsiteX1" fmla="*/ 53757 w 56142"/>
                      <a:gd name="connsiteY1" fmla="*/ 60774 h 56142"/>
                      <a:gd name="connsiteX2" fmla="*/ 0 w 56142"/>
                      <a:gd name="connsiteY2" fmla="*/ 7018 h 56142"/>
                      <a:gd name="connsiteX3" fmla="*/ 7018 w 56142"/>
                      <a:gd name="connsiteY3" fmla="*/ 0 h 56142"/>
                      <a:gd name="connsiteX4" fmla="*/ 14036 w 56142"/>
                      <a:gd name="connsiteY4" fmla="*/ 7018 h 56142"/>
                      <a:gd name="connsiteX5" fmla="*/ 54458 w 56142"/>
                      <a:gd name="connsiteY5" fmla="*/ 47300 h 56142"/>
                      <a:gd name="connsiteX6" fmla="*/ 61476 w 56142"/>
                      <a:gd name="connsiteY6" fmla="*/ 54318 h 56142"/>
                      <a:gd name="connsiteX7" fmla="*/ 54458 w 56142"/>
                      <a:gd name="connsiteY7" fmla="*/ 61336 h 5614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56142" h="56142">
                        <a:moveTo>
                          <a:pt x="53757" y="60774"/>
                        </a:moveTo>
                        <a:lnTo>
                          <a:pt x="53757" y="60774"/>
                        </a:lnTo>
                        <a:cubicBezTo>
                          <a:pt x="24586" y="59559"/>
                          <a:pt x="1215" y="36188"/>
                          <a:pt x="0" y="7018"/>
                        </a:cubicBezTo>
                        <a:cubicBezTo>
                          <a:pt x="0" y="3143"/>
                          <a:pt x="3142" y="0"/>
                          <a:pt x="7018" y="0"/>
                        </a:cubicBezTo>
                        <a:cubicBezTo>
                          <a:pt x="10894" y="0"/>
                          <a:pt x="14036" y="3143"/>
                          <a:pt x="14036" y="7018"/>
                        </a:cubicBezTo>
                        <a:cubicBezTo>
                          <a:pt x="14969" y="28921"/>
                          <a:pt x="32552" y="46443"/>
                          <a:pt x="54458" y="47300"/>
                        </a:cubicBezTo>
                        <a:cubicBezTo>
                          <a:pt x="58334" y="47300"/>
                          <a:pt x="61476" y="50443"/>
                          <a:pt x="61476" y="54318"/>
                        </a:cubicBezTo>
                        <a:cubicBezTo>
                          <a:pt x="61476" y="58193"/>
                          <a:pt x="58334" y="61336"/>
                          <a:pt x="54458" y="61336"/>
                        </a:cubicBezTo>
                        <a:close/>
                      </a:path>
                    </a:pathLst>
                  </a:custGeom>
                  <a:grpFill/>
                  <a:ln w="1385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05" name="Freeform: Shape 266">
                    <a:extLst>
                      <a:ext uri="{FF2B5EF4-FFF2-40B4-BE49-F238E27FC236}">
                        <a16:creationId xmlns:a16="http://schemas.microsoft.com/office/drawing/2014/main" id="{D70D08F4-DE37-8A5E-6A74-BD7D93B83CDB}"/>
                      </a:ext>
                    </a:extLst>
                  </p:cNvPr>
                  <p:cNvSpPr/>
                  <p:nvPr/>
                </p:nvSpPr>
                <p:spPr>
                  <a:xfrm>
                    <a:off x="5916062" y="3448879"/>
                    <a:ext cx="98250" cy="98250"/>
                  </a:xfrm>
                  <a:custGeom>
                    <a:avLst/>
                    <a:gdLst>
                      <a:gd name="connsiteX0" fmla="*/ 104567 w 98249"/>
                      <a:gd name="connsiteY0" fmla="*/ 111724 h 98249"/>
                      <a:gd name="connsiteX1" fmla="*/ 104567 w 98249"/>
                      <a:gd name="connsiteY1" fmla="*/ 111724 h 98249"/>
                      <a:gd name="connsiteX2" fmla="*/ 1 w 98249"/>
                      <a:gd name="connsiteY2" fmla="*/ 7158 h 98249"/>
                      <a:gd name="connsiteX3" fmla="*/ 6876 w 98249"/>
                      <a:gd name="connsiteY3" fmla="*/ 0 h 98249"/>
                      <a:gd name="connsiteX4" fmla="*/ 6879 w 98249"/>
                      <a:gd name="connsiteY4" fmla="*/ 0 h 98249"/>
                      <a:gd name="connsiteX5" fmla="*/ 14037 w 98249"/>
                      <a:gd name="connsiteY5" fmla="*/ 7018 h 98249"/>
                      <a:gd name="connsiteX6" fmla="*/ 104708 w 98249"/>
                      <a:gd name="connsiteY6" fmla="*/ 97688 h 98249"/>
                      <a:gd name="connsiteX7" fmla="*/ 111725 w 98249"/>
                      <a:gd name="connsiteY7" fmla="*/ 104706 h 98249"/>
                      <a:gd name="connsiteX8" fmla="*/ 104708 w 98249"/>
                      <a:gd name="connsiteY8" fmla="*/ 111724 h 98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98249" h="98249">
                        <a:moveTo>
                          <a:pt x="104567" y="111724"/>
                        </a:moveTo>
                        <a:lnTo>
                          <a:pt x="104567" y="111724"/>
                        </a:lnTo>
                        <a:cubicBezTo>
                          <a:pt x="46913" y="111494"/>
                          <a:pt x="232" y="64812"/>
                          <a:pt x="1" y="7158"/>
                        </a:cubicBezTo>
                        <a:cubicBezTo>
                          <a:pt x="-77" y="3283"/>
                          <a:pt x="3001" y="79"/>
                          <a:pt x="6876" y="0"/>
                        </a:cubicBezTo>
                        <a:cubicBezTo>
                          <a:pt x="6877" y="0"/>
                          <a:pt x="6878" y="0"/>
                          <a:pt x="6879" y="0"/>
                        </a:cubicBezTo>
                        <a:cubicBezTo>
                          <a:pt x="10778" y="-1"/>
                          <a:pt x="13961" y="3119"/>
                          <a:pt x="14037" y="7018"/>
                        </a:cubicBezTo>
                        <a:cubicBezTo>
                          <a:pt x="14268" y="56997"/>
                          <a:pt x="54728" y="97458"/>
                          <a:pt x="104708" y="97688"/>
                        </a:cubicBezTo>
                        <a:cubicBezTo>
                          <a:pt x="108583" y="97688"/>
                          <a:pt x="111725" y="100831"/>
                          <a:pt x="111725" y="104706"/>
                        </a:cubicBezTo>
                        <a:cubicBezTo>
                          <a:pt x="111725" y="108581"/>
                          <a:pt x="108583" y="111724"/>
                          <a:pt x="104708" y="111724"/>
                        </a:cubicBezTo>
                        <a:close/>
                      </a:path>
                    </a:pathLst>
                  </a:custGeom>
                  <a:grpFill/>
                  <a:ln w="1385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06" name="Freeform: Shape 267">
                    <a:extLst>
                      <a:ext uri="{FF2B5EF4-FFF2-40B4-BE49-F238E27FC236}">
                        <a16:creationId xmlns:a16="http://schemas.microsoft.com/office/drawing/2014/main" id="{30D5F634-DB60-FFC0-739D-691735AA2870}"/>
                      </a:ext>
                    </a:extLst>
                  </p:cNvPr>
                  <p:cNvSpPr/>
                  <p:nvPr/>
                </p:nvSpPr>
                <p:spPr>
                  <a:xfrm>
                    <a:off x="5864410" y="3449861"/>
                    <a:ext cx="154392" cy="154392"/>
                  </a:xfrm>
                  <a:custGeom>
                    <a:avLst/>
                    <a:gdLst>
                      <a:gd name="connsiteX0" fmla="*/ 155237 w 154392"/>
                      <a:gd name="connsiteY0" fmla="*/ 162252 h 154392"/>
                      <a:gd name="connsiteX1" fmla="*/ 155237 w 154392"/>
                      <a:gd name="connsiteY1" fmla="*/ 162252 h 154392"/>
                      <a:gd name="connsiteX2" fmla="*/ 2 w 154392"/>
                      <a:gd name="connsiteY2" fmla="*/ 8706 h 154392"/>
                      <a:gd name="connsiteX3" fmla="*/ 2 w 154392"/>
                      <a:gd name="connsiteY3" fmla="*/ 7018 h 154392"/>
                      <a:gd name="connsiteX4" fmla="*/ 7020 w 154392"/>
                      <a:gd name="connsiteY4" fmla="*/ 0 h 154392"/>
                      <a:gd name="connsiteX5" fmla="*/ 7020 w 154392"/>
                      <a:gd name="connsiteY5" fmla="*/ 0 h 154392"/>
                      <a:gd name="connsiteX6" fmla="*/ 14038 w 154392"/>
                      <a:gd name="connsiteY6" fmla="*/ 7018 h 154392"/>
                      <a:gd name="connsiteX7" fmla="*/ 153547 w 154392"/>
                      <a:gd name="connsiteY7" fmla="*/ 148217 h 154392"/>
                      <a:gd name="connsiteX8" fmla="*/ 155237 w 154392"/>
                      <a:gd name="connsiteY8" fmla="*/ 148217 h 154392"/>
                      <a:gd name="connsiteX9" fmla="*/ 162255 w 154392"/>
                      <a:gd name="connsiteY9" fmla="*/ 155235 h 154392"/>
                      <a:gd name="connsiteX10" fmla="*/ 155237 w 154392"/>
                      <a:gd name="connsiteY10" fmla="*/ 162252 h 1543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154392" h="154392">
                        <a:moveTo>
                          <a:pt x="155237" y="162252"/>
                        </a:moveTo>
                        <a:lnTo>
                          <a:pt x="155237" y="162252"/>
                        </a:lnTo>
                        <a:cubicBezTo>
                          <a:pt x="69970" y="162718"/>
                          <a:pt x="469" y="93974"/>
                          <a:pt x="2" y="8706"/>
                        </a:cubicBezTo>
                        <a:cubicBezTo>
                          <a:pt x="-1" y="8143"/>
                          <a:pt x="-1" y="7581"/>
                          <a:pt x="2" y="7018"/>
                        </a:cubicBezTo>
                        <a:cubicBezTo>
                          <a:pt x="2" y="3143"/>
                          <a:pt x="3144" y="0"/>
                          <a:pt x="7020" y="0"/>
                        </a:cubicBezTo>
                        <a:lnTo>
                          <a:pt x="7020" y="0"/>
                        </a:lnTo>
                        <a:cubicBezTo>
                          <a:pt x="10896" y="0"/>
                          <a:pt x="14038" y="3143"/>
                          <a:pt x="14038" y="7018"/>
                        </a:cubicBezTo>
                        <a:cubicBezTo>
                          <a:pt x="13571" y="84533"/>
                          <a:pt x="76032" y="147751"/>
                          <a:pt x="153547" y="148217"/>
                        </a:cubicBezTo>
                        <a:cubicBezTo>
                          <a:pt x="154111" y="148219"/>
                          <a:pt x="154674" y="148219"/>
                          <a:pt x="155237" y="148217"/>
                        </a:cubicBezTo>
                        <a:cubicBezTo>
                          <a:pt x="159112" y="148217"/>
                          <a:pt x="162255" y="151359"/>
                          <a:pt x="162255" y="155235"/>
                        </a:cubicBezTo>
                        <a:cubicBezTo>
                          <a:pt x="162255" y="159110"/>
                          <a:pt x="159112" y="162252"/>
                          <a:pt x="155237" y="162252"/>
                        </a:cubicBezTo>
                        <a:close/>
                      </a:path>
                    </a:pathLst>
                  </a:custGeom>
                  <a:grpFill/>
                  <a:ln w="1385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174" name="Group 173">
                <a:extLst>
                  <a:ext uri="{FF2B5EF4-FFF2-40B4-BE49-F238E27FC236}">
                    <a16:creationId xmlns:a16="http://schemas.microsoft.com/office/drawing/2014/main" id="{6122669A-5948-E2FF-57B6-55F4C5F1C801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6571133" y="3622827"/>
                <a:ext cx="743042" cy="743042"/>
                <a:chOff x="4590920" y="2105234"/>
                <a:chExt cx="792088" cy="792088"/>
              </a:xfrm>
            </p:grpSpPr>
            <p:sp>
              <p:nvSpPr>
                <p:cNvPr id="294" name="Oval 293">
                  <a:extLst>
                    <a:ext uri="{FF2B5EF4-FFF2-40B4-BE49-F238E27FC236}">
                      <a16:creationId xmlns:a16="http://schemas.microsoft.com/office/drawing/2014/main" id="{34E864C9-EA34-3F4A-A415-2CB8E3B9B320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4590920" y="2105234"/>
                  <a:ext cx="792088" cy="792088"/>
                </a:xfrm>
                <a:prstGeom prst="ellipse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600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Ubuntu"/>
                    <a:ea typeface="+mn-ea"/>
                    <a:cs typeface="+mn-cs"/>
                  </a:endParaRPr>
                </a:p>
              </p:txBody>
            </p:sp>
            <p:grpSp>
              <p:nvGrpSpPr>
                <p:cNvPr id="295" name="Graphic 2">
                  <a:extLst>
                    <a:ext uri="{FF2B5EF4-FFF2-40B4-BE49-F238E27FC236}">
                      <a16:creationId xmlns:a16="http://schemas.microsoft.com/office/drawing/2014/main" id="{231AAFDF-59FC-6557-F52C-D6A504E18BEF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4765495" y="2256094"/>
                  <a:ext cx="442914" cy="490368"/>
                  <a:chOff x="5886813" y="3152586"/>
                  <a:chExt cx="418353" cy="463176"/>
                </a:xfrm>
                <a:solidFill>
                  <a:schemeClr val="bg1"/>
                </a:solidFill>
              </p:grpSpPr>
              <p:sp>
                <p:nvSpPr>
                  <p:cNvPr id="296" name="Freeform: Shape 257">
                    <a:extLst>
                      <a:ext uri="{FF2B5EF4-FFF2-40B4-BE49-F238E27FC236}">
                        <a16:creationId xmlns:a16="http://schemas.microsoft.com/office/drawing/2014/main" id="{5A41C6A4-5D78-3BE6-EFAF-C5D13BE89AC4}"/>
                      </a:ext>
                    </a:extLst>
                  </p:cNvPr>
                  <p:cNvSpPr/>
                  <p:nvPr/>
                </p:nvSpPr>
                <p:spPr>
                  <a:xfrm>
                    <a:off x="5886813" y="3152586"/>
                    <a:ext cx="418353" cy="463176"/>
                  </a:xfrm>
                  <a:custGeom>
                    <a:avLst/>
                    <a:gdLst>
                      <a:gd name="connsiteX0" fmla="*/ 418364 w 418353"/>
                      <a:gd name="connsiteY0" fmla="*/ 85463 h 463176"/>
                      <a:gd name="connsiteX1" fmla="*/ 209187 w 418353"/>
                      <a:gd name="connsiteY1" fmla="*/ 0 h 463176"/>
                      <a:gd name="connsiteX2" fmla="*/ 11 w 418353"/>
                      <a:gd name="connsiteY2" fmla="*/ 85463 h 463176"/>
                      <a:gd name="connsiteX3" fmla="*/ 11 w 418353"/>
                      <a:gd name="connsiteY3" fmla="*/ 86808 h 463176"/>
                      <a:gd name="connsiteX4" fmla="*/ 11 w 418353"/>
                      <a:gd name="connsiteY4" fmla="*/ 87555 h 463176"/>
                      <a:gd name="connsiteX5" fmla="*/ 11 w 418353"/>
                      <a:gd name="connsiteY5" fmla="*/ 375621 h 463176"/>
                      <a:gd name="connsiteX6" fmla="*/ 11 w 418353"/>
                      <a:gd name="connsiteY6" fmla="*/ 376667 h 463176"/>
                      <a:gd name="connsiteX7" fmla="*/ 11 w 418353"/>
                      <a:gd name="connsiteY7" fmla="*/ 377713 h 463176"/>
                      <a:gd name="connsiteX8" fmla="*/ 209187 w 418353"/>
                      <a:gd name="connsiteY8" fmla="*/ 463176 h 463176"/>
                      <a:gd name="connsiteX9" fmla="*/ 216658 w 418353"/>
                      <a:gd name="connsiteY9" fmla="*/ 455705 h 463176"/>
                      <a:gd name="connsiteX10" fmla="*/ 209187 w 418353"/>
                      <a:gd name="connsiteY10" fmla="*/ 448235 h 463176"/>
                      <a:gd name="connsiteX11" fmla="*/ 14952 w 418353"/>
                      <a:gd name="connsiteY11" fmla="*/ 377713 h 463176"/>
                      <a:gd name="connsiteX12" fmla="*/ 14952 w 418353"/>
                      <a:gd name="connsiteY12" fmla="*/ 376667 h 463176"/>
                      <a:gd name="connsiteX13" fmla="*/ 14952 w 418353"/>
                      <a:gd name="connsiteY13" fmla="*/ 375621 h 463176"/>
                      <a:gd name="connsiteX14" fmla="*/ 14952 w 418353"/>
                      <a:gd name="connsiteY14" fmla="*/ 312420 h 463176"/>
                      <a:gd name="connsiteX15" fmla="*/ 209187 w 418353"/>
                      <a:gd name="connsiteY15" fmla="*/ 365760 h 463176"/>
                      <a:gd name="connsiteX16" fmla="*/ 216658 w 418353"/>
                      <a:gd name="connsiteY16" fmla="*/ 358289 h 463176"/>
                      <a:gd name="connsiteX17" fmla="*/ 209187 w 418353"/>
                      <a:gd name="connsiteY17" fmla="*/ 350818 h 463176"/>
                      <a:gd name="connsiteX18" fmla="*/ 14952 w 418353"/>
                      <a:gd name="connsiteY18" fmla="*/ 280296 h 463176"/>
                      <a:gd name="connsiteX19" fmla="*/ 14952 w 418353"/>
                      <a:gd name="connsiteY19" fmla="*/ 215003 h 463176"/>
                      <a:gd name="connsiteX20" fmla="*/ 209187 w 418353"/>
                      <a:gd name="connsiteY20" fmla="*/ 268941 h 463176"/>
                      <a:gd name="connsiteX21" fmla="*/ 403423 w 418353"/>
                      <a:gd name="connsiteY21" fmla="*/ 215601 h 463176"/>
                      <a:gd name="connsiteX22" fmla="*/ 403423 w 418353"/>
                      <a:gd name="connsiteY22" fmla="*/ 271182 h 463176"/>
                      <a:gd name="connsiteX23" fmla="*/ 410893 w 418353"/>
                      <a:gd name="connsiteY23" fmla="*/ 278653 h 463176"/>
                      <a:gd name="connsiteX24" fmla="*/ 418364 w 418353"/>
                      <a:gd name="connsiteY24" fmla="*/ 271182 h 463176"/>
                      <a:gd name="connsiteX25" fmla="*/ 418364 w 418353"/>
                      <a:gd name="connsiteY25" fmla="*/ 87555 h 463176"/>
                      <a:gd name="connsiteX26" fmla="*/ 418364 w 418353"/>
                      <a:gd name="connsiteY26" fmla="*/ 86808 h 463176"/>
                      <a:gd name="connsiteX27" fmla="*/ 418364 w 418353"/>
                      <a:gd name="connsiteY27" fmla="*/ 85463 h 463176"/>
                      <a:gd name="connsiteX28" fmla="*/ 209187 w 418353"/>
                      <a:gd name="connsiteY28" fmla="*/ 14941 h 463176"/>
                      <a:gd name="connsiteX29" fmla="*/ 403423 w 418353"/>
                      <a:gd name="connsiteY29" fmla="*/ 85463 h 463176"/>
                      <a:gd name="connsiteX30" fmla="*/ 209187 w 418353"/>
                      <a:gd name="connsiteY30" fmla="*/ 155986 h 463176"/>
                      <a:gd name="connsiteX31" fmla="*/ 14952 w 418353"/>
                      <a:gd name="connsiteY31" fmla="*/ 85463 h 463176"/>
                      <a:gd name="connsiteX32" fmla="*/ 209187 w 418353"/>
                      <a:gd name="connsiteY32" fmla="*/ 14941 h 463176"/>
                      <a:gd name="connsiteX33" fmla="*/ 403423 w 418353"/>
                      <a:gd name="connsiteY33" fmla="*/ 182880 h 463176"/>
                      <a:gd name="connsiteX34" fmla="*/ 209187 w 418353"/>
                      <a:gd name="connsiteY34" fmla="*/ 254000 h 463176"/>
                      <a:gd name="connsiteX35" fmla="*/ 14952 w 418353"/>
                      <a:gd name="connsiteY35" fmla="*/ 182880 h 463176"/>
                      <a:gd name="connsiteX36" fmla="*/ 14952 w 418353"/>
                      <a:gd name="connsiteY36" fmla="*/ 117587 h 463176"/>
                      <a:gd name="connsiteX37" fmla="*/ 209187 w 418353"/>
                      <a:gd name="connsiteY37" fmla="*/ 170927 h 463176"/>
                      <a:gd name="connsiteX38" fmla="*/ 403423 w 418353"/>
                      <a:gd name="connsiteY38" fmla="*/ 117587 h 46317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</a:cxnLst>
                    <a:rect l="l" t="t" r="r" b="b"/>
                    <a:pathLst>
                      <a:path w="418353" h="463176">
                        <a:moveTo>
                          <a:pt x="418364" y="85463"/>
                        </a:moveTo>
                        <a:cubicBezTo>
                          <a:pt x="418364" y="37502"/>
                          <a:pt x="326476" y="0"/>
                          <a:pt x="209187" y="0"/>
                        </a:cubicBezTo>
                        <a:cubicBezTo>
                          <a:pt x="91899" y="0"/>
                          <a:pt x="11" y="37502"/>
                          <a:pt x="11" y="85463"/>
                        </a:cubicBezTo>
                        <a:cubicBezTo>
                          <a:pt x="11" y="85463"/>
                          <a:pt x="11" y="86360"/>
                          <a:pt x="11" y="86808"/>
                        </a:cubicBezTo>
                        <a:cubicBezTo>
                          <a:pt x="-4" y="87057"/>
                          <a:pt x="-4" y="87306"/>
                          <a:pt x="11" y="87555"/>
                        </a:cubicBezTo>
                        <a:lnTo>
                          <a:pt x="11" y="375621"/>
                        </a:lnTo>
                        <a:cubicBezTo>
                          <a:pt x="11" y="375621"/>
                          <a:pt x="11" y="376368"/>
                          <a:pt x="11" y="376667"/>
                        </a:cubicBezTo>
                        <a:cubicBezTo>
                          <a:pt x="11" y="376966"/>
                          <a:pt x="11" y="377414"/>
                          <a:pt x="11" y="377713"/>
                        </a:cubicBezTo>
                        <a:cubicBezTo>
                          <a:pt x="11" y="425674"/>
                          <a:pt x="91899" y="463176"/>
                          <a:pt x="209187" y="463176"/>
                        </a:cubicBezTo>
                        <a:cubicBezTo>
                          <a:pt x="213313" y="463176"/>
                          <a:pt x="216658" y="459831"/>
                          <a:pt x="216658" y="455705"/>
                        </a:cubicBezTo>
                        <a:cubicBezTo>
                          <a:pt x="216658" y="451580"/>
                          <a:pt x="213313" y="448235"/>
                          <a:pt x="209187" y="448235"/>
                        </a:cubicBezTo>
                        <a:cubicBezTo>
                          <a:pt x="92945" y="448235"/>
                          <a:pt x="14952" y="411778"/>
                          <a:pt x="14952" y="377713"/>
                        </a:cubicBezTo>
                        <a:cubicBezTo>
                          <a:pt x="14952" y="377713"/>
                          <a:pt x="14952" y="377713"/>
                          <a:pt x="14952" y="376667"/>
                        </a:cubicBezTo>
                        <a:cubicBezTo>
                          <a:pt x="14952" y="375621"/>
                          <a:pt x="14952" y="376667"/>
                          <a:pt x="14952" y="375621"/>
                        </a:cubicBezTo>
                        <a:lnTo>
                          <a:pt x="14952" y="312420"/>
                        </a:lnTo>
                        <a:cubicBezTo>
                          <a:pt x="44834" y="343647"/>
                          <a:pt x="119540" y="365760"/>
                          <a:pt x="209187" y="365760"/>
                        </a:cubicBezTo>
                        <a:cubicBezTo>
                          <a:pt x="213313" y="365760"/>
                          <a:pt x="216658" y="362414"/>
                          <a:pt x="216658" y="358289"/>
                        </a:cubicBezTo>
                        <a:cubicBezTo>
                          <a:pt x="216658" y="354164"/>
                          <a:pt x="213313" y="350818"/>
                          <a:pt x="209187" y="350818"/>
                        </a:cubicBezTo>
                        <a:cubicBezTo>
                          <a:pt x="92945" y="350818"/>
                          <a:pt x="14952" y="313764"/>
                          <a:pt x="14952" y="280296"/>
                        </a:cubicBezTo>
                        <a:lnTo>
                          <a:pt x="14952" y="215003"/>
                        </a:lnTo>
                        <a:cubicBezTo>
                          <a:pt x="44834" y="246529"/>
                          <a:pt x="119540" y="268941"/>
                          <a:pt x="209187" y="268941"/>
                        </a:cubicBezTo>
                        <a:cubicBezTo>
                          <a:pt x="298834" y="268941"/>
                          <a:pt x="373540" y="247127"/>
                          <a:pt x="403423" y="215601"/>
                        </a:cubicBezTo>
                        <a:lnTo>
                          <a:pt x="403423" y="271182"/>
                        </a:lnTo>
                        <a:cubicBezTo>
                          <a:pt x="403423" y="275307"/>
                          <a:pt x="406768" y="278653"/>
                          <a:pt x="410893" y="278653"/>
                        </a:cubicBezTo>
                        <a:cubicBezTo>
                          <a:pt x="415019" y="278653"/>
                          <a:pt x="418364" y="275307"/>
                          <a:pt x="418364" y="271182"/>
                        </a:cubicBezTo>
                        <a:lnTo>
                          <a:pt x="418364" y="87555"/>
                        </a:lnTo>
                        <a:cubicBezTo>
                          <a:pt x="418379" y="87306"/>
                          <a:pt x="418379" y="87057"/>
                          <a:pt x="418364" y="86808"/>
                        </a:cubicBezTo>
                        <a:cubicBezTo>
                          <a:pt x="418364" y="86808"/>
                          <a:pt x="418364" y="85912"/>
                          <a:pt x="418364" y="85463"/>
                        </a:cubicBezTo>
                        <a:close/>
                        <a:moveTo>
                          <a:pt x="209187" y="14941"/>
                        </a:moveTo>
                        <a:cubicBezTo>
                          <a:pt x="325430" y="14941"/>
                          <a:pt x="403423" y="51398"/>
                          <a:pt x="403423" y="85463"/>
                        </a:cubicBezTo>
                        <a:cubicBezTo>
                          <a:pt x="403423" y="119529"/>
                          <a:pt x="325430" y="155986"/>
                          <a:pt x="209187" y="155986"/>
                        </a:cubicBezTo>
                        <a:cubicBezTo>
                          <a:pt x="92945" y="155986"/>
                          <a:pt x="14952" y="119529"/>
                          <a:pt x="14952" y="85463"/>
                        </a:cubicBezTo>
                        <a:cubicBezTo>
                          <a:pt x="14952" y="51398"/>
                          <a:pt x="92945" y="14941"/>
                          <a:pt x="209187" y="14941"/>
                        </a:cubicBezTo>
                        <a:close/>
                        <a:moveTo>
                          <a:pt x="403423" y="182880"/>
                        </a:moveTo>
                        <a:cubicBezTo>
                          <a:pt x="403423" y="216946"/>
                          <a:pt x="325430" y="254000"/>
                          <a:pt x="209187" y="254000"/>
                        </a:cubicBezTo>
                        <a:cubicBezTo>
                          <a:pt x="92945" y="254000"/>
                          <a:pt x="14952" y="216946"/>
                          <a:pt x="14952" y="182880"/>
                        </a:cubicBezTo>
                        <a:lnTo>
                          <a:pt x="14952" y="117587"/>
                        </a:lnTo>
                        <a:cubicBezTo>
                          <a:pt x="44834" y="149412"/>
                          <a:pt x="119540" y="170927"/>
                          <a:pt x="209187" y="170927"/>
                        </a:cubicBezTo>
                        <a:cubicBezTo>
                          <a:pt x="298834" y="170927"/>
                          <a:pt x="373540" y="149412"/>
                          <a:pt x="403423" y="117587"/>
                        </a:cubicBezTo>
                        <a:close/>
                      </a:path>
                    </a:pathLst>
                  </a:custGeom>
                  <a:grpFill/>
                  <a:ln w="1462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97" name="Freeform: Shape 258">
                    <a:extLst>
                      <a:ext uri="{FF2B5EF4-FFF2-40B4-BE49-F238E27FC236}">
                        <a16:creationId xmlns:a16="http://schemas.microsoft.com/office/drawing/2014/main" id="{7D23743B-5C80-0A95-A0E3-068754B664DD}"/>
                      </a:ext>
                    </a:extLst>
                  </p:cNvPr>
                  <p:cNvSpPr/>
                  <p:nvPr/>
                </p:nvSpPr>
                <p:spPr>
                  <a:xfrm>
                    <a:off x="6146502" y="3445881"/>
                    <a:ext cx="149412" cy="164353"/>
                  </a:xfrm>
                  <a:custGeom>
                    <a:avLst/>
                    <a:gdLst>
                      <a:gd name="connsiteX0" fmla="*/ 144631 w 149411"/>
                      <a:gd name="connsiteY0" fmla="*/ 38399 h 164352"/>
                      <a:gd name="connsiteX1" fmla="*/ 79636 w 149411"/>
                      <a:gd name="connsiteY1" fmla="*/ 747 h 164352"/>
                      <a:gd name="connsiteX2" fmla="*/ 78889 w 149411"/>
                      <a:gd name="connsiteY2" fmla="*/ 747 h 164352"/>
                      <a:gd name="connsiteX3" fmla="*/ 77545 w 149411"/>
                      <a:gd name="connsiteY3" fmla="*/ 0 h 164352"/>
                      <a:gd name="connsiteX4" fmla="*/ 76200 w 149411"/>
                      <a:gd name="connsiteY4" fmla="*/ 0 h 164352"/>
                      <a:gd name="connsiteX5" fmla="*/ 73511 w 149411"/>
                      <a:gd name="connsiteY5" fmla="*/ 0 h 164352"/>
                      <a:gd name="connsiteX6" fmla="*/ 72166 w 149411"/>
                      <a:gd name="connsiteY6" fmla="*/ 0 h 164352"/>
                      <a:gd name="connsiteX7" fmla="*/ 70821 w 149411"/>
                      <a:gd name="connsiteY7" fmla="*/ 0 h 164352"/>
                      <a:gd name="connsiteX8" fmla="*/ 70074 w 149411"/>
                      <a:gd name="connsiteY8" fmla="*/ 0 h 164352"/>
                      <a:gd name="connsiteX9" fmla="*/ 5080 w 149411"/>
                      <a:gd name="connsiteY9" fmla="*/ 37652 h 164352"/>
                      <a:gd name="connsiteX10" fmla="*/ 0 w 149411"/>
                      <a:gd name="connsiteY10" fmla="*/ 44674 h 164352"/>
                      <a:gd name="connsiteX11" fmla="*/ 73361 w 149411"/>
                      <a:gd name="connsiteY11" fmla="*/ 168985 h 164352"/>
                      <a:gd name="connsiteX12" fmla="*/ 76349 w 149411"/>
                      <a:gd name="connsiteY12" fmla="*/ 168985 h 164352"/>
                      <a:gd name="connsiteX13" fmla="*/ 149711 w 149411"/>
                      <a:gd name="connsiteY13" fmla="*/ 44674 h 164352"/>
                      <a:gd name="connsiteX14" fmla="*/ 144631 w 149411"/>
                      <a:gd name="connsiteY14" fmla="*/ 38399 h 164352"/>
                      <a:gd name="connsiteX15" fmla="*/ 74855 w 149411"/>
                      <a:gd name="connsiteY15" fmla="*/ 154940 h 164352"/>
                      <a:gd name="connsiteX16" fmla="*/ 15091 w 149411"/>
                      <a:gd name="connsiteY16" fmla="*/ 50352 h 164352"/>
                      <a:gd name="connsiteX17" fmla="*/ 74855 w 149411"/>
                      <a:gd name="connsiteY17" fmla="*/ 15688 h 164352"/>
                      <a:gd name="connsiteX18" fmla="*/ 134620 w 149411"/>
                      <a:gd name="connsiteY18" fmla="*/ 50352 h 164352"/>
                      <a:gd name="connsiteX19" fmla="*/ 74855 w 149411"/>
                      <a:gd name="connsiteY19" fmla="*/ 154940 h 1643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</a:cxnLst>
                    <a:rect l="l" t="t" r="r" b="b"/>
                    <a:pathLst>
                      <a:path w="149411" h="164352">
                        <a:moveTo>
                          <a:pt x="144631" y="38399"/>
                        </a:moveTo>
                        <a:cubicBezTo>
                          <a:pt x="121209" y="29161"/>
                          <a:pt x="99302" y="16470"/>
                          <a:pt x="79636" y="747"/>
                        </a:cubicBezTo>
                        <a:lnTo>
                          <a:pt x="78889" y="747"/>
                        </a:lnTo>
                        <a:lnTo>
                          <a:pt x="77545" y="0"/>
                        </a:lnTo>
                        <a:lnTo>
                          <a:pt x="76200" y="0"/>
                        </a:lnTo>
                        <a:lnTo>
                          <a:pt x="73511" y="0"/>
                        </a:lnTo>
                        <a:lnTo>
                          <a:pt x="72166" y="0"/>
                        </a:lnTo>
                        <a:lnTo>
                          <a:pt x="70821" y="0"/>
                        </a:lnTo>
                        <a:lnTo>
                          <a:pt x="70074" y="0"/>
                        </a:lnTo>
                        <a:cubicBezTo>
                          <a:pt x="50409" y="15723"/>
                          <a:pt x="28502" y="28414"/>
                          <a:pt x="5080" y="37652"/>
                        </a:cubicBezTo>
                        <a:cubicBezTo>
                          <a:pt x="2090" y="38708"/>
                          <a:pt x="67" y="41505"/>
                          <a:pt x="0" y="44674"/>
                        </a:cubicBezTo>
                        <a:cubicBezTo>
                          <a:pt x="0" y="152699"/>
                          <a:pt x="72614" y="168835"/>
                          <a:pt x="73361" y="168985"/>
                        </a:cubicBezTo>
                        <a:lnTo>
                          <a:pt x="76349" y="168985"/>
                        </a:lnTo>
                        <a:cubicBezTo>
                          <a:pt x="77097" y="168985"/>
                          <a:pt x="149711" y="152699"/>
                          <a:pt x="149711" y="44674"/>
                        </a:cubicBezTo>
                        <a:cubicBezTo>
                          <a:pt x="149355" y="41783"/>
                          <a:pt x="147384" y="39348"/>
                          <a:pt x="144631" y="38399"/>
                        </a:cubicBezTo>
                        <a:close/>
                        <a:moveTo>
                          <a:pt x="74855" y="154940"/>
                        </a:moveTo>
                        <a:cubicBezTo>
                          <a:pt x="65592" y="152400"/>
                          <a:pt x="17033" y="134769"/>
                          <a:pt x="15091" y="50352"/>
                        </a:cubicBezTo>
                        <a:cubicBezTo>
                          <a:pt x="36440" y="41457"/>
                          <a:pt x="56533" y="29803"/>
                          <a:pt x="74855" y="15688"/>
                        </a:cubicBezTo>
                        <a:cubicBezTo>
                          <a:pt x="93178" y="29803"/>
                          <a:pt x="113271" y="41457"/>
                          <a:pt x="134620" y="50352"/>
                        </a:cubicBezTo>
                        <a:cubicBezTo>
                          <a:pt x="132678" y="134470"/>
                          <a:pt x="83969" y="152101"/>
                          <a:pt x="74855" y="154940"/>
                        </a:cubicBezTo>
                        <a:close/>
                      </a:path>
                    </a:pathLst>
                  </a:custGeom>
                  <a:grpFill/>
                  <a:ln w="1462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175" name="Group 174">
                <a:extLst>
                  <a:ext uri="{FF2B5EF4-FFF2-40B4-BE49-F238E27FC236}">
                    <a16:creationId xmlns:a16="http://schemas.microsoft.com/office/drawing/2014/main" id="{03ED0F99-E11B-48A4-BB86-5255DF2C8710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4331268" y="2510503"/>
                <a:ext cx="792988" cy="792988"/>
                <a:chOff x="5273814" y="2105234"/>
                <a:chExt cx="792088" cy="792088"/>
              </a:xfrm>
            </p:grpSpPr>
            <p:sp>
              <p:nvSpPr>
                <p:cNvPr id="292" name="Oval 291">
                  <a:extLst>
                    <a:ext uri="{FF2B5EF4-FFF2-40B4-BE49-F238E27FC236}">
                      <a16:creationId xmlns:a16="http://schemas.microsoft.com/office/drawing/2014/main" id="{CBA29A14-D2CE-F19E-63B5-B2680427D919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5273814" y="2105234"/>
                  <a:ext cx="792088" cy="792088"/>
                </a:xfrm>
                <a:prstGeom prst="ellipse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600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Ubuntu"/>
                    <a:ea typeface="+mn-ea"/>
                    <a:cs typeface="+mn-cs"/>
                  </a:endParaRPr>
                </a:p>
              </p:txBody>
            </p:sp>
            <p:sp>
              <p:nvSpPr>
                <p:cNvPr id="293" name="Graphic 12">
                  <a:extLst>
                    <a:ext uri="{FF2B5EF4-FFF2-40B4-BE49-F238E27FC236}">
                      <a16:creationId xmlns:a16="http://schemas.microsoft.com/office/drawing/2014/main" id="{6196336E-B94C-FF74-7D0A-D29A42FEEE2E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5432501" y="2256010"/>
                  <a:ext cx="474714" cy="490536"/>
                </a:xfrm>
                <a:custGeom>
                  <a:avLst/>
                  <a:gdLst>
                    <a:gd name="connsiteX0" fmla="*/ 441961 w 448235"/>
                    <a:gd name="connsiteY0" fmla="*/ 74924 h 463177"/>
                    <a:gd name="connsiteX1" fmla="*/ 394896 w 448235"/>
                    <a:gd name="connsiteY1" fmla="*/ 63120 h 463177"/>
                    <a:gd name="connsiteX2" fmla="*/ 296135 w 448235"/>
                    <a:gd name="connsiteY2" fmla="*/ 82394 h 463177"/>
                    <a:gd name="connsiteX3" fmla="*/ 82370 w 448235"/>
                    <a:gd name="connsiteY3" fmla="*/ 19160 h 463177"/>
                    <a:gd name="connsiteX4" fmla="*/ 1345 w 448235"/>
                    <a:gd name="connsiteY4" fmla="*/ 178167 h 463177"/>
                    <a:gd name="connsiteX5" fmla="*/ 1345 w 448235"/>
                    <a:gd name="connsiteY5" fmla="*/ 178167 h 463177"/>
                    <a:gd name="connsiteX6" fmla="*/ 1345 w 448235"/>
                    <a:gd name="connsiteY6" fmla="*/ 178914 h 463177"/>
                    <a:gd name="connsiteX7" fmla="*/ 34963 w 448235"/>
                    <a:gd name="connsiteY7" fmla="*/ 257206 h 463177"/>
                    <a:gd name="connsiteX8" fmla="*/ 49904 w 448235"/>
                    <a:gd name="connsiteY8" fmla="*/ 296502 h 463177"/>
                    <a:gd name="connsiteX9" fmla="*/ 49904 w 448235"/>
                    <a:gd name="connsiteY9" fmla="*/ 455924 h 463177"/>
                    <a:gd name="connsiteX10" fmla="*/ 57374 w 448235"/>
                    <a:gd name="connsiteY10" fmla="*/ 463395 h 463177"/>
                    <a:gd name="connsiteX11" fmla="*/ 64845 w 448235"/>
                    <a:gd name="connsiteY11" fmla="*/ 455924 h 463177"/>
                    <a:gd name="connsiteX12" fmla="*/ 64845 w 448235"/>
                    <a:gd name="connsiteY12" fmla="*/ 296651 h 463177"/>
                    <a:gd name="connsiteX13" fmla="*/ 46617 w 448235"/>
                    <a:gd name="connsiteY13" fmla="*/ 247943 h 463177"/>
                    <a:gd name="connsiteX14" fmla="*/ 17481 w 448235"/>
                    <a:gd name="connsiteY14" fmla="*/ 185787 h 463177"/>
                    <a:gd name="connsiteX15" fmla="*/ 200362 w 448235"/>
                    <a:gd name="connsiteY15" fmla="*/ 185787 h 463177"/>
                    <a:gd name="connsiteX16" fmla="*/ 200362 w 448235"/>
                    <a:gd name="connsiteY16" fmla="*/ 217164 h 463177"/>
                    <a:gd name="connsiteX17" fmla="*/ 246231 w 448235"/>
                    <a:gd name="connsiteY17" fmla="*/ 273642 h 463177"/>
                    <a:gd name="connsiteX18" fmla="*/ 291055 w 448235"/>
                    <a:gd name="connsiteY18" fmla="*/ 282756 h 463177"/>
                    <a:gd name="connsiteX19" fmla="*/ 291055 w 448235"/>
                    <a:gd name="connsiteY19" fmla="*/ 358806 h 463177"/>
                    <a:gd name="connsiteX20" fmla="*/ 287469 w 448235"/>
                    <a:gd name="connsiteY20" fmla="*/ 366725 h 463177"/>
                    <a:gd name="connsiteX21" fmla="*/ 281791 w 448235"/>
                    <a:gd name="connsiteY21" fmla="*/ 367921 h 463177"/>
                    <a:gd name="connsiteX22" fmla="*/ 228451 w 448235"/>
                    <a:gd name="connsiteY22" fmla="*/ 352979 h 463177"/>
                    <a:gd name="connsiteX23" fmla="*/ 209625 w 448235"/>
                    <a:gd name="connsiteY23" fmla="*/ 356715 h 463177"/>
                    <a:gd name="connsiteX24" fmla="*/ 200212 w 448235"/>
                    <a:gd name="connsiteY24" fmla="*/ 376437 h 463177"/>
                    <a:gd name="connsiteX25" fmla="*/ 200212 w 448235"/>
                    <a:gd name="connsiteY25" fmla="*/ 455924 h 463177"/>
                    <a:gd name="connsiteX26" fmla="*/ 207683 w 448235"/>
                    <a:gd name="connsiteY26" fmla="*/ 463395 h 463177"/>
                    <a:gd name="connsiteX27" fmla="*/ 215153 w 448235"/>
                    <a:gd name="connsiteY27" fmla="*/ 455924 h 463177"/>
                    <a:gd name="connsiteX28" fmla="*/ 215153 w 448235"/>
                    <a:gd name="connsiteY28" fmla="*/ 376138 h 463177"/>
                    <a:gd name="connsiteX29" fmla="*/ 218739 w 448235"/>
                    <a:gd name="connsiteY29" fmla="*/ 368369 h 463177"/>
                    <a:gd name="connsiteX30" fmla="*/ 224566 w 448235"/>
                    <a:gd name="connsiteY30" fmla="*/ 367173 h 463177"/>
                    <a:gd name="connsiteX31" fmla="*/ 277757 w 448235"/>
                    <a:gd name="connsiteY31" fmla="*/ 382115 h 463177"/>
                    <a:gd name="connsiteX32" fmla="*/ 296583 w 448235"/>
                    <a:gd name="connsiteY32" fmla="*/ 378379 h 463177"/>
                    <a:gd name="connsiteX33" fmla="*/ 306145 w 448235"/>
                    <a:gd name="connsiteY33" fmla="*/ 358806 h 463177"/>
                    <a:gd name="connsiteX34" fmla="*/ 306145 w 448235"/>
                    <a:gd name="connsiteY34" fmla="*/ 285744 h 463177"/>
                    <a:gd name="connsiteX35" fmla="*/ 394896 w 448235"/>
                    <a:gd name="connsiteY35" fmla="*/ 303673 h 463177"/>
                    <a:gd name="connsiteX36" fmla="*/ 406102 w 448235"/>
                    <a:gd name="connsiteY36" fmla="*/ 304719 h 463177"/>
                    <a:gd name="connsiteX37" fmla="*/ 441961 w 448235"/>
                    <a:gd name="connsiteY37" fmla="*/ 291870 h 463177"/>
                    <a:gd name="connsiteX38" fmla="*/ 463028 w 448235"/>
                    <a:gd name="connsiteY38" fmla="*/ 247046 h 463177"/>
                    <a:gd name="connsiteX39" fmla="*/ 463028 w 448235"/>
                    <a:gd name="connsiteY39" fmla="*/ 118851 h 463177"/>
                    <a:gd name="connsiteX40" fmla="*/ 441961 w 448235"/>
                    <a:gd name="connsiteY40" fmla="*/ 74924 h 463177"/>
                    <a:gd name="connsiteX41" fmla="*/ 14941 w 448235"/>
                    <a:gd name="connsiteY41" fmla="*/ 170846 h 463177"/>
                    <a:gd name="connsiteX42" fmla="*/ 16436 w 448235"/>
                    <a:gd name="connsiteY42" fmla="*/ 136631 h 463177"/>
                    <a:gd name="connsiteX43" fmla="*/ 179047 w 448235"/>
                    <a:gd name="connsiteY43" fmla="*/ 16785 h 463177"/>
                    <a:gd name="connsiteX44" fmla="*/ 280745 w 448235"/>
                    <a:gd name="connsiteY44" fmla="*/ 85532 h 463177"/>
                    <a:gd name="connsiteX45" fmla="*/ 246231 w 448235"/>
                    <a:gd name="connsiteY45" fmla="*/ 92554 h 463177"/>
                    <a:gd name="connsiteX46" fmla="*/ 200362 w 448235"/>
                    <a:gd name="connsiteY46" fmla="*/ 149630 h 463177"/>
                    <a:gd name="connsiteX47" fmla="*/ 200362 w 448235"/>
                    <a:gd name="connsiteY47" fmla="*/ 171593 h 463177"/>
                    <a:gd name="connsiteX48" fmla="*/ 448236 w 448235"/>
                    <a:gd name="connsiteY48" fmla="*/ 247196 h 463177"/>
                    <a:gd name="connsiteX49" fmla="*/ 433295 w 448235"/>
                    <a:gd name="connsiteY49" fmla="*/ 280365 h 463177"/>
                    <a:gd name="connsiteX50" fmla="*/ 398631 w 448235"/>
                    <a:gd name="connsiteY50" fmla="*/ 289031 h 463177"/>
                    <a:gd name="connsiteX51" fmla="*/ 249219 w 448235"/>
                    <a:gd name="connsiteY51" fmla="*/ 259149 h 463177"/>
                    <a:gd name="connsiteX52" fmla="*/ 215452 w 448235"/>
                    <a:gd name="connsiteY52" fmla="*/ 217313 h 463177"/>
                    <a:gd name="connsiteX53" fmla="*/ 215452 w 448235"/>
                    <a:gd name="connsiteY53" fmla="*/ 185937 h 463177"/>
                    <a:gd name="connsiteX54" fmla="*/ 250564 w 448235"/>
                    <a:gd name="connsiteY54" fmla="*/ 185937 h 463177"/>
                    <a:gd name="connsiteX55" fmla="*/ 250564 w 448235"/>
                    <a:gd name="connsiteY55" fmla="*/ 208199 h 463177"/>
                    <a:gd name="connsiteX56" fmla="*/ 258035 w 448235"/>
                    <a:gd name="connsiteY56" fmla="*/ 215670 h 463177"/>
                    <a:gd name="connsiteX57" fmla="*/ 265505 w 448235"/>
                    <a:gd name="connsiteY57" fmla="*/ 208199 h 463177"/>
                    <a:gd name="connsiteX58" fmla="*/ 265505 w 448235"/>
                    <a:gd name="connsiteY58" fmla="*/ 157997 h 463177"/>
                    <a:gd name="connsiteX59" fmla="*/ 258035 w 448235"/>
                    <a:gd name="connsiteY59" fmla="*/ 150526 h 463177"/>
                    <a:gd name="connsiteX60" fmla="*/ 250564 w 448235"/>
                    <a:gd name="connsiteY60" fmla="*/ 157997 h 463177"/>
                    <a:gd name="connsiteX61" fmla="*/ 250564 w 448235"/>
                    <a:gd name="connsiteY61" fmla="*/ 170846 h 463177"/>
                    <a:gd name="connsiteX62" fmla="*/ 215303 w 448235"/>
                    <a:gd name="connsiteY62" fmla="*/ 170846 h 463177"/>
                    <a:gd name="connsiteX63" fmla="*/ 215303 w 448235"/>
                    <a:gd name="connsiteY63" fmla="*/ 149630 h 463177"/>
                    <a:gd name="connsiteX64" fmla="*/ 249070 w 448235"/>
                    <a:gd name="connsiteY64" fmla="*/ 107944 h 463177"/>
                    <a:gd name="connsiteX65" fmla="*/ 292399 w 448235"/>
                    <a:gd name="connsiteY65" fmla="*/ 99128 h 463177"/>
                    <a:gd name="connsiteX66" fmla="*/ 294491 w 448235"/>
                    <a:gd name="connsiteY66" fmla="*/ 99128 h 463177"/>
                    <a:gd name="connsiteX67" fmla="*/ 397884 w 448235"/>
                    <a:gd name="connsiteY67" fmla="*/ 78211 h 463177"/>
                    <a:gd name="connsiteX68" fmla="*/ 433295 w 448235"/>
                    <a:gd name="connsiteY68" fmla="*/ 85681 h 463177"/>
                    <a:gd name="connsiteX69" fmla="*/ 448236 w 448235"/>
                    <a:gd name="connsiteY69" fmla="*/ 118851 h 4631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</a:cxnLst>
                  <a:rect l="l" t="t" r="r" b="b"/>
                  <a:pathLst>
                    <a:path w="448235" h="463177">
                      <a:moveTo>
                        <a:pt x="441961" y="74924"/>
                      </a:moveTo>
                      <a:cubicBezTo>
                        <a:pt x="428848" y="64107"/>
                        <a:pt x="411561" y="59772"/>
                        <a:pt x="394896" y="63120"/>
                      </a:cubicBezTo>
                      <a:lnTo>
                        <a:pt x="296135" y="82394"/>
                      </a:lnTo>
                      <a:cubicBezTo>
                        <a:pt x="254567" y="5903"/>
                        <a:pt x="158861" y="-22408"/>
                        <a:pt x="82370" y="19160"/>
                      </a:cubicBezTo>
                      <a:cubicBezTo>
                        <a:pt x="25069" y="50299"/>
                        <a:pt x="-7139" y="113507"/>
                        <a:pt x="1345" y="178167"/>
                      </a:cubicBezTo>
                      <a:lnTo>
                        <a:pt x="1345" y="178167"/>
                      </a:lnTo>
                      <a:cubicBezTo>
                        <a:pt x="1345" y="178167"/>
                        <a:pt x="1345" y="178167"/>
                        <a:pt x="1345" y="178914"/>
                      </a:cubicBezTo>
                      <a:cubicBezTo>
                        <a:pt x="5060" y="207628"/>
                        <a:pt x="16701" y="234739"/>
                        <a:pt x="34963" y="257206"/>
                      </a:cubicBezTo>
                      <a:cubicBezTo>
                        <a:pt x="44334" y="268185"/>
                        <a:pt x="49614" y="282070"/>
                        <a:pt x="49904" y="296502"/>
                      </a:cubicBezTo>
                      <a:lnTo>
                        <a:pt x="49904" y="455924"/>
                      </a:lnTo>
                      <a:cubicBezTo>
                        <a:pt x="49904" y="460049"/>
                        <a:pt x="53249" y="463395"/>
                        <a:pt x="57374" y="463395"/>
                      </a:cubicBezTo>
                      <a:cubicBezTo>
                        <a:pt x="61467" y="463316"/>
                        <a:pt x="64766" y="460017"/>
                        <a:pt x="64845" y="455924"/>
                      </a:cubicBezTo>
                      <a:lnTo>
                        <a:pt x="64845" y="296651"/>
                      </a:lnTo>
                      <a:cubicBezTo>
                        <a:pt x="64619" y="278789"/>
                        <a:pt x="58173" y="261565"/>
                        <a:pt x="46617" y="247943"/>
                      </a:cubicBezTo>
                      <a:cubicBezTo>
                        <a:pt x="31961" y="229924"/>
                        <a:pt x="21956" y="208580"/>
                        <a:pt x="17481" y="185787"/>
                      </a:cubicBezTo>
                      <a:lnTo>
                        <a:pt x="200362" y="185787"/>
                      </a:lnTo>
                      <a:lnTo>
                        <a:pt x="200362" y="217164"/>
                      </a:lnTo>
                      <a:cubicBezTo>
                        <a:pt x="200350" y="244476"/>
                        <a:pt x="219497" y="268052"/>
                        <a:pt x="246231" y="273642"/>
                      </a:cubicBezTo>
                      <a:lnTo>
                        <a:pt x="291055" y="282756"/>
                      </a:lnTo>
                      <a:lnTo>
                        <a:pt x="291055" y="358806"/>
                      </a:lnTo>
                      <a:cubicBezTo>
                        <a:pt x="291128" y="361854"/>
                        <a:pt x="289807" y="364769"/>
                        <a:pt x="287469" y="366725"/>
                      </a:cubicBezTo>
                      <a:cubicBezTo>
                        <a:pt x="285854" y="367962"/>
                        <a:pt x="283766" y="368402"/>
                        <a:pt x="281791" y="367921"/>
                      </a:cubicBezTo>
                      <a:lnTo>
                        <a:pt x="228451" y="352979"/>
                      </a:lnTo>
                      <a:cubicBezTo>
                        <a:pt x="221935" y="351272"/>
                        <a:pt x="214995" y="352649"/>
                        <a:pt x="209625" y="356715"/>
                      </a:cubicBezTo>
                      <a:cubicBezTo>
                        <a:pt x="203658" y="361520"/>
                        <a:pt x="200196" y="368775"/>
                        <a:pt x="200212" y="376437"/>
                      </a:cubicBezTo>
                      <a:lnTo>
                        <a:pt x="200212" y="455924"/>
                      </a:lnTo>
                      <a:cubicBezTo>
                        <a:pt x="200212" y="460049"/>
                        <a:pt x="203558" y="463395"/>
                        <a:pt x="207683" y="463395"/>
                      </a:cubicBezTo>
                      <a:cubicBezTo>
                        <a:pt x="211808" y="463395"/>
                        <a:pt x="215153" y="460049"/>
                        <a:pt x="215153" y="455924"/>
                      </a:cubicBezTo>
                      <a:lnTo>
                        <a:pt x="215153" y="376138"/>
                      </a:lnTo>
                      <a:cubicBezTo>
                        <a:pt x="215082" y="373134"/>
                        <a:pt x="216406" y="370263"/>
                        <a:pt x="218739" y="368369"/>
                      </a:cubicBezTo>
                      <a:cubicBezTo>
                        <a:pt x="220380" y="367064"/>
                        <a:pt x="222545" y="366621"/>
                        <a:pt x="224566" y="367173"/>
                      </a:cubicBezTo>
                      <a:lnTo>
                        <a:pt x="277757" y="382115"/>
                      </a:lnTo>
                      <a:cubicBezTo>
                        <a:pt x="284270" y="383917"/>
                        <a:pt x="291252" y="382532"/>
                        <a:pt x="296583" y="378379"/>
                      </a:cubicBezTo>
                      <a:cubicBezTo>
                        <a:pt x="302655" y="373709"/>
                        <a:pt x="306193" y="366467"/>
                        <a:pt x="306145" y="358806"/>
                      </a:cubicBezTo>
                      <a:lnTo>
                        <a:pt x="306145" y="285744"/>
                      </a:lnTo>
                      <a:lnTo>
                        <a:pt x="394896" y="303673"/>
                      </a:lnTo>
                      <a:cubicBezTo>
                        <a:pt x="398588" y="304391"/>
                        <a:pt x="402341" y="304742"/>
                        <a:pt x="406102" y="304719"/>
                      </a:cubicBezTo>
                      <a:cubicBezTo>
                        <a:pt x="419190" y="304769"/>
                        <a:pt x="431881" y="300220"/>
                        <a:pt x="441961" y="291870"/>
                      </a:cubicBezTo>
                      <a:cubicBezTo>
                        <a:pt x="455438" y="280912"/>
                        <a:pt x="463192" y="264415"/>
                        <a:pt x="463028" y="247046"/>
                      </a:cubicBezTo>
                      <a:lnTo>
                        <a:pt x="463028" y="118851"/>
                      </a:lnTo>
                      <a:cubicBezTo>
                        <a:pt x="462922" y="101796"/>
                        <a:pt x="455193" y="85683"/>
                        <a:pt x="441961" y="74924"/>
                      </a:cubicBezTo>
                      <a:close/>
                      <a:moveTo>
                        <a:pt x="14941" y="170846"/>
                      </a:moveTo>
                      <a:cubicBezTo>
                        <a:pt x="14172" y="159421"/>
                        <a:pt x="14673" y="147946"/>
                        <a:pt x="16436" y="136631"/>
                      </a:cubicBezTo>
                      <a:cubicBezTo>
                        <a:pt x="28245" y="58633"/>
                        <a:pt x="101048" y="4976"/>
                        <a:pt x="179047" y="16785"/>
                      </a:cubicBezTo>
                      <a:cubicBezTo>
                        <a:pt x="221566" y="23223"/>
                        <a:pt x="258924" y="48476"/>
                        <a:pt x="280745" y="85532"/>
                      </a:cubicBezTo>
                      <a:lnTo>
                        <a:pt x="246231" y="92554"/>
                      </a:lnTo>
                      <a:cubicBezTo>
                        <a:pt x="219243" y="98135"/>
                        <a:pt x="200006" y="122073"/>
                        <a:pt x="200362" y="149630"/>
                      </a:cubicBezTo>
                      <a:lnTo>
                        <a:pt x="200362" y="171593"/>
                      </a:lnTo>
                      <a:close/>
                      <a:moveTo>
                        <a:pt x="448236" y="247196"/>
                      </a:moveTo>
                      <a:cubicBezTo>
                        <a:pt x="448466" y="259930"/>
                        <a:pt x="442986" y="272100"/>
                        <a:pt x="433295" y="280365"/>
                      </a:cubicBezTo>
                      <a:cubicBezTo>
                        <a:pt x="423598" y="288253"/>
                        <a:pt x="410900" y="291428"/>
                        <a:pt x="398631" y="289031"/>
                      </a:cubicBezTo>
                      <a:lnTo>
                        <a:pt x="249219" y="259149"/>
                      </a:lnTo>
                      <a:cubicBezTo>
                        <a:pt x="229503" y="254919"/>
                        <a:pt x="215427" y="237479"/>
                        <a:pt x="215452" y="217313"/>
                      </a:cubicBezTo>
                      <a:lnTo>
                        <a:pt x="215452" y="185937"/>
                      </a:lnTo>
                      <a:lnTo>
                        <a:pt x="250564" y="185937"/>
                      </a:lnTo>
                      <a:lnTo>
                        <a:pt x="250564" y="208199"/>
                      </a:lnTo>
                      <a:cubicBezTo>
                        <a:pt x="250564" y="212324"/>
                        <a:pt x="253909" y="215670"/>
                        <a:pt x="258035" y="215670"/>
                      </a:cubicBezTo>
                      <a:cubicBezTo>
                        <a:pt x="262160" y="215670"/>
                        <a:pt x="265505" y="212324"/>
                        <a:pt x="265505" y="208199"/>
                      </a:cubicBezTo>
                      <a:lnTo>
                        <a:pt x="265505" y="157997"/>
                      </a:lnTo>
                      <a:cubicBezTo>
                        <a:pt x="265505" y="153871"/>
                        <a:pt x="262160" y="150526"/>
                        <a:pt x="258035" y="150526"/>
                      </a:cubicBezTo>
                      <a:cubicBezTo>
                        <a:pt x="253909" y="150526"/>
                        <a:pt x="250564" y="153871"/>
                        <a:pt x="250564" y="157997"/>
                      </a:cubicBezTo>
                      <a:lnTo>
                        <a:pt x="250564" y="170846"/>
                      </a:lnTo>
                      <a:lnTo>
                        <a:pt x="215303" y="170846"/>
                      </a:lnTo>
                      <a:lnTo>
                        <a:pt x="215303" y="149630"/>
                      </a:lnTo>
                      <a:cubicBezTo>
                        <a:pt x="215233" y="129479"/>
                        <a:pt x="229345" y="112059"/>
                        <a:pt x="249070" y="107944"/>
                      </a:cubicBezTo>
                      <a:lnTo>
                        <a:pt x="292399" y="99128"/>
                      </a:lnTo>
                      <a:cubicBezTo>
                        <a:pt x="293090" y="99269"/>
                        <a:pt x="293801" y="99269"/>
                        <a:pt x="294491" y="99128"/>
                      </a:cubicBezTo>
                      <a:lnTo>
                        <a:pt x="397884" y="78211"/>
                      </a:lnTo>
                      <a:cubicBezTo>
                        <a:pt x="410211" y="75247"/>
                        <a:pt x="423217" y="77991"/>
                        <a:pt x="433295" y="85681"/>
                      </a:cubicBezTo>
                      <a:cubicBezTo>
                        <a:pt x="442933" y="93985"/>
                        <a:pt x="448403" y="106129"/>
                        <a:pt x="448236" y="118851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147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Ubuntu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76" name="Group 175">
                <a:extLst>
                  <a:ext uri="{FF2B5EF4-FFF2-40B4-BE49-F238E27FC236}">
                    <a16:creationId xmlns:a16="http://schemas.microsoft.com/office/drawing/2014/main" id="{5629EB3A-8DCA-10B0-6417-15D371F16749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5607212" y="2941504"/>
                <a:ext cx="1061486" cy="1061486"/>
                <a:chOff x="3225132" y="2105234"/>
                <a:chExt cx="792088" cy="792088"/>
              </a:xfrm>
            </p:grpSpPr>
            <p:sp>
              <p:nvSpPr>
                <p:cNvPr id="286" name="Oval 285">
                  <a:extLst>
                    <a:ext uri="{FF2B5EF4-FFF2-40B4-BE49-F238E27FC236}">
                      <a16:creationId xmlns:a16="http://schemas.microsoft.com/office/drawing/2014/main" id="{8E845B41-3445-D605-27A3-187716D87808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3225132" y="2105234"/>
                  <a:ext cx="792088" cy="792088"/>
                </a:xfrm>
                <a:prstGeom prst="ellipse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600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Ubuntu"/>
                    <a:ea typeface="+mn-ea"/>
                    <a:cs typeface="+mn-cs"/>
                  </a:endParaRPr>
                </a:p>
              </p:txBody>
            </p:sp>
            <p:grpSp>
              <p:nvGrpSpPr>
                <p:cNvPr id="287" name="Graphic 14">
                  <a:extLst>
                    <a:ext uri="{FF2B5EF4-FFF2-40B4-BE49-F238E27FC236}">
                      <a16:creationId xmlns:a16="http://schemas.microsoft.com/office/drawing/2014/main" id="{77BCC51A-5E7D-18CA-2D46-C1105106B66D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3374309" y="2254724"/>
                  <a:ext cx="493421" cy="493091"/>
                  <a:chOff x="5864118" y="3152586"/>
                  <a:chExt cx="463471" cy="463161"/>
                </a:xfrm>
                <a:solidFill>
                  <a:schemeClr val="bg1"/>
                </a:solidFill>
              </p:grpSpPr>
              <p:sp>
                <p:nvSpPr>
                  <p:cNvPr id="288" name="Freeform: Shape 249">
                    <a:extLst>
                      <a:ext uri="{FF2B5EF4-FFF2-40B4-BE49-F238E27FC236}">
                        <a16:creationId xmlns:a16="http://schemas.microsoft.com/office/drawing/2014/main" id="{1B7B4407-CBA8-AB14-AEC9-FD60B2D6B3C1}"/>
                      </a:ext>
                    </a:extLst>
                  </p:cNvPr>
                  <p:cNvSpPr/>
                  <p:nvPr/>
                </p:nvSpPr>
                <p:spPr>
                  <a:xfrm>
                    <a:off x="6075566" y="3200266"/>
                    <a:ext cx="40869" cy="40869"/>
                  </a:xfrm>
                  <a:custGeom>
                    <a:avLst/>
                    <a:gdLst>
                      <a:gd name="connsiteX0" fmla="*/ 40869 w 40868"/>
                      <a:gd name="connsiteY0" fmla="*/ 20434 h 40868"/>
                      <a:gd name="connsiteX1" fmla="*/ 20434 w 40868"/>
                      <a:gd name="connsiteY1" fmla="*/ 40869 h 40868"/>
                      <a:gd name="connsiteX2" fmla="*/ 0 w 40868"/>
                      <a:gd name="connsiteY2" fmla="*/ 20434 h 40868"/>
                      <a:gd name="connsiteX3" fmla="*/ 20434 w 40868"/>
                      <a:gd name="connsiteY3" fmla="*/ 0 h 40868"/>
                      <a:gd name="connsiteX4" fmla="*/ 40869 w 40868"/>
                      <a:gd name="connsiteY4" fmla="*/ 20434 h 4086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0868" h="40868">
                        <a:moveTo>
                          <a:pt x="40869" y="20434"/>
                        </a:moveTo>
                        <a:cubicBezTo>
                          <a:pt x="40869" y="31720"/>
                          <a:pt x="31720" y="40869"/>
                          <a:pt x="20434" y="40869"/>
                        </a:cubicBezTo>
                        <a:cubicBezTo>
                          <a:pt x="9149" y="40869"/>
                          <a:pt x="0" y="31720"/>
                          <a:pt x="0" y="20434"/>
                        </a:cubicBezTo>
                        <a:cubicBezTo>
                          <a:pt x="0" y="9149"/>
                          <a:pt x="9149" y="0"/>
                          <a:pt x="20434" y="0"/>
                        </a:cubicBezTo>
                        <a:cubicBezTo>
                          <a:pt x="31720" y="0"/>
                          <a:pt x="40869" y="9149"/>
                          <a:pt x="40869" y="20434"/>
                        </a:cubicBezTo>
                        <a:close/>
                      </a:path>
                    </a:pathLst>
                  </a:custGeom>
                  <a:grpFill/>
                  <a:ln w="1344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89" name="Freeform: Shape 250">
                    <a:extLst>
                      <a:ext uri="{FF2B5EF4-FFF2-40B4-BE49-F238E27FC236}">
                        <a16:creationId xmlns:a16="http://schemas.microsoft.com/office/drawing/2014/main" id="{694F46D4-53FA-2928-78EB-942282CB4E69}"/>
                      </a:ext>
                    </a:extLst>
                  </p:cNvPr>
                  <p:cNvSpPr/>
                  <p:nvPr/>
                </p:nvSpPr>
                <p:spPr>
                  <a:xfrm>
                    <a:off x="5864412" y="3152586"/>
                    <a:ext cx="463177" cy="326948"/>
                  </a:xfrm>
                  <a:custGeom>
                    <a:avLst/>
                    <a:gdLst>
                      <a:gd name="connsiteX0" fmla="*/ 415497 w 463177"/>
                      <a:gd name="connsiteY0" fmla="*/ 0 h 326948"/>
                      <a:gd name="connsiteX1" fmla="*/ 47680 w 463177"/>
                      <a:gd name="connsiteY1" fmla="*/ 0 h 326948"/>
                      <a:gd name="connsiteX2" fmla="*/ 0 w 463177"/>
                      <a:gd name="connsiteY2" fmla="*/ 47680 h 326948"/>
                      <a:gd name="connsiteX3" fmla="*/ 47680 w 463177"/>
                      <a:gd name="connsiteY3" fmla="*/ 95360 h 326948"/>
                      <a:gd name="connsiteX4" fmla="*/ 163474 w 463177"/>
                      <a:gd name="connsiteY4" fmla="*/ 95360 h 326948"/>
                      <a:gd name="connsiteX5" fmla="*/ 163474 w 463177"/>
                      <a:gd name="connsiteY5" fmla="*/ 129417 h 326948"/>
                      <a:gd name="connsiteX6" fmla="*/ 165518 w 463177"/>
                      <a:gd name="connsiteY6" fmla="*/ 134185 h 326948"/>
                      <a:gd name="connsiteX7" fmla="*/ 206386 w 463177"/>
                      <a:gd name="connsiteY7" fmla="*/ 175054 h 326948"/>
                      <a:gd name="connsiteX8" fmla="*/ 211154 w 463177"/>
                      <a:gd name="connsiteY8" fmla="*/ 177097 h 326948"/>
                      <a:gd name="connsiteX9" fmla="*/ 224777 w 463177"/>
                      <a:gd name="connsiteY9" fmla="*/ 177097 h 326948"/>
                      <a:gd name="connsiteX10" fmla="*/ 224777 w 463177"/>
                      <a:gd name="connsiteY10" fmla="*/ 294117 h 326948"/>
                      <a:gd name="connsiteX11" fmla="*/ 212323 w 463177"/>
                      <a:gd name="connsiteY11" fmla="*/ 320194 h 326948"/>
                      <a:gd name="connsiteX12" fmla="*/ 238400 w 463177"/>
                      <a:gd name="connsiteY12" fmla="*/ 332648 h 326948"/>
                      <a:gd name="connsiteX13" fmla="*/ 250854 w 463177"/>
                      <a:gd name="connsiteY13" fmla="*/ 306571 h 326948"/>
                      <a:gd name="connsiteX14" fmla="*/ 238400 w 463177"/>
                      <a:gd name="connsiteY14" fmla="*/ 294117 h 326948"/>
                      <a:gd name="connsiteX15" fmla="*/ 238400 w 463177"/>
                      <a:gd name="connsiteY15" fmla="*/ 177097 h 326948"/>
                      <a:gd name="connsiteX16" fmla="*/ 252023 w 463177"/>
                      <a:gd name="connsiteY16" fmla="*/ 177097 h 326948"/>
                      <a:gd name="connsiteX17" fmla="*/ 256791 w 463177"/>
                      <a:gd name="connsiteY17" fmla="*/ 175054 h 326948"/>
                      <a:gd name="connsiteX18" fmla="*/ 297659 w 463177"/>
                      <a:gd name="connsiteY18" fmla="*/ 134185 h 326948"/>
                      <a:gd name="connsiteX19" fmla="*/ 299703 w 463177"/>
                      <a:gd name="connsiteY19" fmla="*/ 129417 h 326948"/>
                      <a:gd name="connsiteX20" fmla="*/ 299703 w 463177"/>
                      <a:gd name="connsiteY20" fmla="*/ 95360 h 326948"/>
                      <a:gd name="connsiteX21" fmla="*/ 415497 w 463177"/>
                      <a:gd name="connsiteY21" fmla="*/ 95360 h 326948"/>
                      <a:gd name="connsiteX22" fmla="*/ 463177 w 463177"/>
                      <a:gd name="connsiteY22" fmla="*/ 47680 h 326948"/>
                      <a:gd name="connsiteX23" fmla="*/ 415497 w 463177"/>
                      <a:gd name="connsiteY23" fmla="*/ 0 h 326948"/>
                      <a:gd name="connsiteX24" fmla="*/ 47680 w 463177"/>
                      <a:gd name="connsiteY24" fmla="*/ 81737 h 326948"/>
                      <a:gd name="connsiteX25" fmla="*/ 13623 w 463177"/>
                      <a:gd name="connsiteY25" fmla="*/ 47680 h 326948"/>
                      <a:gd name="connsiteX26" fmla="*/ 47680 w 463177"/>
                      <a:gd name="connsiteY26" fmla="*/ 13623 h 326948"/>
                      <a:gd name="connsiteX27" fmla="*/ 163474 w 463177"/>
                      <a:gd name="connsiteY27" fmla="*/ 13623 h 326948"/>
                      <a:gd name="connsiteX28" fmla="*/ 163474 w 463177"/>
                      <a:gd name="connsiteY28" fmla="*/ 81737 h 326948"/>
                      <a:gd name="connsiteX29" fmla="*/ 286080 w 463177"/>
                      <a:gd name="connsiteY29" fmla="*/ 126556 h 326948"/>
                      <a:gd name="connsiteX30" fmla="*/ 249162 w 463177"/>
                      <a:gd name="connsiteY30" fmla="*/ 163474 h 326948"/>
                      <a:gd name="connsiteX31" fmla="*/ 214015 w 463177"/>
                      <a:gd name="connsiteY31" fmla="*/ 163474 h 326948"/>
                      <a:gd name="connsiteX32" fmla="*/ 177097 w 463177"/>
                      <a:gd name="connsiteY32" fmla="*/ 126556 h 326948"/>
                      <a:gd name="connsiteX33" fmla="*/ 177097 w 463177"/>
                      <a:gd name="connsiteY33" fmla="*/ 13623 h 326948"/>
                      <a:gd name="connsiteX34" fmla="*/ 286080 w 463177"/>
                      <a:gd name="connsiteY34" fmla="*/ 13623 h 326948"/>
                      <a:gd name="connsiteX35" fmla="*/ 415497 w 463177"/>
                      <a:gd name="connsiteY35" fmla="*/ 81737 h 326948"/>
                      <a:gd name="connsiteX36" fmla="*/ 299703 w 463177"/>
                      <a:gd name="connsiteY36" fmla="*/ 81737 h 326948"/>
                      <a:gd name="connsiteX37" fmla="*/ 299703 w 463177"/>
                      <a:gd name="connsiteY37" fmla="*/ 13623 h 326948"/>
                      <a:gd name="connsiteX38" fmla="*/ 415497 w 463177"/>
                      <a:gd name="connsiteY38" fmla="*/ 13623 h 326948"/>
                      <a:gd name="connsiteX39" fmla="*/ 449554 w 463177"/>
                      <a:gd name="connsiteY39" fmla="*/ 47680 h 326948"/>
                      <a:gd name="connsiteX40" fmla="*/ 415497 w 463177"/>
                      <a:gd name="connsiteY40" fmla="*/ 81737 h 3269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</a:cxnLst>
                    <a:rect l="l" t="t" r="r" b="b"/>
                    <a:pathLst>
                      <a:path w="463177" h="326948">
                        <a:moveTo>
                          <a:pt x="415497" y="0"/>
                        </a:moveTo>
                        <a:lnTo>
                          <a:pt x="47680" y="0"/>
                        </a:lnTo>
                        <a:cubicBezTo>
                          <a:pt x="21347" y="0"/>
                          <a:pt x="0" y="21347"/>
                          <a:pt x="0" y="47680"/>
                        </a:cubicBezTo>
                        <a:cubicBezTo>
                          <a:pt x="0" y="74013"/>
                          <a:pt x="21347" y="95360"/>
                          <a:pt x="47680" y="95360"/>
                        </a:cubicBezTo>
                        <a:lnTo>
                          <a:pt x="163474" y="95360"/>
                        </a:lnTo>
                        <a:lnTo>
                          <a:pt x="163474" y="129417"/>
                        </a:lnTo>
                        <a:cubicBezTo>
                          <a:pt x="163452" y="131223"/>
                          <a:pt x="164195" y="132955"/>
                          <a:pt x="165518" y="134185"/>
                        </a:cubicBezTo>
                        <a:lnTo>
                          <a:pt x="206386" y="175054"/>
                        </a:lnTo>
                        <a:cubicBezTo>
                          <a:pt x="207616" y="176376"/>
                          <a:pt x="209348" y="177119"/>
                          <a:pt x="211154" y="177097"/>
                        </a:cubicBezTo>
                        <a:lnTo>
                          <a:pt x="224777" y="177097"/>
                        </a:lnTo>
                        <a:lnTo>
                          <a:pt x="224777" y="294117"/>
                        </a:lnTo>
                        <a:cubicBezTo>
                          <a:pt x="214138" y="297879"/>
                          <a:pt x="208560" y="309555"/>
                          <a:pt x="212323" y="320194"/>
                        </a:cubicBezTo>
                        <a:cubicBezTo>
                          <a:pt x="216084" y="330835"/>
                          <a:pt x="227760" y="336411"/>
                          <a:pt x="238400" y="332648"/>
                        </a:cubicBezTo>
                        <a:cubicBezTo>
                          <a:pt x="249039" y="328887"/>
                          <a:pt x="254617" y="317212"/>
                          <a:pt x="250854" y="306571"/>
                        </a:cubicBezTo>
                        <a:cubicBezTo>
                          <a:pt x="248797" y="300752"/>
                          <a:pt x="244220" y="296174"/>
                          <a:pt x="238400" y="294117"/>
                        </a:cubicBezTo>
                        <a:lnTo>
                          <a:pt x="238400" y="177097"/>
                        </a:lnTo>
                        <a:lnTo>
                          <a:pt x="252023" y="177097"/>
                        </a:lnTo>
                        <a:cubicBezTo>
                          <a:pt x="253829" y="177119"/>
                          <a:pt x="255561" y="176376"/>
                          <a:pt x="256791" y="175054"/>
                        </a:cubicBezTo>
                        <a:lnTo>
                          <a:pt x="297659" y="134185"/>
                        </a:lnTo>
                        <a:cubicBezTo>
                          <a:pt x="298982" y="132955"/>
                          <a:pt x="299725" y="131223"/>
                          <a:pt x="299703" y="129417"/>
                        </a:cubicBezTo>
                        <a:lnTo>
                          <a:pt x="299703" y="95360"/>
                        </a:lnTo>
                        <a:lnTo>
                          <a:pt x="415497" y="95360"/>
                        </a:lnTo>
                        <a:cubicBezTo>
                          <a:pt x="441830" y="95360"/>
                          <a:pt x="463177" y="74013"/>
                          <a:pt x="463177" y="47680"/>
                        </a:cubicBezTo>
                        <a:cubicBezTo>
                          <a:pt x="463177" y="21347"/>
                          <a:pt x="441830" y="0"/>
                          <a:pt x="415497" y="0"/>
                        </a:cubicBezTo>
                        <a:close/>
                        <a:moveTo>
                          <a:pt x="47680" y="81737"/>
                        </a:moveTo>
                        <a:cubicBezTo>
                          <a:pt x="28871" y="81737"/>
                          <a:pt x="13623" y="66489"/>
                          <a:pt x="13623" y="47680"/>
                        </a:cubicBezTo>
                        <a:cubicBezTo>
                          <a:pt x="13623" y="28871"/>
                          <a:pt x="28871" y="13623"/>
                          <a:pt x="47680" y="13623"/>
                        </a:cubicBezTo>
                        <a:lnTo>
                          <a:pt x="163474" y="13623"/>
                        </a:lnTo>
                        <a:lnTo>
                          <a:pt x="163474" y="81737"/>
                        </a:lnTo>
                        <a:close/>
                        <a:moveTo>
                          <a:pt x="286080" y="126556"/>
                        </a:moveTo>
                        <a:lnTo>
                          <a:pt x="249162" y="163474"/>
                        </a:lnTo>
                        <a:lnTo>
                          <a:pt x="214015" y="163474"/>
                        </a:lnTo>
                        <a:lnTo>
                          <a:pt x="177097" y="126556"/>
                        </a:lnTo>
                        <a:lnTo>
                          <a:pt x="177097" y="13623"/>
                        </a:lnTo>
                        <a:lnTo>
                          <a:pt x="286080" y="13623"/>
                        </a:lnTo>
                        <a:close/>
                        <a:moveTo>
                          <a:pt x="415497" y="81737"/>
                        </a:moveTo>
                        <a:lnTo>
                          <a:pt x="299703" y="81737"/>
                        </a:lnTo>
                        <a:lnTo>
                          <a:pt x="299703" y="13623"/>
                        </a:lnTo>
                        <a:lnTo>
                          <a:pt x="415497" y="13623"/>
                        </a:lnTo>
                        <a:cubicBezTo>
                          <a:pt x="434306" y="13623"/>
                          <a:pt x="449554" y="28871"/>
                          <a:pt x="449554" y="47680"/>
                        </a:cubicBezTo>
                        <a:cubicBezTo>
                          <a:pt x="449554" y="66489"/>
                          <a:pt x="434306" y="81737"/>
                          <a:pt x="415497" y="81737"/>
                        </a:cubicBezTo>
                        <a:close/>
                      </a:path>
                    </a:pathLst>
                  </a:custGeom>
                  <a:grpFill/>
                  <a:ln w="1344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90" name="Freeform: Shape 251">
                    <a:extLst>
                      <a:ext uri="{FF2B5EF4-FFF2-40B4-BE49-F238E27FC236}">
                        <a16:creationId xmlns:a16="http://schemas.microsoft.com/office/drawing/2014/main" id="{98E2CB05-4B2D-6597-683E-3CB10ED64B5D}"/>
                      </a:ext>
                    </a:extLst>
                  </p:cNvPr>
                  <p:cNvSpPr/>
                  <p:nvPr/>
                </p:nvSpPr>
                <p:spPr>
                  <a:xfrm>
                    <a:off x="5864118" y="3356913"/>
                    <a:ext cx="463177" cy="258834"/>
                  </a:xfrm>
                  <a:custGeom>
                    <a:avLst/>
                    <a:gdLst>
                      <a:gd name="connsiteX0" fmla="*/ 456660 w 463177"/>
                      <a:gd name="connsiteY0" fmla="*/ 258850 h 258834"/>
                      <a:gd name="connsiteX1" fmla="*/ 7106 w 463177"/>
                      <a:gd name="connsiteY1" fmla="*/ 258850 h 258834"/>
                      <a:gd name="connsiteX2" fmla="*/ 1520 w 463177"/>
                      <a:gd name="connsiteY2" fmla="*/ 255989 h 258834"/>
                      <a:gd name="connsiteX3" fmla="*/ 294 w 463177"/>
                      <a:gd name="connsiteY3" fmla="*/ 249859 h 258834"/>
                      <a:gd name="connsiteX4" fmla="*/ 82031 w 463177"/>
                      <a:gd name="connsiteY4" fmla="*/ 4647 h 258834"/>
                      <a:gd name="connsiteX5" fmla="*/ 88843 w 463177"/>
                      <a:gd name="connsiteY5" fmla="*/ 15 h 258834"/>
                      <a:gd name="connsiteX6" fmla="*/ 191014 w 463177"/>
                      <a:gd name="connsiteY6" fmla="*/ 15 h 258834"/>
                      <a:gd name="connsiteX7" fmla="*/ 197825 w 463177"/>
                      <a:gd name="connsiteY7" fmla="*/ 6827 h 258834"/>
                      <a:gd name="connsiteX8" fmla="*/ 191014 w 463177"/>
                      <a:gd name="connsiteY8" fmla="*/ 13638 h 258834"/>
                      <a:gd name="connsiteX9" fmla="*/ 93747 w 463177"/>
                      <a:gd name="connsiteY9" fmla="*/ 13638 h 258834"/>
                      <a:gd name="connsiteX10" fmla="*/ 16505 w 463177"/>
                      <a:gd name="connsiteY10" fmla="*/ 245227 h 258834"/>
                      <a:gd name="connsiteX11" fmla="*/ 447260 w 463177"/>
                      <a:gd name="connsiteY11" fmla="*/ 245227 h 258834"/>
                      <a:gd name="connsiteX12" fmla="*/ 370018 w 463177"/>
                      <a:gd name="connsiteY12" fmla="*/ 13638 h 258834"/>
                      <a:gd name="connsiteX13" fmla="*/ 272751 w 463177"/>
                      <a:gd name="connsiteY13" fmla="*/ 13638 h 258834"/>
                      <a:gd name="connsiteX14" fmla="*/ 265940 w 463177"/>
                      <a:gd name="connsiteY14" fmla="*/ 6827 h 258834"/>
                      <a:gd name="connsiteX15" fmla="*/ 272751 w 463177"/>
                      <a:gd name="connsiteY15" fmla="*/ 15 h 258834"/>
                      <a:gd name="connsiteX16" fmla="*/ 374923 w 463177"/>
                      <a:gd name="connsiteY16" fmla="*/ 15 h 258834"/>
                      <a:gd name="connsiteX17" fmla="*/ 381325 w 463177"/>
                      <a:gd name="connsiteY17" fmla="*/ 4647 h 258834"/>
                      <a:gd name="connsiteX18" fmla="*/ 463062 w 463177"/>
                      <a:gd name="connsiteY18" fmla="*/ 249859 h 258834"/>
                      <a:gd name="connsiteX19" fmla="*/ 462245 w 463177"/>
                      <a:gd name="connsiteY19" fmla="*/ 255989 h 258834"/>
                      <a:gd name="connsiteX20" fmla="*/ 456660 w 463177"/>
                      <a:gd name="connsiteY20" fmla="*/ 258850 h 2588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</a:cxnLst>
                    <a:rect l="l" t="t" r="r" b="b"/>
                    <a:pathLst>
                      <a:path w="463177" h="258834">
                        <a:moveTo>
                          <a:pt x="456660" y="258850"/>
                        </a:moveTo>
                        <a:lnTo>
                          <a:pt x="7106" y="258850"/>
                        </a:lnTo>
                        <a:cubicBezTo>
                          <a:pt x="4900" y="258818"/>
                          <a:pt x="2835" y="257760"/>
                          <a:pt x="1520" y="255989"/>
                        </a:cubicBezTo>
                        <a:cubicBezTo>
                          <a:pt x="98" y="254286"/>
                          <a:pt x="-364" y="251978"/>
                          <a:pt x="294" y="249859"/>
                        </a:cubicBezTo>
                        <a:lnTo>
                          <a:pt x="82031" y="4647"/>
                        </a:lnTo>
                        <a:cubicBezTo>
                          <a:pt x="82965" y="1720"/>
                          <a:pt x="85777" y="-193"/>
                          <a:pt x="88843" y="15"/>
                        </a:cubicBezTo>
                        <a:lnTo>
                          <a:pt x="191014" y="15"/>
                        </a:lnTo>
                        <a:cubicBezTo>
                          <a:pt x="194775" y="15"/>
                          <a:pt x="197825" y="3066"/>
                          <a:pt x="197825" y="6827"/>
                        </a:cubicBezTo>
                        <a:cubicBezTo>
                          <a:pt x="197825" y="10588"/>
                          <a:pt x="194775" y="13638"/>
                          <a:pt x="191014" y="13638"/>
                        </a:cubicBezTo>
                        <a:lnTo>
                          <a:pt x="93747" y="13638"/>
                        </a:lnTo>
                        <a:lnTo>
                          <a:pt x="16505" y="245227"/>
                        </a:lnTo>
                        <a:lnTo>
                          <a:pt x="447260" y="245227"/>
                        </a:lnTo>
                        <a:lnTo>
                          <a:pt x="370018" y="13638"/>
                        </a:lnTo>
                        <a:lnTo>
                          <a:pt x="272751" y="13638"/>
                        </a:lnTo>
                        <a:cubicBezTo>
                          <a:pt x="268990" y="13638"/>
                          <a:pt x="265940" y="10588"/>
                          <a:pt x="265940" y="6827"/>
                        </a:cubicBezTo>
                        <a:cubicBezTo>
                          <a:pt x="265940" y="3066"/>
                          <a:pt x="268990" y="15"/>
                          <a:pt x="272751" y="15"/>
                        </a:cubicBezTo>
                        <a:lnTo>
                          <a:pt x="374923" y="15"/>
                        </a:lnTo>
                        <a:cubicBezTo>
                          <a:pt x="377839" y="-5"/>
                          <a:pt x="380433" y="1870"/>
                          <a:pt x="381325" y="4647"/>
                        </a:cubicBezTo>
                        <a:lnTo>
                          <a:pt x="463062" y="249859"/>
                        </a:lnTo>
                        <a:cubicBezTo>
                          <a:pt x="463835" y="251910"/>
                          <a:pt x="463528" y="254211"/>
                          <a:pt x="462245" y="255989"/>
                        </a:cubicBezTo>
                        <a:cubicBezTo>
                          <a:pt x="460930" y="257760"/>
                          <a:pt x="458865" y="258818"/>
                          <a:pt x="456660" y="258850"/>
                        </a:cubicBezTo>
                        <a:close/>
                      </a:path>
                    </a:pathLst>
                  </a:custGeom>
                  <a:grpFill/>
                  <a:ln w="1344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91" name="Freeform: Shape 252">
                    <a:extLst>
                      <a:ext uri="{FF2B5EF4-FFF2-40B4-BE49-F238E27FC236}">
                        <a16:creationId xmlns:a16="http://schemas.microsoft.com/office/drawing/2014/main" id="{E205F081-66A3-FA1E-57A0-4657C730769D}"/>
                      </a:ext>
                    </a:extLst>
                  </p:cNvPr>
                  <p:cNvSpPr/>
                  <p:nvPr/>
                </p:nvSpPr>
                <p:spPr>
                  <a:xfrm>
                    <a:off x="5946149" y="3438666"/>
                    <a:ext cx="299703" cy="136229"/>
                  </a:xfrm>
                  <a:custGeom>
                    <a:avLst/>
                    <a:gdLst>
                      <a:gd name="connsiteX0" fmla="*/ 292891 w 299702"/>
                      <a:gd name="connsiteY0" fmla="*/ 136229 h 136228"/>
                      <a:gd name="connsiteX1" fmla="*/ 129417 w 299702"/>
                      <a:gd name="connsiteY1" fmla="*/ 136229 h 136228"/>
                      <a:gd name="connsiteX2" fmla="*/ 124649 w 299702"/>
                      <a:gd name="connsiteY2" fmla="*/ 134185 h 136228"/>
                      <a:gd name="connsiteX3" fmla="*/ 85688 w 299702"/>
                      <a:gd name="connsiteY3" fmla="*/ 95360 h 136228"/>
                      <a:gd name="connsiteX4" fmla="*/ 6811 w 299702"/>
                      <a:gd name="connsiteY4" fmla="*/ 95360 h 136228"/>
                      <a:gd name="connsiteX5" fmla="*/ 0 w 299702"/>
                      <a:gd name="connsiteY5" fmla="*/ 88549 h 136228"/>
                      <a:gd name="connsiteX6" fmla="*/ 6811 w 299702"/>
                      <a:gd name="connsiteY6" fmla="*/ 81737 h 136228"/>
                      <a:gd name="connsiteX7" fmla="*/ 88549 w 299702"/>
                      <a:gd name="connsiteY7" fmla="*/ 81737 h 136228"/>
                      <a:gd name="connsiteX8" fmla="*/ 93317 w 299702"/>
                      <a:gd name="connsiteY8" fmla="*/ 83781 h 136228"/>
                      <a:gd name="connsiteX9" fmla="*/ 132278 w 299702"/>
                      <a:gd name="connsiteY9" fmla="*/ 122606 h 136228"/>
                      <a:gd name="connsiteX10" fmla="*/ 283492 w 299702"/>
                      <a:gd name="connsiteY10" fmla="*/ 122606 h 136228"/>
                      <a:gd name="connsiteX11" fmla="*/ 247119 w 299702"/>
                      <a:gd name="connsiteY11" fmla="*/ 13623 h 136228"/>
                      <a:gd name="connsiteX12" fmla="*/ 211154 w 299702"/>
                      <a:gd name="connsiteY12" fmla="*/ 13623 h 136228"/>
                      <a:gd name="connsiteX13" fmla="*/ 204343 w 299702"/>
                      <a:gd name="connsiteY13" fmla="*/ 6812 h 136228"/>
                      <a:gd name="connsiteX14" fmla="*/ 211154 w 299702"/>
                      <a:gd name="connsiteY14" fmla="*/ 0 h 136228"/>
                      <a:gd name="connsiteX15" fmla="*/ 252023 w 299702"/>
                      <a:gd name="connsiteY15" fmla="*/ 0 h 136228"/>
                      <a:gd name="connsiteX16" fmla="*/ 258426 w 299702"/>
                      <a:gd name="connsiteY16" fmla="*/ 4632 h 136228"/>
                      <a:gd name="connsiteX17" fmla="*/ 299294 w 299702"/>
                      <a:gd name="connsiteY17" fmla="*/ 127238 h 136228"/>
                      <a:gd name="connsiteX18" fmla="*/ 298477 w 299702"/>
                      <a:gd name="connsiteY18" fmla="*/ 133368 h 136228"/>
                      <a:gd name="connsiteX19" fmla="*/ 292891 w 299702"/>
                      <a:gd name="connsiteY19" fmla="*/ 136229 h 13622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</a:cxnLst>
                    <a:rect l="l" t="t" r="r" b="b"/>
                    <a:pathLst>
                      <a:path w="299702" h="136228">
                        <a:moveTo>
                          <a:pt x="292891" y="136229"/>
                        </a:moveTo>
                        <a:lnTo>
                          <a:pt x="129417" y="136229"/>
                        </a:lnTo>
                        <a:cubicBezTo>
                          <a:pt x="127611" y="136251"/>
                          <a:pt x="125879" y="135508"/>
                          <a:pt x="124649" y="134185"/>
                        </a:cubicBezTo>
                        <a:lnTo>
                          <a:pt x="85688" y="95360"/>
                        </a:lnTo>
                        <a:lnTo>
                          <a:pt x="6811" y="95360"/>
                        </a:lnTo>
                        <a:cubicBezTo>
                          <a:pt x="3050" y="95360"/>
                          <a:pt x="0" y="92310"/>
                          <a:pt x="0" y="88549"/>
                        </a:cubicBezTo>
                        <a:cubicBezTo>
                          <a:pt x="0" y="84787"/>
                          <a:pt x="3050" y="81737"/>
                          <a:pt x="6811" y="81737"/>
                        </a:cubicBezTo>
                        <a:lnTo>
                          <a:pt x="88549" y="81737"/>
                        </a:lnTo>
                        <a:cubicBezTo>
                          <a:pt x="90355" y="81715"/>
                          <a:pt x="92086" y="82458"/>
                          <a:pt x="93317" y="83781"/>
                        </a:cubicBezTo>
                        <a:lnTo>
                          <a:pt x="132278" y="122606"/>
                        </a:lnTo>
                        <a:lnTo>
                          <a:pt x="283492" y="122606"/>
                        </a:lnTo>
                        <a:lnTo>
                          <a:pt x="247119" y="13623"/>
                        </a:lnTo>
                        <a:lnTo>
                          <a:pt x="211154" y="13623"/>
                        </a:lnTo>
                        <a:cubicBezTo>
                          <a:pt x="207393" y="13623"/>
                          <a:pt x="204343" y="10573"/>
                          <a:pt x="204343" y="6812"/>
                        </a:cubicBezTo>
                        <a:cubicBezTo>
                          <a:pt x="204343" y="3050"/>
                          <a:pt x="207393" y="0"/>
                          <a:pt x="211154" y="0"/>
                        </a:cubicBezTo>
                        <a:lnTo>
                          <a:pt x="252023" y="0"/>
                        </a:lnTo>
                        <a:cubicBezTo>
                          <a:pt x="254939" y="-20"/>
                          <a:pt x="257533" y="1854"/>
                          <a:pt x="258426" y="4632"/>
                        </a:cubicBezTo>
                        <a:lnTo>
                          <a:pt x="299294" y="127238"/>
                        </a:lnTo>
                        <a:cubicBezTo>
                          <a:pt x="300066" y="129289"/>
                          <a:pt x="299760" y="131590"/>
                          <a:pt x="298477" y="133368"/>
                        </a:cubicBezTo>
                        <a:cubicBezTo>
                          <a:pt x="297162" y="135139"/>
                          <a:pt x="295097" y="136197"/>
                          <a:pt x="292891" y="136229"/>
                        </a:cubicBezTo>
                        <a:close/>
                      </a:path>
                    </a:pathLst>
                  </a:custGeom>
                  <a:grpFill/>
                  <a:ln w="1344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177" name="Group 176">
                <a:extLst>
                  <a:ext uri="{FF2B5EF4-FFF2-40B4-BE49-F238E27FC236}">
                    <a16:creationId xmlns:a16="http://schemas.microsoft.com/office/drawing/2014/main" id="{11130583-1E65-4432-BCA0-D9F0EA437ACA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5191746" y="3866248"/>
                <a:ext cx="743042" cy="743042"/>
                <a:chOff x="3908026" y="2105234"/>
                <a:chExt cx="792088" cy="792088"/>
              </a:xfrm>
            </p:grpSpPr>
            <p:sp>
              <p:nvSpPr>
                <p:cNvPr id="281" name="Oval 280">
                  <a:extLst>
                    <a:ext uri="{FF2B5EF4-FFF2-40B4-BE49-F238E27FC236}">
                      <a16:creationId xmlns:a16="http://schemas.microsoft.com/office/drawing/2014/main" id="{C8C0441E-A5B2-DCC9-2488-3CE9ADDC0DBE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3908026" y="2105234"/>
                  <a:ext cx="792088" cy="792088"/>
                </a:xfrm>
                <a:prstGeom prst="ellipse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600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Ubuntu"/>
                    <a:ea typeface="+mn-ea"/>
                    <a:cs typeface="+mn-cs"/>
                  </a:endParaRPr>
                </a:p>
              </p:txBody>
            </p:sp>
            <p:grpSp>
              <p:nvGrpSpPr>
                <p:cNvPr id="282" name="Graphic 5">
                  <a:extLst>
                    <a:ext uri="{FF2B5EF4-FFF2-40B4-BE49-F238E27FC236}">
                      <a16:creationId xmlns:a16="http://schemas.microsoft.com/office/drawing/2014/main" id="{54BCF006-875A-F333-B4D5-6A1DA34D4DE7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4059986" y="2257187"/>
                  <a:ext cx="478395" cy="488156"/>
                  <a:chOff x="5864412" y="3152586"/>
                  <a:chExt cx="453914" cy="463177"/>
                </a:xfrm>
                <a:solidFill>
                  <a:schemeClr val="bg1"/>
                </a:solidFill>
              </p:grpSpPr>
              <p:sp>
                <p:nvSpPr>
                  <p:cNvPr id="283" name="Freeform: Shape 244">
                    <a:extLst>
                      <a:ext uri="{FF2B5EF4-FFF2-40B4-BE49-F238E27FC236}">
                        <a16:creationId xmlns:a16="http://schemas.microsoft.com/office/drawing/2014/main" id="{DAEBB166-D85E-AEC2-A20E-C05A6598E35C}"/>
                      </a:ext>
                    </a:extLst>
                  </p:cNvPr>
                  <p:cNvSpPr/>
                  <p:nvPr/>
                </p:nvSpPr>
                <p:spPr>
                  <a:xfrm>
                    <a:off x="5864412" y="3430492"/>
                    <a:ext cx="185271" cy="185271"/>
                  </a:xfrm>
                  <a:custGeom>
                    <a:avLst/>
                    <a:gdLst>
                      <a:gd name="connsiteX0" fmla="*/ 92635 w 185270"/>
                      <a:gd name="connsiteY0" fmla="*/ 185271 h 185270"/>
                      <a:gd name="connsiteX1" fmla="*/ 0 w 185270"/>
                      <a:gd name="connsiteY1" fmla="*/ 92635 h 185270"/>
                      <a:gd name="connsiteX2" fmla="*/ 92635 w 185270"/>
                      <a:gd name="connsiteY2" fmla="*/ 0 h 185270"/>
                      <a:gd name="connsiteX3" fmla="*/ 185271 w 185270"/>
                      <a:gd name="connsiteY3" fmla="*/ 92635 h 185270"/>
                      <a:gd name="connsiteX4" fmla="*/ 92635 w 185270"/>
                      <a:gd name="connsiteY4" fmla="*/ 185271 h 185270"/>
                      <a:gd name="connsiteX5" fmla="*/ 92635 w 185270"/>
                      <a:gd name="connsiteY5" fmla="*/ 18527 h 185270"/>
                      <a:gd name="connsiteX6" fmla="*/ 18527 w 185270"/>
                      <a:gd name="connsiteY6" fmla="*/ 92635 h 185270"/>
                      <a:gd name="connsiteX7" fmla="*/ 92635 w 185270"/>
                      <a:gd name="connsiteY7" fmla="*/ 166744 h 185270"/>
                      <a:gd name="connsiteX8" fmla="*/ 166744 w 185270"/>
                      <a:gd name="connsiteY8" fmla="*/ 92635 h 185270"/>
                      <a:gd name="connsiteX9" fmla="*/ 92635 w 185270"/>
                      <a:gd name="connsiteY9" fmla="*/ 18527 h 18527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85270" h="185270">
                        <a:moveTo>
                          <a:pt x="92635" y="185271"/>
                        </a:moveTo>
                        <a:cubicBezTo>
                          <a:pt x="41474" y="185271"/>
                          <a:pt x="0" y="143796"/>
                          <a:pt x="0" y="92635"/>
                        </a:cubicBezTo>
                        <a:cubicBezTo>
                          <a:pt x="0" y="41475"/>
                          <a:pt x="41474" y="0"/>
                          <a:pt x="92635" y="0"/>
                        </a:cubicBezTo>
                        <a:cubicBezTo>
                          <a:pt x="143796" y="0"/>
                          <a:pt x="185271" y="41475"/>
                          <a:pt x="185271" y="92635"/>
                        </a:cubicBezTo>
                        <a:cubicBezTo>
                          <a:pt x="185271" y="143796"/>
                          <a:pt x="143796" y="185271"/>
                          <a:pt x="92635" y="185271"/>
                        </a:cubicBezTo>
                        <a:close/>
                        <a:moveTo>
                          <a:pt x="92635" y="18527"/>
                        </a:moveTo>
                        <a:cubicBezTo>
                          <a:pt x="51706" y="18527"/>
                          <a:pt x="18527" y="51707"/>
                          <a:pt x="18527" y="92635"/>
                        </a:cubicBezTo>
                        <a:cubicBezTo>
                          <a:pt x="18527" y="133564"/>
                          <a:pt x="51706" y="166744"/>
                          <a:pt x="92635" y="166744"/>
                        </a:cubicBezTo>
                        <a:cubicBezTo>
                          <a:pt x="133564" y="166744"/>
                          <a:pt x="166744" y="133564"/>
                          <a:pt x="166744" y="92635"/>
                        </a:cubicBezTo>
                        <a:cubicBezTo>
                          <a:pt x="166744" y="51707"/>
                          <a:pt x="133564" y="18527"/>
                          <a:pt x="92635" y="18527"/>
                        </a:cubicBezTo>
                        <a:close/>
                      </a:path>
                    </a:pathLst>
                  </a:custGeom>
                  <a:grpFill/>
                  <a:ln w="1828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84" name="Freeform: Shape 245">
                    <a:extLst>
                      <a:ext uri="{FF2B5EF4-FFF2-40B4-BE49-F238E27FC236}">
                        <a16:creationId xmlns:a16="http://schemas.microsoft.com/office/drawing/2014/main" id="{E9C8822A-E69E-6CA4-246C-4A950B30258A}"/>
                      </a:ext>
                    </a:extLst>
                  </p:cNvPr>
                  <p:cNvSpPr/>
                  <p:nvPr/>
                </p:nvSpPr>
                <p:spPr>
                  <a:xfrm>
                    <a:off x="5947784" y="3303026"/>
                    <a:ext cx="222325" cy="222325"/>
                  </a:xfrm>
                  <a:custGeom>
                    <a:avLst/>
                    <a:gdLst>
                      <a:gd name="connsiteX0" fmla="*/ 220102 w 222324"/>
                      <a:gd name="connsiteY0" fmla="*/ 229365 h 222324"/>
                      <a:gd name="connsiteX1" fmla="*/ 210838 w 222324"/>
                      <a:gd name="connsiteY1" fmla="*/ 220102 h 222324"/>
                      <a:gd name="connsiteX2" fmla="*/ 9264 w 222324"/>
                      <a:gd name="connsiteY2" fmla="*/ 18527 h 222324"/>
                      <a:gd name="connsiteX3" fmla="*/ 0 w 222324"/>
                      <a:gd name="connsiteY3" fmla="*/ 9264 h 222324"/>
                      <a:gd name="connsiteX4" fmla="*/ 9264 w 222324"/>
                      <a:gd name="connsiteY4" fmla="*/ 0 h 222324"/>
                      <a:gd name="connsiteX5" fmla="*/ 229365 w 222324"/>
                      <a:gd name="connsiteY5" fmla="*/ 220102 h 222324"/>
                      <a:gd name="connsiteX6" fmla="*/ 220102 w 222324"/>
                      <a:gd name="connsiteY6" fmla="*/ 229365 h 22232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222324" h="222324">
                        <a:moveTo>
                          <a:pt x="220102" y="229365"/>
                        </a:moveTo>
                        <a:cubicBezTo>
                          <a:pt x="214986" y="229365"/>
                          <a:pt x="210838" y="225217"/>
                          <a:pt x="210838" y="220102"/>
                        </a:cubicBezTo>
                        <a:cubicBezTo>
                          <a:pt x="210736" y="108817"/>
                          <a:pt x="120548" y="18629"/>
                          <a:pt x="9264" y="18527"/>
                        </a:cubicBezTo>
                        <a:cubicBezTo>
                          <a:pt x="4147" y="18527"/>
                          <a:pt x="0" y="14380"/>
                          <a:pt x="0" y="9264"/>
                        </a:cubicBezTo>
                        <a:cubicBezTo>
                          <a:pt x="0" y="4147"/>
                          <a:pt x="4147" y="0"/>
                          <a:pt x="9264" y="0"/>
                        </a:cubicBezTo>
                        <a:cubicBezTo>
                          <a:pt x="130781" y="102"/>
                          <a:pt x="229263" y="98584"/>
                          <a:pt x="229365" y="220102"/>
                        </a:cubicBezTo>
                        <a:cubicBezTo>
                          <a:pt x="229365" y="225217"/>
                          <a:pt x="225217" y="229365"/>
                          <a:pt x="220102" y="229365"/>
                        </a:cubicBezTo>
                        <a:close/>
                      </a:path>
                    </a:pathLst>
                  </a:custGeom>
                  <a:grpFill/>
                  <a:ln w="1828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85" name="Freeform: Shape 246">
                    <a:extLst>
                      <a:ext uri="{FF2B5EF4-FFF2-40B4-BE49-F238E27FC236}">
                        <a16:creationId xmlns:a16="http://schemas.microsoft.com/office/drawing/2014/main" id="{AD1CB07F-E7FF-06E5-75D8-1B0EBB52E606}"/>
                      </a:ext>
                    </a:extLst>
                  </p:cNvPr>
                  <p:cNvSpPr/>
                  <p:nvPr/>
                </p:nvSpPr>
                <p:spPr>
                  <a:xfrm>
                    <a:off x="5947784" y="3152586"/>
                    <a:ext cx="370542" cy="370542"/>
                  </a:xfrm>
                  <a:custGeom>
                    <a:avLst/>
                    <a:gdLst>
                      <a:gd name="connsiteX0" fmla="*/ 370542 w 370541"/>
                      <a:gd name="connsiteY0" fmla="*/ 379805 h 370541"/>
                      <a:gd name="connsiteX1" fmla="*/ 361278 w 370541"/>
                      <a:gd name="connsiteY1" fmla="*/ 370542 h 370541"/>
                      <a:gd name="connsiteX2" fmla="*/ 9264 w 370541"/>
                      <a:gd name="connsiteY2" fmla="*/ 18527 h 370541"/>
                      <a:gd name="connsiteX3" fmla="*/ 0 w 370541"/>
                      <a:gd name="connsiteY3" fmla="*/ 9264 h 370541"/>
                      <a:gd name="connsiteX4" fmla="*/ 9264 w 370541"/>
                      <a:gd name="connsiteY4" fmla="*/ 0 h 370541"/>
                      <a:gd name="connsiteX5" fmla="*/ 379805 w 370541"/>
                      <a:gd name="connsiteY5" fmla="*/ 370542 h 370541"/>
                      <a:gd name="connsiteX6" fmla="*/ 370542 w 370541"/>
                      <a:gd name="connsiteY6" fmla="*/ 379805 h 37054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370541" h="370541">
                        <a:moveTo>
                          <a:pt x="370542" y="379805"/>
                        </a:moveTo>
                        <a:cubicBezTo>
                          <a:pt x="365426" y="379805"/>
                          <a:pt x="361278" y="375657"/>
                          <a:pt x="361278" y="370542"/>
                        </a:cubicBezTo>
                        <a:cubicBezTo>
                          <a:pt x="361278" y="176129"/>
                          <a:pt x="203676" y="18527"/>
                          <a:pt x="9264" y="18527"/>
                        </a:cubicBezTo>
                        <a:cubicBezTo>
                          <a:pt x="4147" y="18527"/>
                          <a:pt x="0" y="14380"/>
                          <a:pt x="0" y="9264"/>
                        </a:cubicBezTo>
                        <a:cubicBezTo>
                          <a:pt x="0" y="4147"/>
                          <a:pt x="4147" y="0"/>
                          <a:pt x="9264" y="0"/>
                        </a:cubicBezTo>
                        <a:cubicBezTo>
                          <a:pt x="213908" y="0"/>
                          <a:pt x="379805" y="165897"/>
                          <a:pt x="379805" y="370542"/>
                        </a:cubicBezTo>
                        <a:cubicBezTo>
                          <a:pt x="379805" y="375657"/>
                          <a:pt x="375657" y="379805"/>
                          <a:pt x="370542" y="379805"/>
                        </a:cubicBezTo>
                        <a:close/>
                      </a:path>
                    </a:pathLst>
                  </a:custGeom>
                  <a:grpFill/>
                  <a:ln w="1828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178" name="Group 177">
                <a:extLst>
                  <a:ext uri="{FF2B5EF4-FFF2-40B4-BE49-F238E27FC236}">
                    <a16:creationId xmlns:a16="http://schemas.microsoft.com/office/drawing/2014/main" id="{064BDBE0-F6E4-815C-EFFB-33F54033D30C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5997141" y="4261217"/>
                <a:ext cx="990148" cy="990148"/>
                <a:chOff x="6639602" y="2105234"/>
                <a:chExt cx="792088" cy="792088"/>
              </a:xfrm>
            </p:grpSpPr>
            <p:sp>
              <p:nvSpPr>
                <p:cNvPr id="279" name="Oval 278">
                  <a:extLst>
                    <a:ext uri="{FF2B5EF4-FFF2-40B4-BE49-F238E27FC236}">
                      <a16:creationId xmlns:a16="http://schemas.microsoft.com/office/drawing/2014/main" id="{12F26D4D-8A78-FB57-2A6C-BD051D460DBD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6639602" y="2105234"/>
                  <a:ext cx="792088" cy="792088"/>
                </a:xfrm>
                <a:prstGeom prst="ellipse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600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Ubuntu"/>
                    <a:ea typeface="+mn-ea"/>
                    <a:cs typeface="+mn-cs"/>
                  </a:endParaRPr>
                </a:p>
              </p:txBody>
            </p:sp>
            <p:sp>
              <p:nvSpPr>
                <p:cNvPr id="280" name="Graphic 1">
                  <a:extLst>
                    <a:ext uri="{FF2B5EF4-FFF2-40B4-BE49-F238E27FC236}">
                      <a16:creationId xmlns:a16="http://schemas.microsoft.com/office/drawing/2014/main" id="{D6B585AA-2FF2-0F79-D182-BEBDE63F515C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6806360" y="2257199"/>
                  <a:ext cx="458572" cy="488157"/>
                </a:xfrm>
                <a:custGeom>
                  <a:avLst/>
                  <a:gdLst>
                    <a:gd name="connsiteX0" fmla="*/ 414052 w 435105"/>
                    <a:gd name="connsiteY0" fmla="*/ 391594 h 463176"/>
                    <a:gd name="connsiteX1" fmla="*/ 294749 w 435105"/>
                    <a:gd name="connsiteY1" fmla="*/ 391594 h 463176"/>
                    <a:gd name="connsiteX2" fmla="*/ 232992 w 435105"/>
                    <a:gd name="connsiteY2" fmla="*/ 329837 h 463176"/>
                    <a:gd name="connsiteX3" fmla="*/ 232992 w 435105"/>
                    <a:gd name="connsiteY3" fmla="*/ 300363 h 463176"/>
                    <a:gd name="connsiteX4" fmla="*/ 322820 w 435105"/>
                    <a:gd name="connsiteY4" fmla="*/ 300363 h 463176"/>
                    <a:gd name="connsiteX5" fmla="*/ 435105 w 435105"/>
                    <a:gd name="connsiteY5" fmla="*/ 188078 h 463176"/>
                    <a:gd name="connsiteX6" fmla="*/ 322820 w 435105"/>
                    <a:gd name="connsiteY6" fmla="*/ 75792 h 463176"/>
                    <a:gd name="connsiteX7" fmla="*/ 297556 w 435105"/>
                    <a:gd name="connsiteY7" fmla="*/ 78600 h 463176"/>
                    <a:gd name="connsiteX8" fmla="*/ 175446 w 435105"/>
                    <a:gd name="connsiteY8" fmla="*/ 0 h 463176"/>
                    <a:gd name="connsiteX9" fmla="*/ 42107 w 435105"/>
                    <a:gd name="connsiteY9" fmla="*/ 131935 h 463176"/>
                    <a:gd name="connsiteX10" fmla="*/ 0 w 435105"/>
                    <a:gd name="connsiteY10" fmla="*/ 209131 h 463176"/>
                    <a:gd name="connsiteX11" fmla="*/ 91232 w 435105"/>
                    <a:gd name="connsiteY11" fmla="*/ 300363 h 463176"/>
                    <a:gd name="connsiteX12" fmla="*/ 217553 w 435105"/>
                    <a:gd name="connsiteY12" fmla="*/ 300363 h 463176"/>
                    <a:gd name="connsiteX13" fmla="*/ 217553 w 435105"/>
                    <a:gd name="connsiteY13" fmla="*/ 329837 h 463176"/>
                    <a:gd name="connsiteX14" fmla="*/ 155796 w 435105"/>
                    <a:gd name="connsiteY14" fmla="*/ 391594 h 463176"/>
                    <a:gd name="connsiteX15" fmla="*/ 35089 w 435105"/>
                    <a:gd name="connsiteY15" fmla="*/ 391594 h 463176"/>
                    <a:gd name="connsiteX16" fmla="*/ 28071 w 435105"/>
                    <a:gd name="connsiteY16" fmla="*/ 398612 h 463176"/>
                    <a:gd name="connsiteX17" fmla="*/ 35089 w 435105"/>
                    <a:gd name="connsiteY17" fmla="*/ 405630 h 463176"/>
                    <a:gd name="connsiteX18" fmla="*/ 155796 w 435105"/>
                    <a:gd name="connsiteY18" fmla="*/ 405630 h 463176"/>
                    <a:gd name="connsiteX19" fmla="*/ 224570 w 435105"/>
                    <a:gd name="connsiteY19" fmla="*/ 468790 h 463176"/>
                    <a:gd name="connsiteX20" fmla="*/ 293345 w 435105"/>
                    <a:gd name="connsiteY20" fmla="*/ 405630 h 463176"/>
                    <a:gd name="connsiteX21" fmla="*/ 414052 w 435105"/>
                    <a:gd name="connsiteY21" fmla="*/ 405630 h 463176"/>
                    <a:gd name="connsiteX22" fmla="*/ 421069 w 435105"/>
                    <a:gd name="connsiteY22" fmla="*/ 398612 h 463176"/>
                    <a:gd name="connsiteX23" fmla="*/ 414052 w 435105"/>
                    <a:gd name="connsiteY23" fmla="*/ 391594 h 463176"/>
                    <a:gd name="connsiteX24" fmla="*/ 14036 w 435105"/>
                    <a:gd name="connsiteY24" fmla="*/ 209131 h 463176"/>
                    <a:gd name="connsiteX25" fmla="*/ 53335 w 435105"/>
                    <a:gd name="connsiteY25" fmla="*/ 141760 h 463176"/>
                    <a:gd name="connsiteX26" fmla="*/ 56143 w 435105"/>
                    <a:gd name="connsiteY26" fmla="*/ 136146 h 463176"/>
                    <a:gd name="connsiteX27" fmla="*/ 56143 w 435105"/>
                    <a:gd name="connsiteY27" fmla="*/ 133339 h 463176"/>
                    <a:gd name="connsiteX28" fmla="*/ 175446 w 435105"/>
                    <a:gd name="connsiteY28" fmla="*/ 14036 h 463176"/>
                    <a:gd name="connsiteX29" fmla="*/ 286327 w 435105"/>
                    <a:gd name="connsiteY29" fmla="*/ 89828 h 463176"/>
                    <a:gd name="connsiteX30" fmla="*/ 294749 w 435105"/>
                    <a:gd name="connsiteY30" fmla="*/ 94039 h 463176"/>
                    <a:gd name="connsiteX31" fmla="*/ 322820 w 435105"/>
                    <a:gd name="connsiteY31" fmla="*/ 89828 h 463176"/>
                    <a:gd name="connsiteX32" fmla="*/ 421069 w 435105"/>
                    <a:gd name="connsiteY32" fmla="*/ 188078 h 463176"/>
                    <a:gd name="connsiteX33" fmla="*/ 322820 w 435105"/>
                    <a:gd name="connsiteY33" fmla="*/ 286327 h 463176"/>
                    <a:gd name="connsiteX34" fmla="*/ 91232 w 435105"/>
                    <a:gd name="connsiteY34" fmla="*/ 286327 h 463176"/>
                    <a:gd name="connsiteX35" fmla="*/ 14036 w 435105"/>
                    <a:gd name="connsiteY35" fmla="*/ 209131 h 463176"/>
                    <a:gd name="connsiteX36" fmla="*/ 224570 w 435105"/>
                    <a:gd name="connsiteY36" fmla="*/ 454755 h 463176"/>
                    <a:gd name="connsiteX37" fmla="*/ 168428 w 435105"/>
                    <a:gd name="connsiteY37" fmla="*/ 398612 h 463176"/>
                    <a:gd name="connsiteX38" fmla="*/ 168428 w 435105"/>
                    <a:gd name="connsiteY38" fmla="*/ 398612 h 463176"/>
                    <a:gd name="connsiteX39" fmla="*/ 168428 w 435105"/>
                    <a:gd name="connsiteY39" fmla="*/ 398612 h 463176"/>
                    <a:gd name="connsiteX40" fmla="*/ 224570 w 435105"/>
                    <a:gd name="connsiteY40" fmla="*/ 342470 h 463176"/>
                    <a:gd name="connsiteX41" fmla="*/ 280713 w 435105"/>
                    <a:gd name="connsiteY41" fmla="*/ 398612 h 463176"/>
                    <a:gd name="connsiteX42" fmla="*/ 224570 w 435105"/>
                    <a:gd name="connsiteY42" fmla="*/ 454755 h 4631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</a:cxnLst>
                  <a:rect l="l" t="t" r="r" b="b"/>
                  <a:pathLst>
                    <a:path w="435105" h="463176">
                      <a:moveTo>
                        <a:pt x="414052" y="391594"/>
                      </a:moveTo>
                      <a:lnTo>
                        <a:pt x="294749" y="391594"/>
                      </a:lnTo>
                      <a:cubicBezTo>
                        <a:pt x="291941" y="357909"/>
                        <a:pt x="265274" y="332645"/>
                        <a:pt x="232992" y="329837"/>
                      </a:cubicBezTo>
                      <a:lnTo>
                        <a:pt x="232992" y="300363"/>
                      </a:lnTo>
                      <a:lnTo>
                        <a:pt x="322820" y="300363"/>
                      </a:lnTo>
                      <a:cubicBezTo>
                        <a:pt x="384577" y="300363"/>
                        <a:pt x="435105" y="249834"/>
                        <a:pt x="435105" y="188078"/>
                      </a:cubicBezTo>
                      <a:cubicBezTo>
                        <a:pt x="435105" y="126321"/>
                        <a:pt x="384577" y="75792"/>
                        <a:pt x="322820" y="75792"/>
                      </a:cubicBezTo>
                      <a:cubicBezTo>
                        <a:pt x="314398" y="75792"/>
                        <a:pt x="305977" y="77196"/>
                        <a:pt x="297556" y="78600"/>
                      </a:cubicBezTo>
                      <a:cubicBezTo>
                        <a:pt x="276502" y="30878"/>
                        <a:pt x="227377" y="0"/>
                        <a:pt x="175446" y="0"/>
                      </a:cubicBezTo>
                      <a:cubicBezTo>
                        <a:pt x="102460" y="0"/>
                        <a:pt x="42107" y="58950"/>
                        <a:pt x="42107" y="131935"/>
                      </a:cubicBezTo>
                      <a:cubicBezTo>
                        <a:pt x="15439" y="148778"/>
                        <a:pt x="0" y="178253"/>
                        <a:pt x="0" y="209131"/>
                      </a:cubicBezTo>
                      <a:cubicBezTo>
                        <a:pt x="0" y="259659"/>
                        <a:pt x="40703" y="300363"/>
                        <a:pt x="91232" y="300363"/>
                      </a:cubicBezTo>
                      <a:lnTo>
                        <a:pt x="217553" y="300363"/>
                      </a:lnTo>
                      <a:lnTo>
                        <a:pt x="217553" y="329837"/>
                      </a:lnTo>
                      <a:cubicBezTo>
                        <a:pt x="183867" y="332645"/>
                        <a:pt x="158603" y="359312"/>
                        <a:pt x="155796" y="391594"/>
                      </a:cubicBezTo>
                      <a:lnTo>
                        <a:pt x="35089" y="391594"/>
                      </a:lnTo>
                      <a:cubicBezTo>
                        <a:pt x="30878" y="391594"/>
                        <a:pt x="28071" y="394401"/>
                        <a:pt x="28071" y="398612"/>
                      </a:cubicBezTo>
                      <a:cubicBezTo>
                        <a:pt x="28071" y="402823"/>
                        <a:pt x="30878" y="405630"/>
                        <a:pt x="35089" y="405630"/>
                      </a:cubicBezTo>
                      <a:lnTo>
                        <a:pt x="155796" y="405630"/>
                      </a:lnTo>
                      <a:cubicBezTo>
                        <a:pt x="160006" y="440719"/>
                        <a:pt x="189481" y="468790"/>
                        <a:pt x="224570" y="468790"/>
                      </a:cubicBezTo>
                      <a:cubicBezTo>
                        <a:pt x="261063" y="468790"/>
                        <a:pt x="290538" y="440719"/>
                        <a:pt x="293345" y="405630"/>
                      </a:cubicBezTo>
                      <a:lnTo>
                        <a:pt x="414052" y="405630"/>
                      </a:lnTo>
                      <a:cubicBezTo>
                        <a:pt x="418262" y="405630"/>
                        <a:pt x="421069" y="402823"/>
                        <a:pt x="421069" y="398612"/>
                      </a:cubicBezTo>
                      <a:cubicBezTo>
                        <a:pt x="421069" y="394401"/>
                        <a:pt x="418262" y="391594"/>
                        <a:pt x="414052" y="391594"/>
                      </a:cubicBezTo>
                      <a:close/>
                      <a:moveTo>
                        <a:pt x="14036" y="209131"/>
                      </a:moveTo>
                      <a:cubicBezTo>
                        <a:pt x="14036" y="182463"/>
                        <a:pt x="29475" y="155796"/>
                        <a:pt x="53335" y="141760"/>
                      </a:cubicBezTo>
                      <a:cubicBezTo>
                        <a:pt x="54739" y="141760"/>
                        <a:pt x="56143" y="138953"/>
                        <a:pt x="56143" y="136146"/>
                      </a:cubicBezTo>
                      <a:lnTo>
                        <a:pt x="56143" y="133339"/>
                      </a:lnTo>
                      <a:cubicBezTo>
                        <a:pt x="56143" y="67371"/>
                        <a:pt x="109478" y="14036"/>
                        <a:pt x="175446" y="14036"/>
                      </a:cubicBezTo>
                      <a:cubicBezTo>
                        <a:pt x="224570" y="14036"/>
                        <a:pt x="269484" y="44914"/>
                        <a:pt x="286327" y="89828"/>
                      </a:cubicBezTo>
                      <a:cubicBezTo>
                        <a:pt x="287731" y="92635"/>
                        <a:pt x="291941" y="95442"/>
                        <a:pt x="294749" y="94039"/>
                      </a:cubicBezTo>
                      <a:cubicBezTo>
                        <a:pt x="303170" y="91232"/>
                        <a:pt x="312995" y="89828"/>
                        <a:pt x="322820" y="89828"/>
                      </a:cubicBezTo>
                      <a:cubicBezTo>
                        <a:pt x="377559" y="89828"/>
                        <a:pt x="421069" y="133339"/>
                        <a:pt x="421069" y="188078"/>
                      </a:cubicBezTo>
                      <a:cubicBezTo>
                        <a:pt x="421069" y="242817"/>
                        <a:pt x="377559" y="286327"/>
                        <a:pt x="322820" y="286327"/>
                      </a:cubicBezTo>
                      <a:lnTo>
                        <a:pt x="91232" y="286327"/>
                      </a:lnTo>
                      <a:cubicBezTo>
                        <a:pt x="49125" y="286327"/>
                        <a:pt x="14036" y="252641"/>
                        <a:pt x="14036" y="209131"/>
                      </a:cubicBezTo>
                      <a:close/>
                      <a:moveTo>
                        <a:pt x="224570" y="454755"/>
                      </a:moveTo>
                      <a:cubicBezTo>
                        <a:pt x="193692" y="454755"/>
                        <a:pt x="168428" y="429490"/>
                        <a:pt x="168428" y="398612"/>
                      </a:cubicBezTo>
                      <a:cubicBezTo>
                        <a:pt x="168428" y="398612"/>
                        <a:pt x="168428" y="398612"/>
                        <a:pt x="168428" y="398612"/>
                      </a:cubicBezTo>
                      <a:cubicBezTo>
                        <a:pt x="168428" y="398612"/>
                        <a:pt x="168428" y="398612"/>
                        <a:pt x="168428" y="398612"/>
                      </a:cubicBezTo>
                      <a:cubicBezTo>
                        <a:pt x="168428" y="367734"/>
                        <a:pt x="193692" y="342470"/>
                        <a:pt x="224570" y="342470"/>
                      </a:cubicBezTo>
                      <a:cubicBezTo>
                        <a:pt x="255449" y="342470"/>
                        <a:pt x="280713" y="367734"/>
                        <a:pt x="280713" y="398612"/>
                      </a:cubicBezTo>
                      <a:cubicBezTo>
                        <a:pt x="280713" y="429490"/>
                        <a:pt x="256852" y="454755"/>
                        <a:pt x="224570" y="454755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1382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Ubuntu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79" name="Group 178">
                <a:extLst>
                  <a:ext uri="{FF2B5EF4-FFF2-40B4-BE49-F238E27FC236}">
                    <a16:creationId xmlns:a16="http://schemas.microsoft.com/office/drawing/2014/main" id="{93832155-482E-0640-EED7-C6E83BF9474F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5478099" y="1529257"/>
                <a:ext cx="492228" cy="492228"/>
                <a:chOff x="2542238" y="2105234"/>
                <a:chExt cx="792088" cy="792088"/>
              </a:xfrm>
            </p:grpSpPr>
            <p:sp>
              <p:nvSpPr>
                <p:cNvPr id="268" name="Oval 267">
                  <a:extLst>
                    <a:ext uri="{FF2B5EF4-FFF2-40B4-BE49-F238E27FC236}">
                      <a16:creationId xmlns:a16="http://schemas.microsoft.com/office/drawing/2014/main" id="{473F0757-74CB-E410-7687-FD0E76D7EE56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2542238" y="2105234"/>
                  <a:ext cx="792088" cy="792088"/>
                </a:xfrm>
                <a:prstGeom prst="ellipse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600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Ubuntu"/>
                    <a:ea typeface="+mn-ea"/>
                    <a:cs typeface="+mn-cs"/>
                  </a:endParaRPr>
                </a:p>
              </p:txBody>
            </p:sp>
            <p:grpSp>
              <p:nvGrpSpPr>
                <p:cNvPr id="269" name="Graphic 22">
                  <a:extLst>
                    <a:ext uri="{FF2B5EF4-FFF2-40B4-BE49-F238E27FC236}">
                      <a16:creationId xmlns:a16="http://schemas.microsoft.com/office/drawing/2014/main" id="{2D4A9DC7-32A5-6E4A-FD2E-8B05D2302AD9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2711531" y="2254618"/>
                  <a:ext cx="453317" cy="479982"/>
                  <a:chOff x="5883102" y="3152586"/>
                  <a:chExt cx="425622" cy="450658"/>
                </a:xfrm>
                <a:solidFill>
                  <a:schemeClr val="bg1"/>
                </a:solidFill>
              </p:grpSpPr>
              <p:sp>
                <p:nvSpPr>
                  <p:cNvPr id="270" name="Freeform: Shape 231">
                    <a:extLst>
                      <a:ext uri="{FF2B5EF4-FFF2-40B4-BE49-F238E27FC236}">
                        <a16:creationId xmlns:a16="http://schemas.microsoft.com/office/drawing/2014/main" id="{7AEDFEBB-4996-0055-F8FA-DAF24C5807D5}"/>
                      </a:ext>
                    </a:extLst>
                  </p:cNvPr>
                  <p:cNvSpPr/>
                  <p:nvPr/>
                </p:nvSpPr>
                <p:spPr>
                  <a:xfrm>
                    <a:off x="5883102" y="3377915"/>
                    <a:ext cx="425622" cy="225329"/>
                  </a:xfrm>
                  <a:custGeom>
                    <a:avLst/>
                    <a:gdLst>
                      <a:gd name="connsiteX0" fmla="*/ 400673 w 425622"/>
                      <a:gd name="connsiteY0" fmla="*/ 150219 h 225328"/>
                      <a:gd name="connsiteX1" fmla="*/ 376512 w 425622"/>
                      <a:gd name="connsiteY1" fmla="*/ 168997 h 225328"/>
                      <a:gd name="connsiteX2" fmla="*/ 275490 w 425622"/>
                      <a:gd name="connsiteY2" fmla="*/ 168997 h 225328"/>
                      <a:gd name="connsiteX3" fmla="*/ 219783 w 425622"/>
                      <a:gd name="connsiteY3" fmla="*/ 113290 h 225328"/>
                      <a:gd name="connsiteX4" fmla="*/ 219783 w 425622"/>
                      <a:gd name="connsiteY4" fmla="*/ 87628 h 225328"/>
                      <a:gd name="connsiteX5" fmla="*/ 382521 w 425622"/>
                      <a:gd name="connsiteY5" fmla="*/ 87628 h 225328"/>
                      <a:gd name="connsiteX6" fmla="*/ 388780 w 425622"/>
                      <a:gd name="connsiteY6" fmla="*/ 81369 h 225328"/>
                      <a:gd name="connsiteX7" fmla="*/ 388780 w 425622"/>
                      <a:gd name="connsiteY7" fmla="*/ 6259 h 225328"/>
                      <a:gd name="connsiteX8" fmla="*/ 382521 w 425622"/>
                      <a:gd name="connsiteY8" fmla="*/ 0 h 225328"/>
                      <a:gd name="connsiteX9" fmla="*/ 43901 w 425622"/>
                      <a:gd name="connsiteY9" fmla="*/ 0 h 225328"/>
                      <a:gd name="connsiteX10" fmla="*/ 37642 w 425622"/>
                      <a:gd name="connsiteY10" fmla="*/ 6259 h 225328"/>
                      <a:gd name="connsiteX11" fmla="*/ 37642 w 425622"/>
                      <a:gd name="connsiteY11" fmla="*/ 81369 h 225328"/>
                      <a:gd name="connsiteX12" fmla="*/ 43901 w 425622"/>
                      <a:gd name="connsiteY12" fmla="*/ 87628 h 225328"/>
                      <a:gd name="connsiteX13" fmla="*/ 206639 w 425622"/>
                      <a:gd name="connsiteY13" fmla="*/ 87628 h 225328"/>
                      <a:gd name="connsiteX14" fmla="*/ 206639 w 425622"/>
                      <a:gd name="connsiteY14" fmla="*/ 113290 h 225328"/>
                      <a:gd name="connsiteX15" fmla="*/ 150933 w 425622"/>
                      <a:gd name="connsiteY15" fmla="*/ 168997 h 225328"/>
                      <a:gd name="connsiteX16" fmla="*/ 49284 w 425622"/>
                      <a:gd name="connsiteY16" fmla="*/ 168997 h 225328"/>
                      <a:gd name="connsiteX17" fmla="*/ 18784 w 425622"/>
                      <a:gd name="connsiteY17" fmla="*/ 151014 h 225328"/>
                      <a:gd name="connsiteX18" fmla="*/ 801 w 425622"/>
                      <a:gd name="connsiteY18" fmla="*/ 181515 h 225328"/>
                      <a:gd name="connsiteX19" fmla="*/ 31302 w 425622"/>
                      <a:gd name="connsiteY19" fmla="*/ 199497 h 225328"/>
                      <a:gd name="connsiteX20" fmla="*/ 49284 w 425622"/>
                      <a:gd name="connsiteY20" fmla="*/ 181515 h 225328"/>
                      <a:gd name="connsiteX21" fmla="*/ 150933 w 425622"/>
                      <a:gd name="connsiteY21" fmla="*/ 181515 h 225328"/>
                      <a:gd name="connsiteX22" fmla="*/ 221727 w 425622"/>
                      <a:gd name="connsiteY22" fmla="*/ 234651 h 225328"/>
                      <a:gd name="connsiteX23" fmla="*/ 274864 w 425622"/>
                      <a:gd name="connsiteY23" fmla="*/ 181515 h 225328"/>
                      <a:gd name="connsiteX24" fmla="*/ 376512 w 425622"/>
                      <a:gd name="connsiteY24" fmla="*/ 181515 h 225328"/>
                      <a:gd name="connsiteX25" fmla="*/ 407013 w 425622"/>
                      <a:gd name="connsiteY25" fmla="*/ 199497 h 225328"/>
                      <a:gd name="connsiteX26" fmla="*/ 424996 w 425622"/>
                      <a:gd name="connsiteY26" fmla="*/ 168997 h 225328"/>
                      <a:gd name="connsiteX27" fmla="*/ 400673 w 425622"/>
                      <a:gd name="connsiteY27" fmla="*/ 150219 h 225328"/>
                      <a:gd name="connsiteX28" fmla="*/ 50161 w 425622"/>
                      <a:gd name="connsiteY28" fmla="*/ 12518 h 225328"/>
                      <a:gd name="connsiteX29" fmla="*/ 375636 w 425622"/>
                      <a:gd name="connsiteY29" fmla="*/ 12518 h 225328"/>
                      <a:gd name="connsiteX30" fmla="*/ 375636 w 425622"/>
                      <a:gd name="connsiteY30" fmla="*/ 75110 h 225328"/>
                      <a:gd name="connsiteX31" fmla="*/ 50161 w 425622"/>
                      <a:gd name="connsiteY31" fmla="*/ 75110 h 225328"/>
                      <a:gd name="connsiteX32" fmla="*/ 25124 w 425622"/>
                      <a:gd name="connsiteY32" fmla="*/ 187774 h 225328"/>
                      <a:gd name="connsiteX33" fmla="*/ 12606 w 425622"/>
                      <a:gd name="connsiteY33" fmla="*/ 175256 h 225328"/>
                      <a:gd name="connsiteX34" fmla="*/ 25124 w 425622"/>
                      <a:gd name="connsiteY34" fmla="*/ 162738 h 225328"/>
                      <a:gd name="connsiteX35" fmla="*/ 37642 w 425622"/>
                      <a:gd name="connsiteY35" fmla="*/ 175256 h 225328"/>
                      <a:gd name="connsiteX36" fmla="*/ 25124 w 425622"/>
                      <a:gd name="connsiteY36" fmla="*/ 187774 h 225328"/>
                      <a:gd name="connsiteX37" fmla="*/ 212898 w 425622"/>
                      <a:gd name="connsiteY37" fmla="*/ 225329 h 225328"/>
                      <a:gd name="connsiteX38" fmla="*/ 162825 w 425622"/>
                      <a:gd name="connsiteY38" fmla="*/ 175256 h 225328"/>
                      <a:gd name="connsiteX39" fmla="*/ 162825 w 425622"/>
                      <a:gd name="connsiteY39" fmla="*/ 174004 h 225328"/>
                      <a:gd name="connsiteX40" fmla="*/ 214134 w 425622"/>
                      <a:gd name="connsiteY40" fmla="*/ 125198 h 225328"/>
                      <a:gd name="connsiteX41" fmla="*/ 262940 w 425622"/>
                      <a:gd name="connsiteY41" fmla="*/ 176508 h 225328"/>
                      <a:gd name="connsiteX42" fmla="*/ 212898 w 425622"/>
                      <a:gd name="connsiteY42" fmla="*/ 225329 h 225328"/>
                      <a:gd name="connsiteX43" fmla="*/ 400673 w 425622"/>
                      <a:gd name="connsiteY43" fmla="*/ 187774 h 225328"/>
                      <a:gd name="connsiteX44" fmla="*/ 388154 w 425622"/>
                      <a:gd name="connsiteY44" fmla="*/ 175256 h 225328"/>
                      <a:gd name="connsiteX45" fmla="*/ 400673 w 425622"/>
                      <a:gd name="connsiteY45" fmla="*/ 162738 h 225328"/>
                      <a:gd name="connsiteX46" fmla="*/ 413191 w 425622"/>
                      <a:gd name="connsiteY46" fmla="*/ 175256 h 225328"/>
                      <a:gd name="connsiteX47" fmla="*/ 400673 w 425622"/>
                      <a:gd name="connsiteY47" fmla="*/ 187774 h 22532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</a:cxnLst>
                    <a:rect l="l" t="t" r="r" b="b"/>
                    <a:pathLst>
                      <a:path w="425622" h="225328">
                        <a:moveTo>
                          <a:pt x="400673" y="150219"/>
                        </a:moveTo>
                        <a:cubicBezTo>
                          <a:pt x="389286" y="150257"/>
                          <a:pt x="379359" y="157972"/>
                          <a:pt x="376512" y="168997"/>
                        </a:cubicBezTo>
                        <a:lnTo>
                          <a:pt x="275490" y="168997"/>
                        </a:lnTo>
                        <a:cubicBezTo>
                          <a:pt x="272400" y="139605"/>
                          <a:pt x="249175" y="116380"/>
                          <a:pt x="219783" y="113290"/>
                        </a:cubicBezTo>
                        <a:lnTo>
                          <a:pt x="219783" y="87628"/>
                        </a:lnTo>
                        <a:lnTo>
                          <a:pt x="382521" y="87628"/>
                        </a:lnTo>
                        <a:cubicBezTo>
                          <a:pt x="385978" y="87628"/>
                          <a:pt x="388780" y="84825"/>
                          <a:pt x="388780" y="81369"/>
                        </a:cubicBezTo>
                        <a:lnTo>
                          <a:pt x="388780" y="6259"/>
                        </a:lnTo>
                        <a:cubicBezTo>
                          <a:pt x="388780" y="2803"/>
                          <a:pt x="385978" y="0"/>
                          <a:pt x="382521" y="0"/>
                        </a:cubicBezTo>
                        <a:lnTo>
                          <a:pt x="43901" y="0"/>
                        </a:lnTo>
                        <a:cubicBezTo>
                          <a:pt x="40445" y="0"/>
                          <a:pt x="37642" y="2803"/>
                          <a:pt x="37642" y="6259"/>
                        </a:cubicBezTo>
                        <a:lnTo>
                          <a:pt x="37642" y="81369"/>
                        </a:lnTo>
                        <a:cubicBezTo>
                          <a:pt x="37642" y="84825"/>
                          <a:pt x="40445" y="87628"/>
                          <a:pt x="43901" y="87628"/>
                        </a:cubicBezTo>
                        <a:lnTo>
                          <a:pt x="206639" y="87628"/>
                        </a:lnTo>
                        <a:lnTo>
                          <a:pt x="206639" y="113290"/>
                        </a:lnTo>
                        <a:cubicBezTo>
                          <a:pt x="177247" y="116380"/>
                          <a:pt x="154022" y="139605"/>
                          <a:pt x="150933" y="168997"/>
                        </a:cubicBezTo>
                        <a:lnTo>
                          <a:pt x="49284" y="168997"/>
                        </a:lnTo>
                        <a:cubicBezTo>
                          <a:pt x="45827" y="155608"/>
                          <a:pt x="32172" y="147558"/>
                          <a:pt x="18784" y="151014"/>
                        </a:cubicBezTo>
                        <a:cubicBezTo>
                          <a:pt x="5395" y="154472"/>
                          <a:pt x="-2656" y="168127"/>
                          <a:pt x="801" y="181515"/>
                        </a:cubicBezTo>
                        <a:cubicBezTo>
                          <a:pt x="4258" y="194903"/>
                          <a:pt x="17914" y="202954"/>
                          <a:pt x="31302" y="199497"/>
                        </a:cubicBezTo>
                        <a:cubicBezTo>
                          <a:pt x="40121" y="197220"/>
                          <a:pt x="47007" y="190334"/>
                          <a:pt x="49284" y="181515"/>
                        </a:cubicBezTo>
                        <a:lnTo>
                          <a:pt x="150933" y="181515"/>
                        </a:lnTo>
                        <a:cubicBezTo>
                          <a:pt x="155809" y="215737"/>
                          <a:pt x="187505" y="239527"/>
                          <a:pt x="221727" y="234651"/>
                        </a:cubicBezTo>
                        <a:cubicBezTo>
                          <a:pt x="249284" y="230724"/>
                          <a:pt x="270937" y="209071"/>
                          <a:pt x="274864" y="181515"/>
                        </a:cubicBezTo>
                        <a:lnTo>
                          <a:pt x="376512" y="181515"/>
                        </a:lnTo>
                        <a:cubicBezTo>
                          <a:pt x="379969" y="194903"/>
                          <a:pt x="393625" y="202954"/>
                          <a:pt x="407013" y="199497"/>
                        </a:cubicBezTo>
                        <a:cubicBezTo>
                          <a:pt x="420402" y="196040"/>
                          <a:pt x="428452" y="182385"/>
                          <a:pt x="424996" y="168997"/>
                        </a:cubicBezTo>
                        <a:cubicBezTo>
                          <a:pt x="422134" y="157913"/>
                          <a:pt x="412119" y="150182"/>
                          <a:pt x="400673" y="150219"/>
                        </a:cubicBezTo>
                        <a:close/>
                        <a:moveTo>
                          <a:pt x="50161" y="12518"/>
                        </a:moveTo>
                        <a:lnTo>
                          <a:pt x="375636" y="12518"/>
                        </a:lnTo>
                        <a:lnTo>
                          <a:pt x="375636" y="75110"/>
                        </a:lnTo>
                        <a:lnTo>
                          <a:pt x="50161" y="75110"/>
                        </a:lnTo>
                        <a:close/>
                        <a:moveTo>
                          <a:pt x="25124" y="187774"/>
                        </a:moveTo>
                        <a:cubicBezTo>
                          <a:pt x="18210" y="187774"/>
                          <a:pt x="12606" y="182170"/>
                          <a:pt x="12606" y="175256"/>
                        </a:cubicBezTo>
                        <a:cubicBezTo>
                          <a:pt x="12606" y="168342"/>
                          <a:pt x="18210" y="162738"/>
                          <a:pt x="25124" y="162738"/>
                        </a:cubicBezTo>
                        <a:cubicBezTo>
                          <a:pt x="32038" y="162738"/>
                          <a:pt x="37642" y="168342"/>
                          <a:pt x="37642" y="175256"/>
                        </a:cubicBezTo>
                        <a:cubicBezTo>
                          <a:pt x="37642" y="182170"/>
                          <a:pt x="32038" y="187774"/>
                          <a:pt x="25124" y="187774"/>
                        </a:cubicBezTo>
                        <a:close/>
                        <a:moveTo>
                          <a:pt x="212898" y="225329"/>
                        </a:moveTo>
                        <a:cubicBezTo>
                          <a:pt x="185244" y="225329"/>
                          <a:pt x="162825" y="202910"/>
                          <a:pt x="162825" y="175256"/>
                        </a:cubicBezTo>
                        <a:cubicBezTo>
                          <a:pt x="162992" y="174855"/>
                          <a:pt x="162992" y="174405"/>
                          <a:pt x="162825" y="174004"/>
                        </a:cubicBezTo>
                        <a:cubicBezTo>
                          <a:pt x="163516" y="146359"/>
                          <a:pt x="186488" y="124507"/>
                          <a:pt x="214134" y="125198"/>
                        </a:cubicBezTo>
                        <a:cubicBezTo>
                          <a:pt x="241781" y="125890"/>
                          <a:pt x="263631" y="148862"/>
                          <a:pt x="262940" y="176508"/>
                        </a:cubicBezTo>
                        <a:cubicBezTo>
                          <a:pt x="262262" y="203660"/>
                          <a:pt x="240059" y="225320"/>
                          <a:pt x="212898" y="225329"/>
                        </a:cubicBezTo>
                        <a:close/>
                        <a:moveTo>
                          <a:pt x="400673" y="187774"/>
                        </a:moveTo>
                        <a:cubicBezTo>
                          <a:pt x="393759" y="187774"/>
                          <a:pt x="388154" y="182170"/>
                          <a:pt x="388154" y="175256"/>
                        </a:cubicBezTo>
                        <a:cubicBezTo>
                          <a:pt x="388154" y="168342"/>
                          <a:pt x="393759" y="162738"/>
                          <a:pt x="400673" y="162738"/>
                        </a:cubicBezTo>
                        <a:cubicBezTo>
                          <a:pt x="407587" y="162738"/>
                          <a:pt x="413191" y="168342"/>
                          <a:pt x="413191" y="175256"/>
                        </a:cubicBezTo>
                        <a:cubicBezTo>
                          <a:pt x="413191" y="182170"/>
                          <a:pt x="407587" y="187774"/>
                          <a:pt x="400673" y="187774"/>
                        </a:cubicBezTo>
                        <a:close/>
                      </a:path>
                    </a:pathLst>
                  </a:custGeom>
                  <a:grpFill/>
                  <a:ln w="1232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71" name="Freeform: Shape 232">
                    <a:extLst>
                      <a:ext uri="{FF2B5EF4-FFF2-40B4-BE49-F238E27FC236}">
                        <a16:creationId xmlns:a16="http://schemas.microsoft.com/office/drawing/2014/main" id="{2BA2A470-3890-A65A-43E1-F04513424A1D}"/>
                      </a:ext>
                    </a:extLst>
                  </p:cNvPr>
                  <p:cNvSpPr/>
                  <p:nvPr/>
                </p:nvSpPr>
                <p:spPr>
                  <a:xfrm>
                    <a:off x="5958299" y="3415470"/>
                    <a:ext cx="50073" cy="12518"/>
                  </a:xfrm>
                  <a:custGeom>
                    <a:avLst/>
                    <a:gdLst>
                      <a:gd name="connsiteX0" fmla="*/ 43814 w 50073"/>
                      <a:gd name="connsiteY0" fmla="*/ 12518 h 12518"/>
                      <a:gd name="connsiteX1" fmla="*/ 6259 w 50073"/>
                      <a:gd name="connsiteY1" fmla="*/ 12518 h 12518"/>
                      <a:gd name="connsiteX2" fmla="*/ 0 w 50073"/>
                      <a:gd name="connsiteY2" fmla="*/ 6259 h 12518"/>
                      <a:gd name="connsiteX3" fmla="*/ 6259 w 50073"/>
                      <a:gd name="connsiteY3" fmla="*/ 0 h 12518"/>
                      <a:gd name="connsiteX4" fmla="*/ 43814 w 50073"/>
                      <a:gd name="connsiteY4" fmla="*/ 0 h 12518"/>
                      <a:gd name="connsiteX5" fmla="*/ 50073 w 50073"/>
                      <a:gd name="connsiteY5" fmla="*/ 6259 h 12518"/>
                      <a:gd name="connsiteX6" fmla="*/ 43814 w 50073"/>
                      <a:gd name="connsiteY6" fmla="*/ 12518 h 125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50073" h="12518">
                        <a:moveTo>
                          <a:pt x="43814" y="12518"/>
                        </a:moveTo>
                        <a:lnTo>
                          <a:pt x="6259" y="12518"/>
                        </a:lnTo>
                        <a:cubicBezTo>
                          <a:pt x="2802" y="12518"/>
                          <a:pt x="0" y="9715"/>
                          <a:pt x="0" y="6259"/>
                        </a:cubicBezTo>
                        <a:cubicBezTo>
                          <a:pt x="0" y="2803"/>
                          <a:pt x="2802" y="0"/>
                          <a:pt x="6259" y="0"/>
                        </a:cubicBezTo>
                        <a:lnTo>
                          <a:pt x="43814" y="0"/>
                        </a:lnTo>
                        <a:cubicBezTo>
                          <a:pt x="47271" y="0"/>
                          <a:pt x="50073" y="2803"/>
                          <a:pt x="50073" y="6259"/>
                        </a:cubicBezTo>
                        <a:cubicBezTo>
                          <a:pt x="50073" y="9715"/>
                          <a:pt x="47271" y="12518"/>
                          <a:pt x="43814" y="12518"/>
                        </a:cubicBezTo>
                        <a:close/>
                      </a:path>
                    </a:pathLst>
                  </a:custGeom>
                  <a:grpFill/>
                  <a:ln w="1232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72" name="Freeform: Shape 233">
                    <a:extLst>
                      <a:ext uri="{FF2B5EF4-FFF2-40B4-BE49-F238E27FC236}">
                        <a16:creationId xmlns:a16="http://schemas.microsoft.com/office/drawing/2014/main" id="{23E19DED-C2E2-63E7-F6A8-5FA926C471DA}"/>
                      </a:ext>
                    </a:extLst>
                  </p:cNvPr>
                  <p:cNvSpPr/>
                  <p:nvPr/>
                </p:nvSpPr>
                <p:spPr>
                  <a:xfrm>
                    <a:off x="6111523" y="3415470"/>
                    <a:ext cx="112665" cy="12518"/>
                  </a:xfrm>
                  <a:custGeom>
                    <a:avLst/>
                    <a:gdLst>
                      <a:gd name="connsiteX0" fmla="*/ 115919 w 112664"/>
                      <a:gd name="connsiteY0" fmla="*/ 12518 h 12518"/>
                      <a:gd name="connsiteX1" fmla="*/ 6259 w 112664"/>
                      <a:gd name="connsiteY1" fmla="*/ 12518 h 12518"/>
                      <a:gd name="connsiteX2" fmla="*/ 0 w 112664"/>
                      <a:gd name="connsiteY2" fmla="*/ 6259 h 12518"/>
                      <a:gd name="connsiteX3" fmla="*/ 6259 w 112664"/>
                      <a:gd name="connsiteY3" fmla="*/ 0 h 12518"/>
                      <a:gd name="connsiteX4" fmla="*/ 115919 w 112664"/>
                      <a:gd name="connsiteY4" fmla="*/ 0 h 12518"/>
                      <a:gd name="connsiteX5" fmla="*/ 122179 w 112664"/>
                      <a:gd name="connsiteY5" fmla="*/ 6259 h 12518"/>
                      <a:gd name="connsiteX6" fmla="*/ 115919 w 112664"/>
                      <a:gd name="connsiteY6" fmla="*/ 12518 h 125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12664" h="12518">
                        <a:moveTo>
                          <a:pt x="115919" y="12518"/>
                        </a:moveTo>
                        <a:lnTo>
                          <a:pt x="6259" y="12518"/>
                        </a:lnTo>
                        <a:cubicBezTo>
                          <a:pt x="2803" y="12518"/>
                          <a:pt x="0" y="9715"/>
                          <a:pt x="0" y="6259"/>
                        </a:cubicBezTo>
                        <a:cubicBezTo>
                          <a:pt x="0" y="2803"/>
                          <a:pt x="2803" y="0"/>
                          <a:pt x="6259" y="0"/>
                        </a:cubicBezTo>
                        <a:lnTo>
                          <a:pt x="115919" y="0"/>
                        </a:lnTo>
                        <a:cubicBezTo>
                          <a:pt x="119376" y="0"/>
                          <a:pt x="122179" y="2803"/>
                          <a:pt x="122179" y="6259"/>
                        </a:cubicBezTo>
                        <a:cubicBezTo>
                          <a:pt x="122179" y="9715"/>
                          <a:pt x="119376" y="12518"/>
                          <a:pt x="115919" y="12518"/>
                        </a:cubicBezTo>
                        <a:close/>
                      </a:path>
                    </a:pathLst>
                  </a:custGeom>
                  <a:grpFill/>
                  <a:ln w="1232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73" name="Freeform: Shape 234">
                    <a:extLst>
                      <a:ext uri="{FF2B5EF4-FFF2-40B4-BE49-F238E27FC236}">
                        <a16:creationId xmlns:a16="http://schemas.microsoft.com/office/drawing/2014/main" id="{6B844BB3-3BD6-FC96-FD22-FD21698D0870}"/>
                      </a:ext>
                    </a:extLst>
                  </p:cNvPr>
                  <p:cNvSpPr/>
                  <p:nvPr/>
                </p:nvSpPr>
                <p:spPr>
                  <a:xfrm>
                    <a:off x="5920744" y="3265250"/>
                    <a:ext cx="350512" cy="87628"/>
                  </a:xfrm>
                  <a:custGeom>
                    <a:avLst/>
                    <a:gdLst>
                      <a:gd name="connsiteX0" fmla="*/ 344253 w 350512"/>
                      <a:gd name="connsiteY0" fmla="*/ 87628 h 87627"/>
                      <a:gd name="connsiteX1" fmla="*/ 6259 w 350512"/>
                      <a:gd name="connsiteY1" fmla="*/ 87628 h 87627"/>
                      <a:gd name="connsiteX2" fmla="*/ 0 w 350512"/>
                      <a:gd name="connsiteY2" fmla="*/ 81369 h 87627"/>
                      <a:gd name="connsiteX3" fmla="*/ 0 w 350512"/>
                      <a:gd name="connsiteY3" fmla="*/ 6259 h 87627"/>
                      <a:gd name="connsiteX4" fmla="*/ 6259 w 350512"/>
                      <a:gd name="connsiteY4" fmla="*/ 0 h 87627"/>
                      <a:gd name="connsiteX5" fmla="*/ 344253 w 350512"/>
                      <a:gd name="connsiteY5" fmla="*/ 0 h 87627"/>
                      <a:gd name="connsiteX6" fmla="*/ 350512 w 350512"/>
                      <a:gd name="connsiteY6" fmla="*/ 6259 h 87627"/>
                      <a:gd name="connsiteX7" fmla="*/ 350512 w 350512"/>
                      <a:gd name="connsiteY7" fmla="*/ 81369 h 87627"/>
                      <a:gd name="connsiteX8" fmla="*/ 344253 w 350512"/>
                      <a:gd name="connsiteY8" fmla="*/ 87628 h 87627"/>
                      <a:gd name="connsiteX9" fmla="*/ 12518 w 350512"/>
                      <a:gd name="connsiteY9" fmla="*/ 75110 h 87627"/>
                      <a:gd name="connsiteX10" fmla="*/ 337994 w 350512"/>
                      <a:gd name="connsiteY10" fmla="*/ 75110 h 87627"/>
                      <a:gd name="connsiteX11" fmla="*/ 337994 w 350512"/>
                      <a:gd name="connsiteY11" fmla="*/ 12518 h 87627"/>
                      <a:gd name="connsiteX12" fmla="*/ 12518 w 350512"/>
                      <a:gd name="connsiteY12" fmla="*/ 12518 h 8762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</a:cxnLst>
                    <a:rect l="l" t="t" r="r" b="b"/>
                    <a:pathLst>
                      <a:path w="350512" h="87627">
                        <a:moveTo>
                          <a:pt x="344253" y="87628"/>
                        </a:moveTo>
                        <a:lnTo>
                          <a:pt x="6259" y="87628"/>
                        </a:lnTo>
                        <a:cubicBezTo>
                          <a:pt x="2802" y="87628"/>
                          <a:pt x="0" y="84825"/>
                          <a:pt x="0" y="81369"/>
                        </a:cubicBezTo>
                        <a:lnTo>
                          <a:pt x="0" y="6259"/>
                        </a:lnTo>
                        <a:cubicBezTo>
                          <a:pt x="0" y="2802"/>
                          <a:pt x="2802" y="0"/>
                          <a:pt x="6259" y="0"/>
                        </a:cubicBezTo>
                        <a:lnTo>
                          <a:pt x="344253" y="0"/>
                        </a:lnTo>
                        <a:cubicBezTo>
                          <a:pt x="347709" y="0"/>
                          <a:pt x="350512" y="2802"/>
                          <a:pt x="350512" y="6259"/>
                        </a:cubicBezTo>
                        <a:lnTo>
                          <a:pt x="350512" y="81369"/>
                        </a:lnTo>
                        <a:cubicBezTo>
                          <a:pt x="350512" y="84825"/>
                          <a:pt x="347709" y="87628"/>
                          <a:pt x="344253" y="87628"/>
                        </a:cubicBezTo>
                        <a:close/>
                        <a:moveTo>
                          <a:pt x="12518" y="75110"/>
                        </a:moveTo>
                        <a:lnTo>
                          <a:pt x="337994" y="75110"/>
                        </a:lnTo>
                        <a:lnTo>
                          <a:pt x="337994" y="12518"/>
                        </a:lnTo>
                        <a:lnTo>
                          <a:pt x="12518" y="12518"/>
                        </a:lnTo>
                        <a:close/>
                      </a:path>
                    </a:pathLst>
                  </a:custGeom>
                  <a:grpFill/>
                  <a:ln w="1232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74" name="Freeform: Shape 235">
                    <a:extLst>
                      <a:ext uri="{FF2B5EF4-FFF2-40B4-BE49-F238E27FC236}">
                        <a16:creationId xmlns:a16="http://schemas.microsoft.com/office/drawing/2014/main" id="{5B1D9821-F5D0-922F-7482-3F7BE65AAA18}"/>
                      </a:ext>
                    </a:extLst>
                  </p:cNvPr>
                  <p:cNvSpPr/>
                  <p:nvPr/>
                </p:nvSpPr>
                <p:spPr>
                  <a:xfrm>
                    <a:off x="5958299" y="3302805"/>
                    <a:ext cx="50073" cy="12518"/>
                  </a:xfrm>
                  <a:custGeom>
                    <a:avLst/>
                    <a:gdLst>
                      <a:gd name="connsiteX0" fmla="*/ 43814 w 50073"/>
                      <a:gd name="connsiteY0" fmla="*/ 12518 h 12518"/>
                      <a:gd name="connsiteX1" fmla="*/ 6259 w 50073"/>
                      <a:gd name="connsiteY1" fmla="*/ 12518 h 12518"/>
                      <a:gd name="connsiteX2" fmla="*/ 0 w 50073"/>
                      <a:gd name="connsiteY2" fmla="*/ 6259 h 12518"/>
                      <a:gd name="connsiteX3" fmla="*/ 6259 w 50073"/>
                      <a:gd name="connsiteY3" fmla="*/ 0 h 12518"/>
                      <a:gd name="connsiteX4" fmla="*/ 43814 w 50073"/>
                      <a:gd name="connsiteY4" fmla="*/ 0 h 12518"/>
                      <a:gd name="connsiteX5" fmla="*/ 50073 w 50073"/>
                      <a:gd name="connsiteY5" fmla="*/ 6259 h 12518"/>
                      <a:gd name="connsiteX6" fmla="*/ 43814 w 50073"/>
                      <a:gd name="connsiteY6" fmla="*/ 12518 h 125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50073" h="12518">
                        <a:moveTo>
                          <a:pt x="43814" y="12518"/>
                        </a:moveTo>
                        <a:lnTo>
                          <a:pt x="6259" y="12518"/>
                        </a:lnTo>
                        <a:cubicBezTo>
                          <a:pt x="2802" y="12518"/>
                          <a:pt x="0" y="9715"/>
                          <a:pt x="0" y="6259"/>
                        </a:cubicBezTo>
                        <a:cubicBezTo>
                          <a:pt x="0" y="2803"/>
                          <a:pt x="2802" y="0"/>
                          <a:pt x="6259" y="0"/>
                        </a:cubicBezTo>
                        <a:lnTo>
                          <a:pt x="43814" y="0"/>
                        </a:lnTo>
                        <a:cubicBezTo>
                          <a:pt x="47271" y="0"/>
                          <a:pt x="50073" y="2803"/>
                          <a:pt x="50073" y="6259"/>
                        </a:cubicBezTo>
                        <a:cubicBezTo>
                          <a:pt x="50073" y="9715"/>
                          <a:pt x="47271" y="12518"/>
                          <a:pt x="43814" y="12518"/>
                        </a:cubicBezTo>
                        <a:close/>
                      </a:path>
                    </a:pathLst>
                  </a:custGeom>
                  <a:grpFill/>
                  <a:ln w="1232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75" name="Freeform: Shape 236">
                    <a:extLst>
                      <a:ext uri="{FF2B5EF4-FFF2-40B4-BE49-F238E27FC236}">
                        <a16:creationId xmlns:a16="http://schemas.microsoft.com/office/drawing/2014/main" id="{EED4B55E-C10D-1421-D9E8-91579EC5AD02}"/>
                      </a:ext>
                    </a:extLst>
                  </p:cNvPr>
                  <p:cNvSpPr/>
                  <p:nvPr/>
                </p:nvSpPr>
                <p:spPr>
                  <a:xfrm>
                    <a:off x="6111523" y="3302805"/>
                    <a:ext cx="112665" cy="12518"/>
                  </a:xfrm>
                  <a:custGeom>
                    <a:avLst/>
                    <a:gdLst>
                      <a:gd name="connsiteX0" fmla="*/ 115919 w 112664"/>
                      <a:gd name="connsiteY0" fmla="*/ 12518 h 12518"/>
                      <a:gd name="connsiteX1" fmla="*/ 6259 w 112664"/>
                      <a:gd name="connsiteY1" fmla="*/ 12518 h 12518"/>
                      <a:gd name="connsiteX2" fmla="*/ 0 w 112664"/>
                      <a:gd name="connsiteY2" fmla="*/ 6259 h 12518"/>
                      <a:gd name="connsiteX3" fmla="*/ 6259 w 112664"/>
                      <a:gd name="connsiteY3" fmla="*/ 0 h 12518"/>
                      <a:gd name="connsiteX4" fmla="*/ 115919 w 112664"/>
                      <a:gd name="connsiteY4" fmla="*/ 0 h 12518"/>
                      <a:gd name="connsiteX5" fmla="*/ 122179 w 112664"/>
                      <a:gd name="connsiteY5" fmla="*/ 6259 h 12518"/>
                      <a:gd name="connsiteX6" fmla="*/ 115919 w 112664"/>
                      <a:gd name="connsiteY6" fmla="*/ 12518 h 125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12664" h="12518">
                        <a:moveTo>
                          <a:pt x="115919" y="12518"/>
                        </a:moveTo>
                        <a:lnTo>
                          <a:pt x="6259" y="12518"/>
                        </a:lnTo>
                        <a:cubicBezTo>
                          <a:pt x="2803" y="12518"/>
                          <a:pt x="0" y="9715"/>
                          <a:pt x="0" y="6259"/>
                        </a:cubicBezTo>
                        <a:cubicBezTo>
                          <a:pt x="0" y="2803"/>
                          <a:pt x="2803" y="0"/>
                          <a:pt x="6259" y="0"/>
                        </a:cubicBezTo>
                        <a:lnTo>
                          <a:pt x="115919" y="0"/>
                        </a:lnTo>
                        <a:cubicBezTo>
                          <a:pt x="119376" y="0"/>
                          <a:pt x="122179" y="2803"/>
                          <a:pt x="122179" y="6259"/>
                        </a:cubicBezTo>
                        <a:cubicBezTo>
                          <a:pt x="122179" y="9715"/>
                          <a:pt x="119376" y="12518"/>
                          <a:pt x="115919" y="12518"/>
                        </a:cubicBezTo>
                        <a:close/>
                      </a:path>
                    </a:pathLst>
                  </a:custGeom>
                  <a:grpFill/>
                  <a:ln w="1232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76" name="Freeform: Shape 237">
                    <a:extLst>
                      <a:ext uri="{FF2B5EF4-FFF2-40B4-BE49-F238E27FC236}">
                        <a16:creationId xmlns:a16="http://schemas.microsoft.com/office/drawing/2014/main" id="{1675DB2C-7EEF-B5FC-712C-65B704772957}"/>
                      </a:ext>
                    </a:extLst>
                  </p:cNvPr>
                  <p:cNvSpPr/>
                  <p:nvPr/>
                </p:nvSpPr>
                <p:spPr>
                  <a:xfrm>
                    <a:off x="5920744" y="3152586"/>
                    <a:ext cx="350512" cy="87628"/>
                  </a:xfrm>
                  <a:custGeom>
                    <a:avLst/>
                    <a:gdLst>
                      <a:gd name="connsiteX0" fmla="*/ 344253 w 350512"/>
                      <a:gd name="connsiteY0" fmla="*/ 87628 h 87627"/>
                      <a:gd name="connsiteX1" fmla="*/ 6259 w 350512"/>
                      <a:gd name="connsiteY1" fmla="*/ 87628 h 87627"/>
                      <a:gd name="connsiteX2" fmla="*/ 0 w 350512"/>
                      <a:gd name="connsiteY2" fmla="*/ 81369 h 87627"/>
                      <a:gd name="connsiteX3" fmla="*/ 0 w 350512"/>
                      <a:gd name="connsiteY3" fmla="*/ 6259 h 87627"/>
                      <a:gd name="connsiteX4" fmla="*/ 6259 w 350512"/>
                      <a:gd name="connsiteY4" fmla="*/ 0 h 87627"/>
                      <a:gd name="connsiteX5" fmla="*/ 344253 w 350512"/>
                      <a:gd name="connsiteY5" fmla="*/ 0 h 87627"/>
                      <a:gd name="connsiteX6" fmla="*/ 350512 w 350512"/>
                      <a:gd name="connsiteY6" fmla="*/ 6259 h 87627"/>
                      <a:gd name="connsiteX7" fmla="*/ 350512 w 350512"/>
                      <a:gd name="connsiteY7" fmla="*/ 81369 h 87627"/>
                      <a:gd name="connsiteX8" fmla="*/ 344253 w 350512"/>
                      <a:gd name="connsiteY8" fmla="*/ 87628 h 87627"/>
                      <a:gd name="connsiteX9" fmla="*/ 12518 w 350512"/>
                      <a:gd name="connsiteY9" fmla="*/ 75110 h 87627"/>
                      <a:gd name="connsiteX10" fmla="*/ 337994 w 350512"/>
                      <a:gd name="connsiteY10" fmla="*/ 75110 h 87627"/>
                      <a:gd name="connsiteX11" fmla="*/ 337994 w 350512"/>
                      <a:gd name="connsiteY11" fmla="*/ 12518 h 87627"/>
                      <a:gd name="connsiteX12" fmla="*/ 12518 w 350512"/>
                      <a:gd name="connsiteY12" fmla="*/ 12518 h 8762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</a:cxnLst>
                    <a:rect l="l" t="t" r="r" b="b"/>
                    <a:pathLst>
                      <a:path w="350512" h="87627">
                        <a:moveTo>
                          <a:pt x="344253" y="87628"/>
                        </a:moveTo>
                        <a:lnTo>
                          <a:pt x="6259" y="87628"/>
                        </a:lnTo>
                        <a:cubicBezTo>
                          <a:pt x="2802" y="87628"/>
                          <a:pt x="0" y="84826"/>
                          <a:pt x="0" y="81369"/>
                        </a:cubicBezTo>
                        <a:lnTo>
                          <a:pt x="0" y="6259"/>
                        </a:lnTo>
                        <a:cubicBezTo>
                          <a:pt x="0" y="2802"/>
                          <a:pt x="2802" y="0"/>
                          <a:pt x="6259" y="0"/>
                        </a:cubicBezTo>
                        <a:lnTo>
                          <a:pt x="344253" y="0"/>
                        </a:lnTo>
                        <a:cubicBezTo>
                          <a:pt x="347709" y="0"/>
                          <a:pt x="350512" y="2802"/>
                          <a:pt x="350512" y="6259"/>
                        </a:cubicBezTo>
                        <a:lnTo>
                          <a:pt x="350512" y="81369"/>
                        </a:lnTo>
                        <a:cubicBezTo>
                          <a:pt x="350512" y="84826"/>
                          <a:pt x="347709" y="87628"/>
                          <a:pt x="344253" y="87628"/>
                        </a:cubicBezTo>
                        <a:close/>
                        <a:moveTo>
                          <a:pt x="12518" y="75110"/>
                        </a:moveTo>
                        <a:lnTo>
                          <a:pt x="337994" y="75110"/>
                        </a:lnTo>
                        <a:lnTo>
                          <a:pt x="337994" y="12518"/>
                        </a:lnTo>
                        <a:lnTo>
                          <a:pt x="12518" y="12518"/>
                        </a:lnTo>
                        <a:close/>
                      </a:path>
                    </a:pathLst>
                  </a:custGeom>
                  <a:grpFill/>
                  <a:ln w="1232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77" name="Freeform: Shape 238">
                    <a:extLst>
                      <a:ext uri="{FF2B5EF4-FFF2-40B4-BE49-F238E27FC236}">
                        <a16:creationId xmlns:a16="http://schemas.microsoft.com/office/drawing/2014/main" id="{310EE5B7-FE7A-1DE7-BBA8-0F727235AA29}"/>
                      </a:ext>
                    </a:extLst>
                  </p:cNvPr>
                  <p:cNvSpPr/>
                  <p:nvPr/>
                </p:nvSpPr>
                <p:spPr>
                  <a:xfrm>
                    <a:off x="5958299" y="3190141"/>
                    <a:ext cx="50073" cy="12518"/>
                  </a:xfrm>
                  <a:custGeom>
                    <a:avLst/>
                    <a:gdLst>
                      <a:gd name="connsiteX0" fmla="*/ 43814 w 50073"/>
                      <a:gd name="connsiteY0" fmla="*/ 12518 h 12518"/>
                      <a:gd name="connsiteX1" fmla="*/ 6259 w 50073"/>
                      <a:gd name="connsiteY1" fmla="*/ 12518 h 12518"/>
                      <a:gd name="connsiteX2" fmla="*/ 0 w 50073"/>
                      <a:gd name="connsiteY2" fmla="*/ 6259 h 12518"/>
                      <a:gd name="connsiteX3" fmla="*/ 6259 w 50073"/>
                      <a:gd name="connsiteY3" fmla="*/ 0 h 12518"/>
                      <a:gd name="connsiteX4" fmla="*/ 43814 w 50073"/>
                      <a:gd name="connsiteY4" fmla="*/ 0 h 12518"/>
                      <a:gd name="connsiteX5" fmla="*/ 50073 w 50073"/>
                      <a:gd name="connsiteY5" fmla="*/ 6259 h 12518"/>
                      <a:gd name="connsiteX6" fmla="*/ 43814 w 50073"/>
                      <a:gd name="connsiteY6" fmla="*/ 12518 h 125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50073" h="12518">
                        <a:moveTo>
                          <a:pt x="43814" y="12518"/>
                        </a:moveTo>
                        <a:lnTo>
                          <a:pt x="6259" y="12518"/>
                        </a:lnTo>
                        <a:cubicBezTo>
                          <a:pt x="2802" y="12518"/>
                          <a:pt x="0" y="9716"/>
                          <a:pt x="0" y="6259"/>
                        </a:cubicBezTo>
                        <a:cubicBezTo>
                          <a:pt x="0" y="2802"/>
                          <a:pt x="2802" y="0"/>
                          <a:pt x="6259" y="0"/>
                        </a:cubicBezTo>
                        <a:lnTo>
                          <a:pt x="43814" y="0"/>
                        </a:lnTo>
                        <a:cubicBezTo>
                          <a:pt x="47271" y="0"/>
                          <a:pt x="50073" y="2802"/>
                          <a:pt x="50073" y="6259"/>
                        </a:cubicBezTo>
                        <a:cubicBezTo>
                          <a:pt x="50073" y="9716"/>
                          <a:pt x="47271" y="12518"/>
                          <a:pt x="43814" y="12518"/>
                        </a:cubicBezTo>
                        <a:close/>
                      </a:path>
                    </a:pathLst>
                  </a:custGeom>
                  <a:grpFill/>
                  <a:ln w="1232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78" name="Freeform: Shape 239">
                    <a:extLst>
                      <a:ext uri="{FF2B5EF4-FFF2-40B4-BE49-F238E27FC236}">
                        <a16:creationId xmlns:a16="http://schemas.microsoft.com/office/drawing/2014/main" id="{7432CB1F-921C-871F-E8B3-04D0A2AD2DB3}"/>
                      </a:ext>
                    </a:extLst>
                  </p:cNvPr>
                  <p:cNvSpPr/>
                  <p:nvPr/>
                </p:nvSpPr>
                <p:spPr>
                  <a:xfrm>
                    <a:off x="6111523" y="3190141"/>
                    <a:ext cx="112665" cy="12518"/>
                  </a:xfrm>
                  <a:custGeom>
                    <a:avLst/>
                    <a:gdLst>
                      <a:gd name="connsiteX0" fmla="*/ 115919 w 112664"/>
                      <a:gd name="connsiteY0" fmla="*/ 12518 h 12518"/>
                      <a:gd name="connsiteX1" fmla="*/ 6259 w 112664"/>
                      <a:gd name="connsiteY1" fmla="*/ 12518 h 12518"/>
                      <a:gd name="connsiteX2" fmla="*/ 0 w 112664"/>
                      <a:gd name="connsiteY2" fmla="*/ 6259 h 12518"/>
                      <a:gd name="connsiteX3" fmla="*/ 6259 w 112664"/>
                      <a:gd name="connsiteY3" fmla="*/ 0 h 12518"/>
                      <a:gd name="connsiteX4" fmla="*/ 115919 w 112664"/>
                      <a:gd name="connsiteY4" fmla="*/ 0 h 12518"/>
                      <a:gd name="connsiteX5" fmla="*/ 122179 w 112664"/>
                      <a:gd name="connsiteY5" fmla="*/ 6259 h 12518"/>
                      <a:gd name="connsiteX6" fmla="*/ 115919 w 112664"/>
                      <a:gd name="connsiteY6" fmla="*/ 12518 h 125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12664" h="12518">
                        <a:moveTo>
                          <a:pt x="115919" y="12518"/>
                        </a:moveTo>
                        <a:lnTo>
                          <a:pt x="6259" y="12518"/>
                        </a:lnTo>
                        <a:cubicBezTo>
                          <a:pt x="2803" y="12518"/>
                          <a:pt x="0" y="9716"/>
                          <a:pt x="0" y="6259"/>
                        </a:cubicBezTo>
                        <a:cubicBezTo>
                          <a:pt x="0" y="2802"/>
                          <a:pt x="2803" y="0"/>
                          <a:pt x="6259" y="0"/>
                        </a:cubicBezTo>
                        <a:lnTo>
                          <a:pt x="115919" y="0"/>
                        </a:lnTo>
                        <a:cubicBezTo>
                          <a:pt x="119376" y="0"/>
                          <a:pt x="122179" y="2802"/>
                          <a:pt x="122179" y="6259"/>
                        </a:cubicBezTo>
                        <a:cubicBezTo>
                          <a:pt x="122179" y="9716"/>
                          <a:pt x="119376" y="12518"/>
                          <a:pt x="115919" y="12518"/>
                        </a:cubicBezTo>
                        <a:close/>
                      </a:path>
                    </a:pathLst>
                  </a:custGeom>
                  <a:grpFill/>
                  <a:ln w="1232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180" name="Group 179">
                <a:extLst>
                  <a:ext uri="{FF2B5EF4-FFF2-40B4-BE49-F238E27FC236}">
                    <a16:creationId xmlns:a16="http://schemas.microsoft.com/office/drawing/2014/main" id="{C707013D-8972-C5AD-9C46-19CDD6EAC763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6705938" y="2486861"/>
                <a:ext cx="1167636" cy="1167636"/>
                <a:chOff x="8688288" y="2105234"/>
                <a:chExt cx="792088" cy="792088"/>
              </a:xfrm>
            </p:grpSpPr>
            <p:sp>
              <p:nvSpPr>
                <p:cNvPr id="263" name="Oval 262">
                  <a:extLst>
                    <a:ext uri="{FF2B5EF4-FFF2-40B4-BE49-F238E27FC236}">
                      <a16:creationId xmlns:a16="http://schemas.microsoft.com/office/drawing/2014/main" id="{77331ED3-8066-E6D0-BE97-42F51D3B9D88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8688288" y="2105234"/>
                  <a:ext cx="792088" cy="792088"/>
                </a:xfrm>
                <a:prstGeom prst="ellipse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600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Ubuntu"/>
                    <a:ea typeface="+mn-ea"/>
                    <a:cs typeface="+mn-cs"/>
                  </a:endParaRPr>
                </a:p>
              </p:txBody>
            </p:sp>
            <p:grpSp>
              <p:nvGrpSpPr>
                <p:cNvPr id="264" name="Graphic 13">
                  <a:extLst>
                    <a:ext uri="{FF2B5EF4-FFF2-40B4-BE49-F238E27FC236}">
                      <a16:creationId xmlns:a16="http://schemas.microsoft.com/office/drawing/2014/main" id="{B01D0AF5-9C72-F72D-BBEF-FBF9501925B7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8832302" y="2336926"/>
                  <a:ext cx="507998" cy="328705"/>
                  <a:chOff x="5841999" y="3219822"/>
                  <a:chExt cx="507998" cy="328705"/>
                </a:xfrm>
                <a:solidFill>
                  <a:schemeClr val="bg1"/>
                </a:solidFill>
              </p:grpSpPr>
              <p:sp>
                <p:nvSpPr>
                  <p:cNvPr id="265" name="Freeform: Shape 226">
                    <a:extLst>
                      <a:ext uri="{FF2B5EF4-FFF2-40B4-BE49-F238E27FC236}">
                        <a16:creationId xmlns:a16="http://schemas.microsoft.com/office/drawing/2014/main" id="{E80EF6C1-8737-34AB-9475-F58593366A11}"/>
                      </a:ext>
                    </a:extLst>
                  </p:cNvPr>
                  <p:cNvSpPr/>
                  <p:nvPr/>
                </p:nvSpPr>
                <p:spPr>
                  <a:xfrm>
                    <a:off x="5841999" y="3219822"/>
                    <a:ext cx="507998" cy="328705"/>
                  </a:xfrm>
                  <a:custGeom>
                    <a:avLst/>
                    <a:gdLst>
                      <a:gd name="connsiteX0" fmla="*/ 500529 w 507998"/>
                      <a:gd name="connsiteY0" fmla="*/ 268941 h 328705"/>
                      <a:gd name="connsiteX1" fmla="*/ 463176 w 507998"/>
                      <a:gd name="connsiteY1" fmla="*/ 268941 h 328705"/>
                      <a:gd name="connsiteX2" fmla="*/ 463176 w 507998"/>
                      <a:gd name="connsiteY2" fmla="*/ 52294 h 328705"/>
                      <a:gd name="connsiteX3" fmla="*/ 410882 w 507998"/>
                      <a:gd name="connsiteY3" fmla="*/ 0 h 328705"/>
                      <a:gd name="connsiteX4" fmla="*/ 410733 w 507998"/>
                      <a:gd name="connsiteY4" fmla="*/ 0 h 328705"/>
                      <a:gd name="connsiteX5" fmla="*/ 97119 w 507998"/>
                      <a:gd name="connsiteY5" fmla="*/ 0 h 328705"/>
                      <a:gd name="connsiteX6" fmla="*/ 44825 w 507998"/>
                      <a:gd name="connsiteY6" fmla="*/ 52294 h 328705"/>
                      <a:gd name="connsiteX7" fmla="*/ 44825 w 507998"/>
                      <a:gd name="connsiteY7" fmla="*/ 268941 h 328705"/>
                      <a:gd name="connsiteX8" fmla="*/ 7472 w 507998"/>
                      <a:gd name="connsiteY8" fmla="*/ 268941 h 328705"/>
                      <a:gd name="connsiteX9" fmla="*/ 1 w 507998"/>
                      <a:gd name="connsiteY9" fmla="*/ 276707 h 328705"/>
                      <a:gd name="connsiteX10" fmla="*/ 2 w 507998"/>
                      <a:gd name="connsiteY10" fmla="*/ 276710 h 328705"/>
                      <a:gd name="connsiteX11" fmla="*/ 52295 w 507998"/>
                      <a:gd name="connsiteY11" fmla="*/ 328705 h 328705"/>
                      <a:gd name="connsiteX12" fmla="*/ 455706 w 507998"/>
                      <a:gd name="connsiteY12" fmla="*/ 328705 h 328705"/>
                      <a:gd name="connsiteX13" fmla="*/ 508000 w 507998"/>
                      <a:gd name="connsiteY13" fmla="*/ 276411 h 328705"/>
                      <a:gd name="connsiteX14" fmla="*/ 508000 w 507998"/>
                      <a:gd name="connsiteY14" fmla="*/ 276411 h 328705"/>
                      <a:gd name="connsiteX15" fmla="*/ 500529 w 507998"/>
                      <a:gd name="connsiteY15" fmla="*/ 268941 h 328705"/>
                      <a:gd name="connsiteX16" fmla="*/ 59766 w 507998"/>
                      <a:gd name="connsiteY16" fmla="*/ 52294 h 328705"/>
                      <a:gd name="connsiteX17" fmla="*/ 97119 w 507998"/>
                      <a:gd name="connsiteY17" fmla="*/ 14941 h 328705"/>
                      <a:gd name="connsiteX18" fmla="*/ 410882 w 507998"/>
                      <a:gd name="connsiteY18" fmla="*/ 14941 h 328705"/>
                      <a:gd name="connsiteX19" fmla="*/ 448235 w 507998"/>
                      <a:gd name="connsiteY19" fmla="*/ 52294 h 328705"/>
                      <a:gd name="connsiteX20" fmla="*/ 448235 w 507998"/>
                      <a:gd name="connsiteY20" fmla="*/ 268941 h 328705"/>
                      <a:gd name="connsiteX21" fmla="*/ 59766 w 507998"/>
                      <a:gd name="connsiteY21" fmla="*/ 268941 h 328705"/>
                      <a:gd name="connsiteX22" fmla="*/ 455706 w 507998"/>
                      <a:gd name="connsiteY22" fmla="*/ 313764 h 328705"/>
                      <a:gd name="connsiteX23" fmla="*/ 52295 w 507998"/>
                      <a:gd name="connsiteY23" fmla="*/ 313764 h 328705"/>
                      <a:gd name="connsiteX24" fmla="*/ 15690 w 507998"/>
                      <a:gd name="connsiteY24" fmla="*/ 283882 h 328705"/>
                      <a:gd name="connsiteX25" fmla="*/ 493058 w 507998"/>
                      <a:gd name="connsiteY25" fmla="*/ 283882 h 328705"/>
                      <a:gd name="connsiteX26" fmla="*/ 455706 w 507998"/>
                      <a:gd name="connsiteY26" fmla="*/ 313764 h 32870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</a:cxnLst>
                    <a:rect l="l" t="t" r="r" b="b"/>
                    <a:pathLst>
                      <a:path w="507998" h="328705">
                        <a:moveTo>
                          <a:pt x="500529" y="268941"/>
                        </a:moveTo>
                        <a:lnTo>
                          <a:pt x="463176" y="268941"/>
                        </a:lnTo>
                        <a:lnTo>
                          <a:pt x="463176" y="52294"/>
                        </a:lnTo>
                        <a:cubicBezTo>
                          <a:pt x="463176" y="23413"/>
                          <a:pt x="439763" y="0"/>
                          <a:pt x="410882" y="0"/>
                        </a:cubicBezTo>
                        <a:cubicBezTo>
                          <a:pt x="410833" y="0"/>
                          <a:pt x="410782" y="0"/>
                          <a:pt x="410733" y="0"/>
                        </a:cubicBezTo>
                        <a:lnTo>
                          <a:pt x="97119" y="0"/>
                        </a:lnTo>
                        <a:cubicBezTo>
                          <a:pt x="68238" y="0"/>
                          <a:pt x="44825" y="23413"/>
                          <a:pt x="44825" y="52294"/>
                        </a:cubicBezTo>
                        <a:lnTo>
                          <a:pt x="44825" y="268941"/>
                        </a:lnTo>
                        <a:lnTo>
                          <a:pt x="7472" y="268941"/>
                        </a:lnTo>
                        <a:cubicBezTo>
                          <a:pt x="3264" y="269023"/>
                          <a:pt x="-80" y="272500"/>
                          <a:pt x="1" y="276707"/>
                        </a:cubicBezTo>
                        <a:cubicBezTo>
                          <a:pt x="1" y="276709"/>
                          <a:pt x="2" y="276709"/>
                          <a:pt x="2" y="276710"/>
                        </a:cubicBezTo>
                        <a:cubicBezTo>
                          <a:pt x="166" y="305475"/>
                          <a:pt x="23531" y="328705"/>
                          <a:pt x="52295" y="328705"/>
                        </a:cubicBezTo>
                        <a:lnTo>
                          <a:pt x="455706" y="328705"/>
                        </a:lnTo>
                        <a:cubicBezTo>
                          <a:pt x="484587" y="328705"/>
                          <a:pt x="508000" y="305292"/>
                          <a:pt x="508000" y="276411"/>
                        </a:cubicBezTo>
                        <a:lnTo>
                          <a:pt x="508000" y="276411"/>
                        </a:lnTo>
                        <a:cubicBezTo>
                          <a:pt x="508000" y="272286"/>
                          <a:pt x="504654" y="268941"/>
                          <a:pt x="500529" y="268941"/>
                        </a:cubicBezTo>
                        <a:close/>
                        <a:moveTo>
                          <a:pt x="59766" y="52294"/>
                        </a:moveTo>
                        <a:cubicBezTo>
                          <a:pt x="59766" y="31665"/>
                          <a:pt x="76489" y="14941"/>
                          <a:pt x="97119" y="14941"/>
                        </a:cubicBezTo>
                        <a:lnTo>
                          <a:pt x="410882" y="14941"/>
                        </a:lnTo>
                        <a:cubicBezTo>
                          <a:pt x="431511" y="14941"/>
                          <a:pt x="448235" y="31665"/>
                          <a:pt x="448235" y="52294"/>
                        </a:cubicBezTo>
                        <a:lnTo>
                          <a:pt x="448235" y="268941"/>
                        </a:lnTo>
                        <a:lnTo>
                          <a:pt x="59766" y="268941"/>
                        </a:lnTo>
                        <a:close/>
                        <a:moveTo>
                          <a:pt x="455706" y="313764"/>
                        </a:moveTo>
                        <a:lnTo>
                          <a:pt x="52295" y="313764"/>
                        </a:lnTo>
                        <a:cubicBezTo>
                          <a:pt x="34543" y="313767"/>
                          <a:pt x="19240" y="301276"/>
                          <a:pt x="15690" y="283882"/>
                        </a:cubicBezTo>
                        <a:lnTo>
                          <a:pt x="493058" y="283882"/>
                        </a:lnTo>
                        <a:cubicBezTo>
                          <a:pt x="489455" y="301554"/>
                          <a:pt x="473738" y="314127"/>
                          <a:pt x="455706" y="313764"/>
                        </a:cubicBezTo>
                        <a:close/>
                      </a:path>
                    </a:pathLst>
                  </a:custGeom>
                  <a:grpFill/>
                  <a:ln w="1484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6" name="Freeform: Shape 227">
                    <a:extLst>
                      <a:ext uri="{FF2B5EF4-FFF2-40B4-BE49-F238E27FC236}">
                        <a16:creationId xmlns:a16="http://schemas.microsoft.com/office/drawing/2014/main" id="{C97B510A-4BA4-035C-7718-C3E1F7A7D9A5}"/>
                      </a:ext>
                    </a:extLst>
                  </p:cNvPr>
                  <p:cNvSpPr/>
                  <p:nvPr/>
                </p:nvSpPr>
                <p:spPr>
                  <a:xfrm>
                    <a:off x="6021294" y="3276150"/>
                    <a:ext cx="149411" cy="179294"/>
                  </a:xfrm>
                  <a:custGeom>
                    <a:avLst/>
                    <a:gdLst>
                      <a:gd name="connsiteX0" fmla="*/ 141941 w 149411"/>
                      <a:gd name="connsiteY0" fmla="*/ 67086 h 179293"/>
                      <a:gd name="connsiteX1" fmla="*/ 132528 w 149411"/>
                      <a:gd name="connsiteY1" fmla="*/ 67086 h 179293"/>
                      <a:gd name="connsiteX2" fmla="*/ 132528 w 149411"/>
                      <a:gd name="connsiteY2" fmla="*/ 57822 h 179293"/>
                      <a:gd name="connsiteX3" fmla="*/ 74706 w 149411"/>
                      <a:gd name="connsiteY3" fmla="*/ 0 h 179293"/>
                      <a:gd name="connsiteX4" fmla="*/ 16883 w 149411"/>
                      <a:gd name="connsiteY4" fmla="*/ 57822 h 179293"/>
                      <a:gd name="connsiteX5" fmla="*/ 16883 w 149411"/>
                      <a:gd name="connsiteY5" fmla="*/ 67086 h 179293"/>
                      <a:gd name="connsiteX6" fmla="*/ 7471 w 149411"/>
                      <a:gd name="connsiteY6" fmla="*/ 67086 h 179293"/>
                      <a:gd name="connsiteX7" fmla="*/ 0 w 149411"/>
                      <a:gd name="connsiteY7" fmla="*/ 74556 h 179293"/>
                      <a:gd name="connsiteX8" fmla="*/ 0 w 149411"/>
                      <a:gd name="connsiteY8" fmla="*/ 175409 h 179293"/>
                      <a:gd name="connsiteX9" fmla="*/ 7471 w 149411"/>
                      <a:gd name="connsiteY9" fmla="*/ 182880 h 179293"/>
                      <a:gd name="connsiteX10" fmla="*/ 141941 w 149411"/>
                      <a:gd name="connsiteY10" fmla="*/ 182880 h 179293"/>
                      <a:gd name="connsiteX11" fmla="*/ 149411 w 149411"/>
                      <a:gd name="connsiteY11" fmla="*/ 175409 h 179293"/>
                      <a:gd name="connsiteX12" fmla="*/ 149411 w 149411"/>
                      <a:gd name="connsiteY12" fmla="*/ 74556 h 179293"/>
                      <a:gd name="connsiteX13" fmla="*/ 141941 w 149411"/>
                      <a:gd name="connsiteY13" fmla="*/ 67086 h 179293"/>
                      <a:gd name="connsiteX14" fmla="*/ 31825 w 149411"/>
                      <a:gd name="connsiteY14" fmla="*/ 57822 h 179293"/>
                      <a:gd name="connsiteX15" fmla="*/ 74706 w 149411"/>
                      <a:gd name="connsiteY15" fmla="*/ 14941 h 179293"/>
                      <a:gd name="connsiteX16" fmla="*/ 117587 w 149411"/>
                      <a:gd name="connsiteY16" fmla="*/ 57822 h 179293"/>
                      <a:gd name="connsiteX17" fmla="*/ 117587 w 149411"/>
                      <a:gd name="connsiteY17" fmla="*/ 67086 h 179293"/>
                      <a:gd name="connsiteX18" fmla="*/ 31825 w 149411"/>
                      <a:gd name="connsiteY18" fmla="*/ 67086 h 179293"/>
                      <a:gd name="connsiteX19" fmla="*/ 134470 w 149411"/>
                      <a:gd name="connsiteY19" fmla="*/ 167789 h 179293"/>
                      <a:gd name="connsiteX20" fmla="*/ 14941 w 149411"/>
                      <a:gd name="connsiteY20" fmla="*/ 167789 h 179293"/>
                      <a:gd name="connsiteX21" fmla="*/ 14941 w 149411"/>
                      <a:gd name="connsiteY21" fmla="*/ 82027 h 179293"/>
                      <a:gd name="connsiteX22" fmla="*/ 134470 w 149411"/>
                      <a:gd name="connsiteY22" fmla="*/ 82027 h 17929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</a:cxnLst>
                    <a:rect l="l" t="t" r="r" b="b"/>
                    <a:pathLst>
                      <a:path w="149411" h="179293">
                        <a:moveTo>
                          <a:pt x="141941" y="67086"/>
                        </a:moveTo>
                        <a:lnTo>
                          <a:pt x="132528" y="67086"/>
                        </a:lnTo>
                        <a:lnTo>
                          <a:pt x="132528" y="57822"/>
                        </a:lnTo>
                        <a:cubicBezTo>
                          <a:pt x="132528" y="25888"/>
                          <a:pt x="106639" y="0"/>
                          <a:pt x="74706" y="0"/>
                        </a:cubicBezTo>
                        <a:cubicBezTo>
                          <a:pt x="42772" y="0"/>
                          <a:pt x="16883" y="25888"/>
                          <a:pt x="16883" y="57822"/>
                        </a:cubicBezTo>
                        <a:lnTo>
                          <a:pt x="16883" y="67086"/>
                        </a:lnTo>
                        <a:lnTo>
                          <a:pt x="7471" y="67086"/>
                        </a:lnTo>
                        <a:cubicBezTo>
                          <a:pt x="3345" y="67086"/>
                          <a:pt x="0" y="70430"/>
                          <a:pt x="0" y="74556"/>
                        </a:cubicBezTo>
                        <a:lnTo>
                          <a:pt x="0" y="175409"/>
                        </a:lnTo>
                        <a:cubicBezTo>
                          <a:pt x="0" y="179534"/>
                          <a:pt x="3345" y="182880"/>
                          <a:pt x="7471" y="182880"/>
                        </a:cubicBezTo>
                        <a:lnTo>
                          <a:pt x="141941" y="182880"/>
                        </a:lnTo>
                        <a:cubicBezTo>
                          <a:pt x="146066" y="182880"/>
                          <a:pt x="149411" y="179534"/>
                          <a:pt x="149411" y="175409"/>
                        </a:cubicBezTo>
                        <a:lnTo>
                          <a:pt x="149411" y="74556"/>
                        </a:lnTo>
                        <a:cubicBezTo>
                          <a:pt x="149332" y="70464"/>
                          <a:pt x="146033" y="67165"/>
                          <a:pt x="141941" y="67086"/>
                        </a:cubicBezTo>
                        <a:close/>
                        <a:moveTo>
                          <a:pt x="31825" y="57822"/>
                        </a:moveTo>
                        <a:cubicBezTo>
                          <a:pt x="31825" y="34140"/>
                          <a:pt x="51022" y="14941"/>
                          <a:pt x="74706" y="14941"/>
                        </a:cubicBezTo>
                        <a:cubicBezTo>
                          <a:pt x="98389" y="14941"/>
                          <a:pt x="117587" y="34140"/>
                          <a:pt x="117587" y="57822"/>
                        </a:cubicBezTo>
                        <a:lnTo>
                          <a:pt x="117587" y="67086"/>
                        </a:lnTo>
                        <a:lnTo>
                          <a:pt x="31825" y="67086"/>
                        </a:lnTo>
                        <a:close/>
                        <a:moveTo>
                          <a:pt x="134470" y="167789"/>
                        </a:moveTo>
                        <a:lnTo>
                          <a:pt x="14941" y="167789"/>
                        </a:lnTo>
                        <a:lnTo>
                          <a:pt x="14941" y="82027"/>
                        </a:lnTo>
                        <a:lnTo>
                          <a:pt x="134470" y="82027"/>
                        </a:lnTo>
                        <a:close/>
                      </a:path>
                    </a:pathLst>
                  </a:custGeom>
                  <a:grpFill/>
                  <a:ln w="1484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7" name="Freeform: Shape 228">
                    <a:extLst>
                      <a:ext uri="{FF2B5EF4-FFF2-40B4-BE49-F238E27FC236}">
                        <a16:creationId xmlns:a16="http://schemas.microsoft.com/office/drawing/2014/main" id="{AC11B83F-B119-AA51-AA87-A7CA8F6D37B3}"/>
                      </a:ext>
                    </a:extLst>
                  </p:cNvPr>
                  <p:cNvSpPr/>
                  <p:nvPr/>
                </p:nvSpPr>
                <p:spPr>
                  <a:xfrm>
                    <a:off x="6079003" y="3383224"/>
                    <a:ext cx="29882" cy="44823"/>
                  </a:xfrm>
                  <a:custGeom>
                    <a:avLst/>
                    <a:gdLst>
                      <a:gd name="connsiteX0" fmla="*/ 33731 w 29882"/>
                      <a:gd name="connsiteY0" fmla="*/ 17984 h 44823"/>
                      <a:gd name="connsiteX1" fmla="*/ 17983 w 29882"/>
                      <a:gd name="connsiteY1" fmla="*/ 37 h 44823"/>
                      <a:gd name="connsiteX2" fmla="*/ 36 w 29882"/>
                      <a:gd name="connsiteY2" fmla="*/ 15783 h 44823"/>
                      <a:gd name="connsiteX3" fmla="*/ 11619 w 29882"/>
                      <a:gd name="connsiteY3" fmla="*/ 32925 h 44823"/>
                      <a:gd name="connsiteX4" fmla="*/ 11619 w 29882"/>
                      <a:gd name="connsiteY4" fmla="*/ 50854 h 44823"/>
                      <a:gd name="connsiteX5" fmla="*/ 22376 w 29882"/>
                      <a:gd name="connsiteY5" fmla="*/ 50854 h 44823"/>
                      <a:gd name="connsiteX6" fmla="*/ 22376 w 29882"/>
                      <a:gd name="connsiteY6" fmla="*/ 32925 h 44823"/>
                      <a:gd name="connsiteX7" fmla="*/ 33731 w 29882"/>
                      <a:gd name="connsiteY7" fmla="*/ 17984 h 4482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29882" h="44823">
                        <a:moveTo>
                          <a:pt x="33731" y="17984"/>
                        </a:moveTo>
                        <a:cubicBezTo>
                          <a:pt x="34339" y="8679"/>
                          <a:pt x="27289" y="643"/>
                          <a:pt x="17983" y="37"/>
                        </a:cubicBezTo>
                        <a:cubicBezTo>
                          <a:pt x="8680" y="-572"/>
                          <a:pt x="644" y="6479"/>
                          <a:pt x="36" y="15783"/>
                        </a:cubicBezTo>
                        <a:cubicBezTo>
                          <a:pt x="-466" y="23470"/>
                          <a:pt x="4299" y="30522"/>
                          <a:pt x="11619" y="32925"/>
                        </a:cubicBezTo>
                        <a:lnTo>
                          <a:pt x="11619" y="50854"/>
                        </a:lnTo>
                        <a:lnTo>
                          <a:pt x="22376" y="50854"/>
                        </a:lnTo>
                        <a:lnTo>
                          <a:pt x="22376" y="32925"/>
                        </a:lnTo>
                        <a:cubicBezTo>
                          <a:pt x="28886" y="30770"/>
                          <a:pt x="33400" y="24833"/>
                          <a:pt x="33731" y="17984"/>
                        </a:cubicBezTo>
                        <a:close/>
                      </a:path>
                    </a:pathLst>
                  </a:custGeom>
                  <a:grpFill/>
                  <a:ln w="1484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181" name="Group 180">
                <a:extLst>
                  <a:ext uri="{FF2B5EF4-FFF2-40B4-BE49-F238E27FC236}">
                    <a16:creationId xmlns:a16="http://schemas.microsoft.com/office/drawing/2014/main" id="{7A7D8273-A173-F2B3-44CE-656DA096E699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4786044" y="3211115"/>
                <a:ext cx="743042" cy="743042"/>
                <a:chOff x="7322496" y="2105234"/>
                <a:chExt cx="792088" cy="792088"/>
              </a:xfrm>
            </p:grpSpPr>
            <p:sp>
              <p:nvSpPr>
                <p:cNvPr id="258" name="Oval 257">
                  <a:extLst>
                    <a:ext uri="{FF2B5EF4-FFF2-40B4-BE49-F238E27FC236}">
                      <a16:creationId xmlns:a16="http://schemas.microsoft.com/office/drawing/2014/main" id="{993EC435-FA0F-1503-2BD3-F75626E438F8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322496" y="2105234"/>
                  <a:ext cx="792088" cy="792088"/>
                </a:xfrm>
                <a:prstGeom prst="ellipse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600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Ubuntu"/>
                    <a:ea typeface="+mn-ea"/>
                    <a:cs typeface="+mn-cs"/>
                  </a:endParaRPr>
                </a:p>
              </p:txBody>
            </p:sp>
            <p:grpSp>
              <p:nvGrpSpPr>
                <p:cNvPr id="259" name="Graphic 4">
                  <a:extLst>
                    <a:ext uri="{FF2B5EF4-FFF2-40B4-BE49-F238E27FC236}">
                      <a16:creationId xmlns:a16="http://schemas.microsoft.com/office/drawing/2014/main" id="{B01B24B7-AC08-BBB0-E6C3-25DF229993D4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7592327" y="2280405"/>
                  <a:ext cx="252426" cy="441746"/>
                  <a:chOff x="5963664" y="3152586"/>
                  <a:chExt cx="264672" cy="463176"/>
                </a:xfrm>
                <a:solidFill>
                  <a:schemeClr val="bg1"/>
                </a:solidFill>
              </p:grpSpPr>
              <p:sp>
                <p:nvSpPr>
                  <p:cNvPr id="260" name="Freeform: Shape 221">
                    <a:extLst>
                      <a:ext uri="{FF2B5EF4-FFF2-40B4-BE49-F238E27FC236}">
                        <a16:creationId xmlns:a16="http://schemas.microsoft.com/office/drawing/2014/main" id="{F79EA65C-F86F-EEDE-CE70-D3C05B71C879}"/>
                      </a:ext>
                    </a:extLst>
                  </p:cNvPr>
                  <p:cNvSpPr/>
                  <p:nvPr/>
                </p:nvSpPr>
                <p:spPr>
                  <a:xfrm>
                    <a:off x="5963664" y="3152586"/>
                    <a:ext cx="264672" cy="463176"/>
                  </a:xfrm>
                  <a:custGeom>
                    <a:avLst/>
                    <a:gdLst>
                      <a:gd name="connsiteX0" fmla="*/ 206775 w 264672"/>
                      <a:gd name="connsiteY0" fmla="*/ 463176 h 463176"/>
                      <a:gd name="connsiteX1" fmla="*/ 57897 w 264672"/>
                      <a:gd name="connsiteY1" fmla="*/ 463176 h 463176"/>
                      <a:gd name="connsiteX2" fmla="*/ 0 w 264672"/>
                      <a:gd name="connsiteY2" fmla="*/ 405279 h 463176"/>
                      <a:gd name="connsiteX3" fmla="*/ 0 w 264672"/>
                      <a:gd name="connsiteY3" fmla="*/ 57897 h 463176"/>
                      <a:gd name="connsiteX4" fmla="*/ 57897 w 264672"/>
                      <a:gd name="connsiteY4" fmla="*/ 0 h 463176"/>
                      <a:gd name="connsiteX5" fmla="*/ 206775 w 264672"/>
                      <a:gd name="connsiteY5" fmla="*/ 0 h 463176"/>
                      <a:gd name="connsiteX6" fmla="*/ 264672 w 264672"/>
                      <a:gd name="connsiteY6" fmla="*/ 57897 h 463176"/>
                      <a:gd name="connsiteX7" fmla="*/ 264672 w 264672"/>
                      <a:gd name="connsiteY7" fmla="*/ 405279 h 463176"/>
                      <a:gd name="connsiteX8" fmla="*/ 206775 w 264672"/>
                      <a:gd name="connsiteY8" fmla="*/ 463176 h 463176"/>
                      <a:gd name="connsiteX9" fmla="*/ 57897 w 264672"/>
                      <a:gd name="connsiteY9" fmla="*/ 16542 h 463176"/>
                      <a:gd name="connsiteX10" fmla="*/ 16542 w 264672"/>
                      <a:gd name="connsiteY10" fmla="*/ 57897 h 463176"/>
                      <a:gd name="connsiteX11" fmla="*/ 16542 w 264672"/>
                      <a:gd name="connsiteY11" fmla="*/ 405279 h 463176"/>
                      <a:gd name="connsiteX12" fmla="*/ 57897 w 264672"/>
                      <a:gd name="connsiteY12" fmla="*/ 446634 h 463176"/>
                      <a:gd name="connsiteX13" fmla="*/ 206775 w 264672"/>
                      <a:gd name="connsiteY13" fmla="*/ 446634 h 463176"/>
                      <a:gd name="connsiteX14" fmla="*/ 248130 w 264672"/>
                      <a:gd name="connsiteY14" fmla="*/ 405279 h 463176"/>
                      <a:gd name="connsiteX15" fmla="*/ 248130 w 264672"/>
                      <a:gd name="connsiteY15" fmla="*/ 57897 h 463176"/>
                      <a:gd name="connsiteX16" fmla="*/ 206775 w 264672"/>
                      <a:gd name="connsiteY16" fmla="*/ 16542 h 46317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</a:cxnLst>
                    <a:rect l="l" t="t" r="r" b="b"/>
                    <a:pathLst>
                      <a:path w="264672" h="463176">
                        <a:moveTo>
                          <a:pt x="206775" y="463176"/>
                        </a:moveTo>
                        <a:lnTo>
                          <a:pt x="57897" y="463176"/>
                        </a:lnTo>
                        <a:cubicBezTo>
                          <a:pt x="25921" y="463176"/>
                          <a:pt x="0" y="437255"/>
                          <a:pt x="0" y="405279"/>
                        </a:cubicBezTo>
                        <a:lnTo>
                          <a:pt x="0" y="57897"/>
                        </a:lnTo>
                        <a:cubicBezTo>
                          <a:pt x="0" y="25921"/>
                          <a:pt x="25921" y="0"/>
                          <a:pt x="57897" y="0"/>
                        </a:cubicBezTo>
                        <a:lnTo>
                          <a:pt x="206775" y="0"/>
                        </a:lnTo>
                        <a:cubicBezTo>
                          <a:pt x="238751" y="0"/>
                          <a:pt x="264672" y="25921"/>
                          <a:pt x="264672" y="57897"/>
                        </a:cubicBezTo>
                        <a:lnTo>
                          <a:pt x="264672" y="405279"/>
                        </a:lnTo>
                        <a:cubicBezTo>
                          <a:pt x="264672" y="437255"/>
                          <a:pt x="238751" y="463176"/>
                          <a:pt x="206775" y="463176"/>
                        </a:cubicBezTo>
                        <a:close/>
                        <a:moveTo>
                          <a:pt x="57897" y="16542"/>
                        </a:moveTo>
                        <a:cubicBezTo>
                          <a:pt x="35057" y="16542"/>
                          <a:pt x="16542" y="35057"/>
                          <a:pt x="16542" y="57897"/>
                        </a:cubicBezTo>
                        <a:lnTo>
                          <a:pt x="16542" y="405279"/>
                        </a:lnTo>
                        <a:cubicBezTo>
                          <a:pt x="16542" y="428119"/>
                          <a:pt x="35057" y="446634"/>
                          <a:pt x="57897" y="446634"/>
                        </a:cubicBezTo>
                        <a:lnTo>
                          <a:pt x="206775" y="446634"/>
                        </a:lnTo>
                        <a:cubicBezTo>
                          <a:pt x="229615" y="446634"/>
                          <a:pt x="248130" y="428119"/>
                          <a:pt x="248130" y="405279"/>
                        </a:cubicBezTo>
                        <a:lnTo>
                          <a:pt x="248130" y="57897"/>
                        </a:lnTo>
                        <a:cubicBezTo>
                          <a:pt x="248130" y="35057"/>
                          <a:pt x="229615" y="16542"/>
                          <a:pt x="206775" y="16542"/>
                        </a:cubicBezTo>
                        <a:close/>
                      </a:path>
                    </a:pathLst>
                  </a:custGeom>
                  <a:grpFill/>
                  <a:ln w="1607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1" name="Freeform: Shape 222">
                    <a:extLst>
                      <a:ext uri="{FF2B5EF4-FFF2-40B4-BE49-F238E27FC236}">
                        <a16:creationId xmlns:a16="http://schemas.microsoft.com/office/drawing/2014/main" id="{23692D5F-CFDE-4A33-18D6-3A7659FF32EB}"/>
                      </a:ext>
                    </a:extLst>
                  </p:cNvPr>
                  <p:cNvSpPr/>
                  <p:nvPr/>
                </p:nvSpPr>
                <p:spPr>
                  <a:xfrm>
                    <a:off x="6062916" y="3182031"/>
                    <a:ext cx="66168" cy="16542"/>
                  </a:xfrm>
                  <a:custGeom>
                    <a:avLst/>
                    <a:gdLst>
                      <a:gd name="connsiteX0" fmla="*/ 57897 w 66168"/>
                      <a:gd name="connsiteY0" fmla="*/ 16542 h 16542"/>
                      <a:gd name="connsiteX1" fmla="*/ 8271 w 66168"/>
                      <a:gd name="connsiteY1" fmla="*/ 16542 h 16542"/>
                      <a:gd name="connsiteX2" fmla="*/ 0 w 66168"/>
                      <a:gd name="connsiteY2" fmla="*/ 8271 h 16542"/>
                      <a:gd name="connsiteX3" fmla="*/ 8271 w 66168"/>
                      <a:gd name="connsiteY3" fmla="*/ 0 h 16542"/>
                      <a:gd name="connsiteX4" fmla="*/ 57897 w 66168"/>
                      <a:gd name="connsiteY4" fmla="*/ 0 h 16542"/>
                      <a:gd name="connsiteX5" fmla="*/ 66168 w 66168"/>
                      <a:gd name="connsiteY5" fmla="*/ 8271 h 16542"/>
                      <a:gd name="connsiteX6" fmla="*/ 57897 w 66168"/>
                      <a:gd name="connsiteY6" fmla="*/ 16542 h 1654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66168" h="16542">
                        <a:moveTo>
                          <a:pt x="57897" y="16542"/>
                        </a:moveTo>
                        <a:lnTo>
                          <a:pt x="8271" y="16542"/>
                        </a:lnTo>
                        <a:cubicBezTo>
                          <a:pt x="3703" y="16542"/>
                          <a:pt x="0" y="12839"/>
                          <a:pt x="0" y="8271"/>
                        </a:cubicBezTo>
                        <a:cubicBezTo>
                          <a:pt x="0" y="3703"/>
                          <a:pt x="3703" y="0"/>
                          <a:pt x="8271" y="0"/>
                        </a:cubicBezTo>
                        <a:lnTo>
                          <a:pt x="57897" y="0"/>
                        </a:lnTo>
                        <a:cubicBezTo>
                          <a:pt x="62465" y="0"/>
                          <a:pt x="66168" y="3703"/>
                          <a:pt x="66168" y="8271"/>
                        </a:cubicBezTo>
                        <a:cubicBezTo>
                          <a:pt x="66168" y="12839"/>
                          <a:pt x="62465" y="16542"/>
                          <a:pt x="57897" y="16542"/>
                        </a:cubicBezTo>
                        <a:close/>
                      </a:path>
                    </a:pathLst>
                  </a:custGeom>
                  <a:grpFill/>
                  <a:ln w="1607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2" name="Freeform: Shape 223">
                    <a:extLst>
                      <a:ext uri="{FF2B5EF4-FFF2-40B4-BE49-F238E27FC236}">
                        <a16:creationId xmlns:a16="http://schemas.microsoft.com/office/drawing/2014/main" id="{1FFADE27-8AB2-37F4-C646-85CB0FB22357}"/>
                      </a:ext>
                    </a:extLst>
                  </p:cNvPr>
                  <p:cNvSpPr/>
                  <p:nvPr/>
                </p:nvSpPr>
                <p:spPr>
                  <a:xfrm>
                    <a:off x="6071187" y="3533052"/>
                    <a:ext cx="49626" cy="49626"/>
                  </a:xfrm>
                  <a:custGeom>
                    <a:avLst/>
                    <a:gdLst>
                      <a:gd name="connsiteX0" fmla="*/ 49626 w 49626"/>
                      <a:gd name="connsiteY0" fmla="*/ 24813 h 49626"/>
                      <a:gd name="connsiteX1" fmla="*/ 24813 w 49626"/>
                      <a:gd name="connsiteY1" fmla="*/ 49626 h 49626"/>
                      <a:gd name="connsiteX2" fmla="*/ 0 w 49626"/>
                      <a:gd name="connsiteY2" fmla="*/ 24813 h 49626"/>
                      <a:gd name="connsiteX3" fmla="*/ 24813 w 49626"/>
                      <a:gd name="connsiteY3" fmla="*/ 0 h 49626"/>
                      <a:gd name="connsiteX4" fmla="*/ 49626 w 49626"/>
                      <a:gd name="connsiteY4" fmla="*/ 24813 h 4962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9626" h="49626">
                        <a:moveTo>
                          <a:pt x="49626" y="24813"/>
                        </a:moveTo>
                        <a:cubicBezTo>
                          <a:pt x="49626" y="38517"/>
                          <a:pt x="38517" y="49626"/>
                          <a:pt x="24813" y="49626"/>
                        </a:cubicBezTo>
                        <a:cubicBezTo>
                          <a:pt x="11109" y="49626"/>
                          <a:pt x="0" y="38517"/>
                          <a:pt x="0" y="24813"/>
                        </a:cubicBezTo>
                        <a:cubicBezTo>
                          <a:pt x="0" y="11109"/>
                          <a:pt x="11109" y="0"/>
                          <a:pt x="24813" y="0"/>
                        </a:cubicBezTo>
                        <a:cubicBezTo>
                          <a:pt x="38517" y="0"/>
                          <a:pt x="49626" y="11109"/>
                          <a:pt x="49626" y="24813"/>
                        </a:cubicBezTo>
                        <a:close/>
                      </a:path>
                    </a:pathLst>
                  </a:custGeom>
                  <a:grpFill/>
                  <a:ln w="1607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182" name="Group 181">
                <a:extLst>
                  <a:ext uri="{FF2B5EF4-FFF2-40B4-BE49-F238E27FC236}">
                    <a16:creationId xmlns:a16="http://schemas.microsoft.com/office/drawing/2014/main" id="{4EB50F0C-D8D7-6088-E4CF-B925E2017812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4786044" y="539491"/>
                <a:ext cx="1061486" cy="1061486"/>
                <a:chOff x="3935760" y="1733455"/>
                <a:chExt cx="720080" cy="720080"/>
              </a:xfrm>
            </p:grpSpPr>
            <p:sp>
              <p:nvSpPr>
                <p:cNvPr id="253" name="Oval 252">
                  <a:extLst>
                    <a:ext uri="{FF2B5EF4-FFF2-40B4-BE49-F238E27FC236}">
                      <a16:creationId xmlns:a16="http://schemas.microsoft.com/office/drawing/2014/main" id="{3DE77DC0-B619-9C57-8DA0-DA8BAD572A86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3935760" y="1733455"/>
                  <a:ext cx="720080" cy="720080"/>
                </a:xfrm>
                <a:prstGeom prst="ellipse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600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Ubuntu"/>
                    <a:ea typeface="+mn-ea"/>
                    <a:cs typeface="+mn-cs"/>
                  </a:endParaRPr>
                </a:p>
              </p:txBody>
            </p:sp>
            <p:grpSp>
              <p:nvGrpSpPr>
                <p:cNvPr id="254" name="Graphic 2">
                  <a:extLst>
                    <a:ext uri="{FF2B5EF4-FFF2-40B4-BE49-F238E27FC236}">
                      <a16:creationId xmlns:a16="http://schemas.microsoft.com/office/drawing/2014/main" id="{F2372CDC-5198-81B6-2FF1-4318128CD3D6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4047090" y="1866766"/>
                  <a:ext cx="489666" cy="433573"/>
                  <a:chOff x="5841920" y="3152602"/>
                  <a:chExt cx="500154" cy="442865"/>
                </a:xfrm>
                <a:solidFill>
                  <a:schemeClr val="bg1"/>
                </a:solidFill>
              </p:grpSpPr>
              <p:sp>
                <p:nvSpPr>
                  <p:cNvPr id="255" name="Freeform: Shape 216">
                    <a:extLst>
                      <a:ext uri="{FF2B5EF4-FFF2-40B4-BE49-F238E27FC236}">
                        <a16:creationId xmlns:a16="http://schemas.microsoft.com/office/drawing/2014/main" id="{2E785F3E-027E-68ED-86BA-1D0DC85ECFA5}"/>
                      </a:ext>
                    </a:extLst>
                  </p:cNvPr>
                  <p:cNvSpPr/>
                  <p:nvPr/>
                </p:nvSpPr>
                <p:spPr>
                  <a:xfrm>
                    <a:off x="6075510" y="3152602"/>
                    <a:ext cx="89647" cy="89647"/>
                  </a:xfrm>
                  <a:custGeom>
                    <a:avLst/>
                    <a:gdLst>
                      <a:gd name="connsiteX0" fmla="*/ 20490 w 89646"/>
                      <a:gd name="connsiteY0" fmla="*/ 84851 h 89646"/>
                      <a:gd name="connsiteX1" fmla="*/ 85062 w 89646"/>
                      <a:gd name="connsiteY1" fmla="*/ 72656 h 89646"/>
                      <a:gd name="connsiteX2" fmla="*/ 72869 w 89646"/>
                      <a:gd name="connsiteY2" fmla="*/ 8084 h 89646"/>
                      <a:gd name="connsiteX3" fmla="*/ 37672 w 89646"/>
                      <a:gd name="connsiteY3" fmla="*/ 882 h 89646"/>
                      <a:gd name="connsiteX4" fmla="*/ 7790 w 89646"/>
                      <a:gd name="connsiteY4" fmla="*/ 20454 h 89646"/>
                      <a:gd name="connsiteX5" fmla="*/ 20490 w 89646"/>
                      <a:gd name="connsiteY5" fmla="*/ 84851 h 89646"/>
                      <a:gd name="connsiteX6" fmla="*/ 20490 w 89646"/>
                      <a:gd name="connsiteY6" fmla="*/ 28821 h 89646"/>
                      <a:gd name="connsiteX7" fmla="*/ 40511 w 89646"/>
                      <a:gd name="connsiteY7" fmla="*/ 14926 h 89646"/>
                      <a:gd name="connsiteX8" fmla="*/ 46488 w 89646"/>
                      <a:gd name="connsiteY8" fmla="*/ 14926 h 89646"/>
                      <a:gd name="connsiteX9" fmla="*/ 63969 w 89646"/>
                      <a:gd name="connsiteY9" fmla="*/ 20305 h 89646"/>
                      <a:gd name="connsiteX10" fmla="*/ 77266 w 89646"/>
                      <a:gd name="connsiteY10" fmla="*/ 40476 h 89646"/>
                      <a:gd name="connsiteX11" fmla="*/ 52413 w 89646"/>
                      <a:gd name="connsiteY11" fmla="*/ 77236 h 89646"/>
                      <a:gd name="connsiteX12" fmla="*/ 15654 w 89646"/>
                      <a:gd name="connsiteY12" fmla="*/ 52383 h 89646"/>
                      <a:gd name="connsiteX13" fmla="*/ 20490 w 89646"/>
                      <a:gd name="connsiteY13" fmla="*/ 28821 h 89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89646" h="89646">
                        <a:moveTo>
                          <a:pt x="20490" y="84851"/>
                        </a:moveTo>
                        <a:cubicBezTo>
                          <a:pt x="41688" y="99315"/>
                          <a:pt x="70599" y="93855"/>
                          <a:pt x="85062" y="72656"/>
                        </a:cubicBezTo>
                        <a:cubicBezTo>
                          <a:pt x="99527" y="51458"/>
                          <a:pt x="94067" y="22547"/>
                          <a:pt x="72869" y="8084"/>
                        </a:cubicBezTo>
                        <a:cubicBezTo>
                          <a:pt x="62576" y="1061"/>
                          <a:pt x="49896" y="-1534"/>
                          <a:pt x="37672" y="882"/>
                        </a:cubicBezTo>
                        <a:cubicBezTo>
                          <a:pt x="25470" y="3084"/>
                          <a:pt x="14684" y="10148"/>
                          <a:pt x="7790" y="20454"/>
                        </a:cubicBezTo>
                        <a:cubicBezTo>
                          <a:pt x="-6367" y="41768"/>
                          <a:pt x="-698" y="70508"/>
                          <a:pt x="20490" y="84851"/>
                        </a:cubicBezTo>
                        <a:close/>
                        <a:moveTo>
                          <a:pt x="20490" y="28821"/>
                        </a:moveTo>
                        <a:cubicBezTo>
                          <a:pt x="24968" y="21632"/>
                          <a:pt x="32210" y="16606"/>
                          <a:pt x="40511" y="14926"/>
                        </a:cubicBezTo>
                        <a:cubicBezTo>
                          <a:pt x="42497" y="14705"/>
                          <a:pt x="44502" y="14705"/>
                          <a:pt x="46488" y="14926"/>
                        </a:cubicBezTo>
                        <a:cubicBezTo>
                          <a:pt x="52733" y="14848"/>
                          <a:pt x="58847" y="16729"/>
                          <a:pt x="63969" y="20305"/>
                        </a:cubicBezTo>
                        <a:cubicBezTo>
                          <a:pt x="70940" y="24960"/>
                          <a:pt x="75735" y="32234"/>
                          <a:pt x="77266" y="40476"/>
                        </a:cubicBezTo>
                        <a:cubicBezTo>
                          <a:pt x="80555" y="57489"/>
                          <a:pt x="69428" y="73947"/>
                          <a:pt x="52413" y="77236"/>
                        </a:cubicBezTo>
                        <a:cubicBezTo>
                          <a:pt x="35400" y="80524"/>
                          <a:pt x="18942" y="69397"/>
                          <a:pt x="15654" y="52383"/>
                        </a:cubicBezTo>
                        <a:cubicBezTo>
                          <a:pt x="14071" y="44199"/>
                          <a:pt x="15812" y="35721"/>
                          <a:pt x="20490" y="28821"/>
                        </a:cubicBezTo>
                        <a:close/>
                      </a:path>
                    </a:pathLst>
                  </a:custGeom>
                  <a:grpFill/>
                  <a:ln w="1484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6" name="Freeform: Shape 217">
                    <a:extLst>
                      <a:ext uri="{FF2B5EF4-FFF2-40B4-BE49-F238E27FC236}">
                        <a16:creationId xmlns:a16="http://schemas.microsoft.com/office/drawing/2014/main" id="{FC2D6B1F-1F77-952F-AB35-2574D1EDB011}"/>
                      </a:ext>
                    </a:extLst>
                  </p:cNvPr>
                  <p:cNvSpPr/>
                  <p:nvPr/>
                </p:nvSpPr>
                <p:spPr>
                  <a:xfrm>
                    <a:off x="5878899" y="3177115"/>
                    <a:ext cx="463175" cy="418352"/>
                  </a:xfrm>
                  <a:custGeom>
                    <a:avLst/>
                    <a:gdLst>
                      <a:gd name="connsiteX0" fmla="*/ 469905 w 463174"/>
                      <a:gd name="connsiteY0" fmla="*/ 171649 h 418351"/>
                      <a:gd name="connsiteX1" fmla="*/ 442115 w 463174"/>
                      <a:gd name="connsiteY1" fmla="*/ 129515 h 418351"/>
                      <a:gd name="connsiteX2" fmla="*/ 350675 w 463174"/>
                      <a:gd name="connsiteY2" fmla="*/ 147146 h 418351"/>
                      <a:gd name="connsiteX3" fmla="*/ 339917 w 463174"/>
                      <a:gd name="connsiteY3" fmla="*/ 178074 h 418351"/>
                      <a:gd name="connsiteX4" fmla="*/ 288072 w 463174"/>
                      <a:gd name="connsiteY4" fmla="*/ 184648 h 418351"/>
                      <a:gd name="connsiteX5" fmla="*/ 254753 w 463174"/>
                      <a:gd name="connsiteY5" fmla="*/ 132504 h 418351"/>
                      <a:gd name="connsiteX6" fmla="*/ 254753 w 463174"/>
                      <a:gd name="connsiteY6" fmla="*/ 132504 h 418351"/>
                      <a:gd name="connsiteX7" fmla="*/ 152855 w 463174"/>
                      <a:gd name="connsiteY7" fmla="*/ 144606 h 418351"/>
                      <a:gd name="connsiteX8" fmla="*/ 117145 w 463174"/>
                      <a:gd name="connsiteY8" fmla="*/ 111736 h 418351"/>
                      <a:gd name="connsiteX9" fmla="*/ 122375 w 463174"/>
                      <a:gd name="connsiteY9" fmla="*/ 105012 h 418351"/>
                      <a:gd name="connsiteX10" fmla="*/ 105212 w 463174"/>
                      <a:gd name="connsiteY10" fmla="*/ 12993 h 418351"/>
                      <a:gd name="connsiteX11" fmla="*/ 104744 w 463174"/>
                      <a:gd name="connsiteY11" fmla="*/ 12676 h 418351"/>
                      <a:gd name="connsiteX12" fmla="*/ 104744 w 463174"/>
                      <a:gd name="connsiteY12" fmla="*/ 12676 h 418351"/>
                      <a:gd name="connsiteX13" fmla="*/ 12676 w 463174"/>
                      <a:gd name="connsiteY13" fmla="*/ 27046 h 418351"/>
                      <a:gd name="connsiteX14" fmla="*/ 27046 w 463174"/>
                      <a:gd name="connsiteY14" fmla="*/ 119114 h 418351"/>
                      <a:gd name="connsiteX15" fmla="*/ 30935 w 463174"/>
                      <a:gd name="connsiteY15" fmla="*/ 121746 h 418351"/>
                      <a:gd name="connsiteX16" fmla="*/ 67690 w 463174"/>
                      <a:gd name="connsiteY16" fmla="*/ 133101 h 418351"/>
                      <a:gd name="connsiteX17" fmla="*/ 105939 w 463174"/>
                      <a:gd name="connsiteY17" fmla="*/ 120999 h 418351"/>
                      <a:gd name="connsiteX18" fmla="*/ 143741 w 463174"/>
                      <a:gd name="connsiteY18" fmla="*/ 155812 h 418351"/>
                      <a:gd name="connsiteX19" fmla="*/ 166451 w 463174"/>
                      <a:gd name="connsiteY19" fmla="*/ 262342 h 418351"/>
                      <a:gd name="connsiteX20" fmla="*/ 174071 w 463174"/>
                      <a:gd name="connsiteY20" fmla="*/ 266675 h 418351"/>
                      <a:gd name="connsiteX21" fmla="*/ 151958 w 463174"/>
                      <a:gd name="connsiteY21" fmla="*/ 338841 h 418351"/>
                      <a:gd name="connsiteX22" fmla="*/ 105470 w 463174"/>
                      <a:gd name="connsiteY22" fmla="*/ 384988 h 418351"/>
                      <a:gd name="connsiteX23" fmla="*/ 126110 w 463174"/>
                      <a:gd name="connsiteY23" fmla="*/ 423706 h 418351"/>
                      <a:gd name="connsiteX24" fmla="*/ 152108 w 463174"/>
                      <a:gd name="connsiteY24" fmla="*/ 431775 h 418351"/>
                      <a:gd name="connsiteX25" fmla="*/ 160923 w 463174"/>
                      <a:gd name="connsiteY25" fmla="*/ 430878 h 418351"/>
                      <a:gd name="connsiteX26" fmla="*/ 197944 w 463174"/>
                      <a:gd name="connsiteY26" fmla="*/ 376840 h 418351"/>
                      <a:gd name="connsiteX27" fmla="*/ 178254 w 463174"/>
                      <a:gd name="connsiteY27" fmla="*/ 346909 h 418351"/>
                      <a:gd name="connsiteX28" fmla="*/ 178254 w 463174"/>
                      <a:gd name="connsiteY28" fmla="*/ 346909 h 418351"/>
                      <a:gd name="connsiteX29" fmla="*/ 166899 w 463174"/>
                      <a:gd name="connsiteY29" fmla="*/ 341530 h 418351"/>
                      <a:gd name="connsiteX30" fmla="*/ 187966 w 463174"/>
                      <a:gd name="connsiteY30" fmla="*/ 272651 h 418351"/>
                      <a:gd name="connsiteX31" fmla="*/ 210527 w 463174"/>
                      <a:gd name="connsiteY31" fmla="*/ 275939 h 418351"/>
                      <a:gd name="connsiteX32" fmla="*/ 289267 w 463174"/>
                      <a:gd name="connsiteY32" fmla="*/ 198842 h 418351"/>
                      <a:gd name="connsiteX33" fmla="*/ 340216 w 463174"/>
                      <a:gd name="connsiteY33" fmla="*/ 193314 h 418351"/>
                      <a:gd name="connsiteX34" fmla="*/ 414867 w 463174"/>
                      <a:gd name="connsiteY34" fmla="*/ 248732 h 418351"/>
                      <a:gd name="connsiteX35" fmla="*/ 470285 w 463174"/>
                      <a:gd name="connsiteY35" fmla="*/ 174082 h 418351"/>
                      <a:gd name="connsiteX36" fmla="*/ 469905 w 463174"/>
                      <a:gd name="connsiteY36" fmla="*/ 171799 h 418351"/>
                      <a:gd name="connsiteX37" fmla="*/ 178254 w 463174"/>
                      <a:gd name="connsiteY37" fmla="*/ 402789 h 418351"/>
                      <a:gd name="connsiteX38" fmla="*/ 158084 w 463174"/>
                      <a:gd name="connsiteY38" fmla="*/ 416086 h 418351"/>
                      <a:gd name="connsiteX39" fmla="*/ 134626 w 463174"/>
                      <a:gd name="connsiteY39" fmla="*/ 411156 h 418351"/>
                      <a:gd name="connsiteX40" fmla="*/ 126195 w 463174"/>
                      <a:gd name="connsiteY40" fmla="*/ 367590 h 418351"/>
                      <a:gd name="connsiteX41" fmla="*/ 152257 w 463174"/>
                      <a:gd name="connsiteY41" fmla="*/ 353782 h 418351"/>
                      <a:gd name="connsiteX42" fmla="*/ 169887 w 463174"/>
                      <a:gd name="connsiteY42" fmla="*/ 359161 h 418351"/>
                      <a:gd name="connsiteX43" fmla="*/ 178295 w 463174"/>
                      <a:gd name="connsiteY43" fmla="*/ 402730 h 418351"/>
                      <a:gd name="connsiteX44" fmla="*/ 178254 w 463174"/>
                      <a:gd name="connsiteY44" fmla="*/ 402789 h 418351"/>
                      <a:gd name="connsiteX45" fmla="*/ 39302 w 463174"/>
                      <a:gd name="connsiteY45" fmla="*/ 109943 h 418351"/>
                      <a:gd name="connsiteX46" fmla="*/ 17787 w 463174"/>
                      <a:gd name="connsiteY46" fmla="*/ 76923 h 418351"/>
                      <a:gd name="connsiteX47" fmla="*/ 58770 w 463174"/>
                      <a:gd name="connsiteY47" fmla="*/ 17660 h 418351"/>
                      <a:gd name="connsiteX48" fmla="*/ 118033 w 463174"/>
                      <a:gd name="connsiteY48" fmla="*/ 58643 h 418351"/>
                      <a:gd name="connsiteX49" fmla="*/ 77049 w 463174"/>
                      <a:gd name="connsiteY49" fmla="*/ 117906 h 418351"/>
                      <a:gd name="connsiteX50" fmla="*/ 39302 w 463174"/>
                      <a:gd name="connsiteY50" fmla="*/ 109943 h 418351"/>
                      <a:gd name="connsiteX51" fmla="*/ 263419 w 463174"/>
                      <a:gd name="connsiteY51" fmla="*/ 233356 h 418351"/>
                      <a:gd name="connsiteX52" fmla="*/ 174818 w 463174"/>
                      <a:gd name="connsiteY52" fmla="*/ 250389 h 418351"/>
                      <a:gd name="connsiteX53" fmla="*/ 157141 w 463174"/>
                      <a:gd name="connsiteY53" fmla="*/ 161482 h 418351"/>
                      <a:gd name="connsiteX54" fmla="*/ 157337 w 463174"/>
                      <a:gd name="connsiteY54" fmla="*/ 161191 h 418351"/>
                      <a:gd name="connsiteX55" fmla="*/ 210378 w 463174"/>
                      <a:gd name="connsiteY55" fmla="*/ 133251 h 418351"/>
                      <a:gd name="connsiteX56" fmla="*/ 246087 w 463174"/>
                      <a:gd name="connsiteY56" fmla="*/ 144158 h 418351"/>
                      <a:gd name="connsiteX57" fmla="*/ 246087 w 463174"/>
                      <a:gd name="connsiteY57" fmla="*/ 144158 h 418351"/>
                      <a:gd name="connsiteX58" fmla="*/ 263419 w 463174"/>
                      <a:gd name="connsiteY58" fmla="*/ 232908 h 418351"/>
                      <a:gd name="connsiteX59" fmla="*/ 447344 w 463174"/>
                      <a:gd name="connsiteY59" fmla="*/ 213036 h 418351"/>
                      <a:gd name="connsiteX60" fmla="*/ 376649 w 463174"/>
                      <a:gd name="connsiteY60" fmla="*/ 226954 h 418351"/>
                      <a:gd name="connsiteX61" fmla="*/ 362729 w 463174"/>
                      <a:gd name="connsiteY61" fmla="*/ 156259 h 418351"/>
                      <a:gd name="connsiteX62" fmla="*/ 405359 w 463174"/>
                      <a:gd name="connsiteY62" fmla="*/ 133699 h 418351"/>
                      <a:gd name="connsiteX63" fmla="*/ 433748 w 463174"/>
                      <a:gd name="connsiteY63" fmla="*/ 142365 h 418351"/>
                      <a:gd name="connsiteX64" fmla="*/ 455263 w 463174"/>
                      <a:gd name="connsiteY64" fmla="*/ 174937 h 418351"/>
                      <a:gd name="connsiteX65" fmla="*/ 447344 w 463174"/>
                      <a:gd name="connsiteY65" fmla="*/ 212588 h 4183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</a:cxnLst>
                    <a:rect l="l" t="t" r="r" b="b"/>
                    <a:pathLst>
                      <a:path w="463174" h="418351">
                        <a:moveTo>
                          <a:pt x="469905" y="171649"/>
                        </a:moveTo>
                        <a:cubicBezTo>
                          <a:pt x="466696" y="154434"/>
                          <a:pt x="456676" y="139242"/>
                          <a:pt x="442115" y="129515"/>
                        </a:cubicBezTo>
                        <a:cubicBezTo>
                          <a:pt x="411972" y="109245"/>
                          <a:pt x="371119" y="117122"/>
                          <a:pt x="350675" y="147146"/>
                        </a:cubicBezTo>
                        <a:cubicBezTo>
                          <a:pt x="344584" y="156405"/>
                          <a:pt x="340887" y="167033"/>
                          <a:pt x="339917" y="178074"/>
                        </a:cubicBezTo>
                        <a:lnTo>
                          <a:pt x="288072" y="184648"/>
                        </a:lnTo>
                        <a:cubicBezTo>
                          <a:pt x="284598" y="163429"/>
                          <a:pt x="272548" y="144573"/>
                          <a:pt x="254753" y="132504"/>
                        </a:cubicBezTo>
                        <a:lnTo>
                          <a:pt x="254753" y="132504"/>
                        </a:lnTo>
                        <a:cubicBezTo>
                          <a:pt x="222477" y="110747"/>
                          <a:pt x="179138" y="115894"/>
                          <a:pt x="152855" y="144606"/>
                        </a:cubicBezTo>
                        <a:lnTo>
                          <a:pt x="117145" y="111736"/>
                        </a:lnTo>
                        <a:cubicBezTo>
                          <a:pt x="119007" y="109588"/>
                          <a:pt x="120752" y="107344"/>
                          <a:pt x="122375" y="105012"/>
                        </a:cubicBezTo>
                        <a:cubicBezTo>
                          <a:pt x="143046" y="74862"/>
                          <a:pt x="135362" y="33664"/>
                          <a:pt x="105212" y="12993"/>
                        </a:cubicBezTo>
                        <a:cubicBezTo>
                          <a:pt x="105056" y="12887"/>
                          <a:pt x="104900" y="12781"/>
                          <a:pt x="104744" y="12676"/>
                        </a:cubicBezTo>
                        <a:lnTo>
                          <a:pt x="104744" y="12676"/>
                        </a:lnTo>
                        <a:cubicBezTo>
                          <a:pt x="75352" y="-8780"/>
                          <a:pt x="34132" y="-2346"/>
                          <a:pt x="12676" y="27046"/>
                        </a:cubicBezTo>
                        <a:cubicBezTo>
                          <a:pt x="-8780" y="56438"/>
                          <a:pt x="-2346" y="97658"/>
                          <a:pt x="27046" y="119114"/>
                        </a:cubicBezTo>
                        <a:cubicBezTo>
                          <a:pt x="28310" y="120037"/>
                          <a:pt x="29608" y="120915"/>
                          <a:pt x="30935" y="121746"/>
                        </a:cubicBezTo>
                        <a:cubicBezTo>
                          <a:pt x="41748" y="129179"/>
                          <a:pt x="54569" y="133140"/>
                          <a:pt x="67690" y="133101"/>
                        </a:cubicBezTo>
                        <a:cubicBezTo>
                          <a:pt x="81379" y="133082"/>
                          <a:pt x="94731" y="128858"/>
                          <a:pt x="105939" y="120999"/>
                        </a:cubicBezTo>
                        <a:lnTo>
                          <a:pt x="143741" y="155812"/>
                        </a:lnTo>
                        <a:cubicBezTo>
                          <a:pt x="121238" y="191617"/>
                          <a:pt x="131302" y="238828"/>
                          <a:pt x="166451" y="262342"/>
                        </a:cubicBezTo>
                        <a:cubicBezTo>
                          <a:pt x="168906" y="263930"/>
                          <a:pt x="171450" y="265377"/>
                          <a:pt x="174071" y="266675"/>
                        </a:cubicBezTo>
                        <a:lnTo>
                          <a:pt x="151958" y="338841"/>
                        </a:lnTo>
                        <a:cubicBezTo>
                          <a:pt x="126377" y="338747"/>
                          <a:pt x="105565" y="359407"/>
                          <a:pt x="105470" y="384988"/>
                        </a:cubicBezTo>
                        <a:cubicBezTo>
                          <a:pt x="105413" y="400540"/>
                          <a:pt x="113165" y="415084"/>
                          <a:pt x="126110" y="423706"/>
                        </a:cubicBezTo>
                        <a:cubicBezTo>
                          <a:pt x="133755" y="428973"/>
                          <a:pt x="142823" y="431786"/>
                          <a:pt x="152108" y="431775"/>
                        </a:cubicBezTo>
                        <a:cubicBezTo>
                          <a:pt x="155069" y="431767"/>
                          <a:pt x="158021" y="431467"/>
                          <a:pt x="160923" y="430878"/>
                        </a:cubicBezTo>
                        <a:cubicBezTo>
                          <a:pt x="186069" y="426179"/>
                          <a:pt x="202643" y="401986"/>
                          <a:pt x="197944" y="376840"/>
                        </a:cubicBezTo>
                        <a:cubicBezTo>
                          <a:pt x="195661" y="364626"/>
                          <a:pt x="188567" y="353842"/>
                          <a:pt x="178254" y="346909"/>
                        </a:cubicBezTo>
                        <a:lnTo>
                          <a:pt x="178254" y="346909"/>
                        </a:lnTo>
                        <a:cubicBezTo>
                          <a:pt x="174715" y="344639"/>
                          <a:pt x="170897" y="342831"/>
                          <a:pt x="166899" y="341530"/>
                        </a:cubicBezTo>
                        <a:lnTo>
                          <a:pt x="187966" y="272651"/>
                        </a:lnTo>
                        <a:cubicBezTo>
                          <a:pt x="195281" y="274860"/>
                          <a:pt x="202885" y="275967"/>
                          <a:pt x="210527" y="275939"/>
                        </a:cubicBezTo>
                        <a:cubicBezTo>
                          <a:pt x="253446" y="276109"/>
                          <a:pt x="288532" y="241755"/>
                          <a:pt x="289267" y="198842"/>
                        </a:cubicBezTo>
                        <a:lnTo>
                          <a:pt x="340216" y="193314"/>
                        </a:lnTo>
                        <a:cubicBezTo>
                          <a:pt x="345526" y="229231"/>
                          <a:pt x="378948" y="254042"/>
                          <a:pt x="414867" y="248732"/>
                        </a:cubicBezTo>
                        <a:cubicBezTo>
                          <a:pt x="450783" y="243422"/>
                          <a:pt x="475595" y="209999"/>
                          <a:pt x="470285" y="174082"/>
                        </a:cubicBezTo>
                        <a:cubicBezTo>
                          <a:pt x="470171" y="173318"/>
                          <a:pt x="470044" y="172558"/>
                          <a:pt x="469905" y="171799"/>
                        </a:cubicBezTo>
                        <a:close/>
                        <a:moveTo>
                          <a:pt x="178254" y="402789"/>
                        </a:moveTo>
                        <a:cubicBezTo>
                          <a:pt x="173575" y="409736"/>
                          <a:pt x="166314" y="414523"/>
                          <a:pt x="158084" y="416086"/>
                        </a:cubicBezTo>
                        <a:cubicBezTo>
                          <a:pt x="149919" y="417788"/>
                          <a:pt x="141416" y="416001"/>
                          <a:pt x="134626" y="411156"/>
                        </a:cubicBezTo>
                        <a:cubicBezTo>
                          <a:pt x="120268" y="401454"/>
                          <a:pt x="116494" y="381949"/>
                          <a:pt x="126195" y="367590"/>
                        </a:cubicBezTo>
                        <a:cubicBezTo>
                          <a:pt x="132043" y="358938"/>
                          <a:pt x="141813" y="353761"/>
                          <a:pt x="152257" y="353782"/>
                        </a:cubicBezTo>
                        <a:cubicBezTo>
                          <a:pt x="158544" y="353741"/>
                          <a:pt x="164694" y="355618"/>
                          <a:pt x="169887" y="359161"/>
                        </a:cubicBezTo>
                        <a:cubicBezTo>
                          <a:pt x="184240" y="368871"/>
                          <a:pt x="188004" y="388377"/>
                          <a:pt x="178295" y="402730"/>
                        </a:cubicBezTo>
                        <a:cubicBezTo>
                          <a:pt x="178281" y="402750"/>
                          <a:pt x="178268" y="402769"/>
                          <a:pt x="178254" y="402789"/>
                        </a:cubicBezTo>
                        <a:close/>
                        <a:moveTo>
                          <a:pt x="39302" y="109943"/>
                        </a:moveTo>
                        <a:cubicBezTo>
                          <a:pt x="28040" y="102220"/>
                          <a:pt x="20302" y="90345"/>
                          <a:pt x="17787" y="76923"/>
                        </a:cubicBezTo>
                        <a:cubicBezTo>
                          <a:pt x="12739" y="49241"/>
                          <a:pt x="31088" y="22708"/>
                          <a:pt x="58770" y="17660"/>
                        </a:cubicBezTo>
                        <a:cubicBezTo>
                          <a:pt x="86452" y="12612"/>
                          <a:pt x="112984" y="30961"/>
                          <a:pt x="118033" y="58643"/>
                        </a:cubicBezTo>
                        <a:cubicBezTo>
                          <a:pt x="123080" y="86325"/>
                          <a:pt x="104731" y="112858"/>
                          <a:pt x="77049" y="117906"/>
                        </a:cubicBezTo>
                        <a:cubicBezTo>
                          <a:pt x="63910" y="120302"/>
                          <a:pt x="50354" y="117442"/>
                          <a:pt x="39302" y="109943"/>
                        </a:cubicBezTo>
                        <a:close/>
                        <a:moveTo>
                          <a:pt x="263419" y="233356"/>
                        </a:moveTo>
                        <a:cubicBezTo>
                          <a:pt x="243656" y="262526"/>
                          <a:pt x="203988" y="270152"/>
                          <a:pt x="174818" y="250389"/>
                        </a:cubicBezTo>
                        <a:cubicBezTo>
                          <a:pt x="145386" y="230719"/>
                          <a:pt x="137471" y="190915"/>
                          <a:pt x="157141" y="161482"/>
                        </a:cubicBezTo>
                        <a:cubicBezTo>
                          <a:pt x="157205" y="161385"/>
                          <a:pt x="157271" y="161288"/>
                          <a:pt x="157337" y="161191"/>
                        </a:cubicBezTo>
                        <a:cubicBezTo>
                          <a:pt x="169287" y="143653"/>
                          <a:pt x="189157" y="133187"/>
                          <a:pt x="210378" y="133251"/>
                        </a:cubicBezTo>
                        <a:cubicBezTo>
                          <a:pt x="223109" y="133198"/>
                          <a:pt x="235558" y="137001"/>
                          <a:pt x="246087" y="144158"/>
                        </a:cubicBezTo>
                        <a:lnTo>
                          <a:pt x="246087" y="144158"/>
                        </a:lnTo>
                        <a:cubicBezTo>
                          <a:pt x="275378" y="163882"/>
                          <a:pt x="283137" y="203613"/>
                          <a:pt x="263419" y="232908"/>
                        </a:cubicBezTo>
                        <a:close/>
                        <a:moveTo>
                          <a:pt x="447344" y="213036"/>
                        </a:moveTo>
                        <a:cubicBezTo>
                          <a:pt x="431665" y="236401"/>
                          <a:pt x="400014" y="242633"/>
                          <a:pt x="376649" y="226954"/>
                        </a:cubicBezTo>
                        <a:cubicBezTo>
                          <a:pt x="353282" y="211275"/>
                          <a:pt x="347052" y="179624"/>
                          <a:pt x="362729" y="156259"/>
                        </a:cubicBezTo>
                        <a:cubicBezTo>
                          <a:pt x="372256" y="142063"/>
                          <a:pt x="388265" y="133591"/>
                          <a:pt x="405359" y="133699"/>
                        </a:cubicBezTo>
                        <a:cubicBezTo>
                          <a:pt x="415482" y="133642"/>
                          <a:pt x="425384" y="136663"/>
                          <a:pt x="433748" y="142365"/>
                        </a:cubicBezTo>
                        <a:cubicBezTo>
                          <a:pt x="444947" y="149947"/>
                          <a:pt x="452684" y="161660"/>
                          <a:pt x="455263" y="174937"/>
                        </a:cubicBezTo>
                        <a:cubicBezTo>
                          <a:pt x="457679" y="188040"/>
                          <a:pt x="454834" y="201568"/>
                          <a:pt x="447344" y="212588"/>
                        </a:cubicBezTo>
                        <a:close/>
                      </a:path>
                    </a:pathLst>
                  </a:custGeom>
                  <a:grpFill/>
                  <a:ln w="1484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7" name="Freeform: Shape 218">
                    <a:extLst>
                      <a:ext uri="{FF2B5EF4-FFF2-40B4-BE49-F238E27FC236}">
                        <a16:creationId xmlns:a16="http://schemas.microsoft.com/office/drawing/2014/main" id="{009C125B-E20B-8C5B-19D3-4B3430E2DEAF}"/>
                      </a:ext>
                    </a:extLst>
                  </p:cNvPr>
                  <p:cNvSpPr/>
                  <p:nvPr/>
                </p:nvSpPr>
                <p:spPr>
                  <a:xfrm>
                    <a:off x="5841920" y="3373112"/>
                    <a:ext cx="119529" cy="119529"/>
                  </a:xfrm>
                  <a:custGeom>
                    <a:avLst/>
                    <a:gdLst>
                      <a:gd name="connsiteX0" fmla="*/ 102876 w 119528"/>
                      <a:gd name="connsiteY0" fmla="*/ 11362 h 119529"/>
                      <a:gd name="connsiteX1" fmla="*/ 11362 w 119528"/>
                      <a:gd name="connsiteY1" fmla="*/ 28917 h 119529"/>
                      <a:gd name="connsiteX2" fmla="*/ 28918 w 119528"/>
                      <a:gd name="connsiteY2" fmla="*/ 120432 h 119529"/>
                      <a:gd name="connsiteX3" fmla="*/ 65822 w 119528"/>
                      <a:gd name="connsiteY3" fmla="*/ 131787 h 119529"/>
                      <a:gd name="connsiteX4" fmla="*/ 78373 w 119528"/>
                      <a:gd name="connsiteY4" fmla="*/ 130592 h 119529"/>
                      <a:gd name="connsiteX5" fmla="*/ 120507 w 119528"/>
                      <a:gd name="connsiteY5" fmla="*/ 102801 h 119529"/>
                      <a:gd name="connsiteX6" fmla="*/ 102876 w 119528"/>
                      <a:gd name="connsiteY6" fmla="*/ 11362 h 119529"/>
                      <a:gd name="connsiteX7" fmla="*/ 108105 w 119528"/>
                      <a:gd name="connsiteY7" fmla="*/ 94434 h 119529"/>
                      <a:gd name="connsiteX8" fmla="*/ 37863 w 119528"/>
                      <a:gd name="connsiteY8" fmla="*/ 108470 h 119529"/>
                      <a:gd name="connsiteX9" fmla="*/ 37434 w 119528"/>
                      <a:gd name="connsiteY9" fmla="*/ 108180 h 119529"/>
                      <a:gd name="connsiteX10" fmla="*/ 23660 w 119528"/>
                      <a:gd name="connsiteY10" fmla="*/ 37671 h 119529"/>
                      <a:gd name="connsiteX11" fmla="*/ 56260 w 119528"/>
                      <a:gd name="connsiteY11" fmla="*/ 16143 h 119529"/>
                      <a:gd name="connsiteX12" fmla="*/ 65971 w 119528"/>
                      <a:gd name="connsiteY12" fmla="*/ 15097 h 119529"/>
                      <a:gd name="connsiteX13" fmla="*/ 94509 w 119528"/>
                      <a:gd name="connsiteY13" fmla="*/ 23912 h 119529"/>
                      <a:gd name="connsiteX14" fmla="*/ 94509 w 119528"/>
                      <a:gd name="connsiteY14" fmla="*/ 23912 h 119529"/>
                      <a:gd name="connsiteX15" fmla="*/ 108105 w 119528"/>
                      <a:gd name="connsiteY15" fmla="*/ 94434 h 1195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</a:cxnLst>
                    <a:rect l="l" t="t" r="r" b="b"/>
                    <a:pathLst>
                      <a:path w="119528" h="119529">
                        <a:moveTo>
                          <a:pt x="102876" y="11362"/>
                        </a:moveTo>
                        <a:cubicBezTo>
                          <a:pt x="72757" y="-9061"/>
                          <a:pt x="31785" y="-1201"/>
                          <a:pt x="11362" y="28917"/>
                        </a:cubicBezTo>
                        <a:cubicBezTo>
                          <a:pt x="-9061" y="59037"/>
                          <a:pt x="-1201" y="100009"/>
                          <a:pt x="28918" y="120432"/>
                        </a:cubicBezTo>
                        <a:cubicBezTo>
                          <a:pt x="39809" y="127817"/>
                          <a:pt x="52663" y="131772"/>
                          <a:pt x="65822" y="131787"/>
                        </a:cubicBezTo>
                        <a:cubicBezTo>
                          <a:pt x="70033" y="131759"/>
                          <a:pt x="74233" y="131360"/>
                          <a:pt x="78373" y="130592"/>
                        </a:cubicBezTo>
                        <a:cubicBezTo>
                          <a:pt x="95588" y="127383"/>
                          <a:pt x="110779" y="117363"/>
                          <a:pt x="120507" y="102801"/>
                        </a:cubicBezTo>
                        <a:cubicBezTo>
                          <a:pt x="140777" y="72659"/>
                          <a:pt x="132900" y="31806"/>
                          <a:pt x="102876" y="11362"/>
                        </a:cubicBezTo>
                        <a:close/>
                        <a:moveTo>
                          <a:pt x="108105" y="94434"/>
                        </a:moveTo>
                        <a:cubicBezTo>
                          <a:pt x="92584" y="117707"/>
                          <a:pt x="61136" y="123991"/>
                          <a:pt x="37863" y="108470"/>
                        </a:cubicBezTo>
                        <a:cubicBezTo>
                          <a:pt x="37720" y="108374"/>
                          <a:pt x="37577" y="108277"/>
                          <a:pt x="37434" y="108180"/>
                        </a:cubicBezTo>
                        <a:cubicBezTo>
                          <a:pt x="14160" y="92513"/>
                          <a:pt x="7993" y="60945"/>
                          <a:pt x="23660" y="37671"/>
                        </a:cubicBezTo>
                        <a:cubicBezTo>
                          <a:pt x="31222" y="26436"/>
                          <a:pt x="42958" y="18687"/>
                          <a:pt x="56260" y="16143"/>
                        </a:cubicBezTo>
                        <a:cubicBezTo>
                          <a:pt x="59448" y="15435"/>
                          <a:pt x="62705" y="15083"/>
                          <a:pt x="65971" y="15097"/>
                        </a:cubicBezTo>
                        <a:cubicBezTo>
                          <a:pt x="76158" y="15072"/>
                          <a:pt x="86111" y="18146"/>
                          <a:pt x="94509" y="23912"/>
                        </a:cubicBezTo>
                        <a:lnTo>
                          <a:pt x="94509" y="23912"/>
                        </a:lnTo>
                        <a:cubicBezTo>
                          <a:pt x="117583" y="39733"/>
                          <a:pt x="123643" y="71168"/>
                          <a:pt x="108105" y="94434"/>
                        </a:cubicBezTo>
                        <a:close/>
                      </a:path>
                    </a:pathLst>
                  </a:custGeom>
                  <a:grpFill/>
                  <a:ln w="1484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183" name="Group 182">
                <a:extLst>
                  <a:ext uri="{FF2B5EF4-FFF2-40B4-BE49-F238E27FC236}">
                    <a16:creationId xmlns:a16="http://schemas.microsoft.com/office/drawing/2014/main" id="{7C8B851A-C12D-6592-819A-3290FE57FCAE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6816080" y="1822783"/>
                <a:ext cx="624646" cy="624646"/>
                <a:chOff x="5735960" y="1733455"/>
                <a:chExt cx="720080" cy="720080"/>
              </a:xfrm>
            </p:grpSpPr>
            <p:sp>
              <p:nvSpPr>
                <p:cNvPr id="248" name="Oval 247">
                  <a:extLst>
                    <a:ext uri="{FF2B5EF4-FFF2-40B4-BE49-F238E27FC236}">
                      <a16:creationId xmlns:a16="http://schemas.microsoft.com/office/drawing/2014/main" id="{831BD2BA-FF3C-8107-D655-7CD07A997ECD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5735960" y="1733455"/>
                  <a:ext cx="720080" cy="720080"/>
                </a:xfrm>
                <a:prstGeom prst="ellipse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600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Ubuntu"/>
                    <a:ea typeface="+mn-ea"/>
                    <a:cs typeface="+mn-cs"/>
                  </a:endParaRPr>
                </a:p>
              </p:txBody>
            </p:sp>
            <p:grpSp>
              <p:nvGrpSpPr>
                <p:cNvPr id="249" name="Graphic 2">
                  <a:extLst>
                    <a:ext uri="{FF2B5EF4-FFF2-40B4-BE49-F238E27FC236}">
                      <a16:creationId xmlns:a16="http://schemas.microsoft.com/office/drawing/2014/main" id="{F08E6957-5A51-8E90-3F75-26A5E308BB00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5869272" y="1847701"/>
                  <a:ext cx="450095" cy="490027"/>
                  <a:chOff x="5884846" y="3143651"/>
                  <a:chExt cx="419174" cy="456364"/>
                </a:xfrm>
                <a:solidFill>
                  <a:schemeClr val="bg1"/>
                </a:solidFill>
              </p:grpSpPr>
              <p:sp>
                <p:nvSpPr>
                  <p:cNvPr id="250" name="Freeform: Shape 211">
                    <a:extLst>
                      <a:ext uri="{FF2B5EF4-FFF2-40B4-BE49-F238E27FC236}">
                        <a16:creationId xmlns:a16="http://schemas.microsoft.com/office/drawing/2014/main" id="{C62FD7B7-5805-C182-5D7C-5C18460FD62A}"/>
                      </a:ext>
                    </a:extLst>
                  </p:cNvPr>
                  <p:cNvSpPr/>
                  <p:nvPr/>
                </p:nvSpPr>
                <p:spPr>
                  <a:xfrm>
                    <a:off x="6154169" y="3409295"/>
                    <a:ext cx="149851" cy="190720"/>
                  </a:xfrm>
                  <a:custGeom>
                    <a:avLst/>
                    <a:gdLst>
                      <a:gd name="connsiteX0" fmla="*/ 76561 w 149851"/>
                      <a:gd name="connsiteY0" fmla="*/ 198663 h 190719"/>
                      <a:gd name="connsiteX1" fmla="*/ 15394 w 149851"/>
                      <a:gd name="connsiteY1" fmla="*/ 118969 h 190719"/>
                      <a:gd name="connsiteX2" fmla="*/ 0 w 149851"/>
                      <a:gd name="connsiteY2" fmla="*/ 73333 h 190719"/>
                      <a:gd name="connsiteX3" fmla="*/ 79721 w 149851"/>
                      <a:gd name="connsiteY3" fmla="*/ 69 h 190719"/>
                      <a:gd name="connsiteX4" fmla="*/ 152985 w 149851"/>
                      <a:gd name="connsiteY4" fmla="*/ 73333 h 190719"/>
                      <a:gd name="connsiteX5" fmla="*/ 137727 w 149851"/>
                      <a:gd name="connsiteY5" fmla="*/ 118969 h 190719"/>
                      <a:gd name="connsiteX6" fmla="*/ 76561 w 149851"/>
                      <a:gd name="connsiteY6" fmla="*/ 10940 h 190719"/>
                      <a:gd name="connsiteX7" fmla="*/ 13623 w 149851"/>
                      <a:gd name="connsiteY7" fmla="*/ 73332 h 190719"/>
                      <a:gd name="connsiteX8" fmla="*/ 13623 w 149851"/>
                      <a:gd name="connsiteY8" fmla="*/ 73333 h 190719"/>
                      <a:gd name="connsiteX9" fmla="*/ 26292 w 149851"/>
                      <a:gd name="connsiteY9" fmla="*/ 110796 h 190719"/>
                      <a:gd name="connsiteX10" fmla="*/ 76561 w 149851"/>
                      <a:gd name="connsiteY10" fmla="*/ 176321 h 190719"/>
                      <a:gd name="connsiteX11" fmla="*/ 126829 w 149851"/>
                      <a:gd name="connsiteY11" fmla="*/ 110796 h 190719"/>
                      <a:gd name="connsiteX12" fmla="*/ 139362 w 149851"/>
                      <a:gd name="connsiteY12" fmla="*/ 73333 h 190719"/>
                      <a:gd name="connsiteX13" fmla="*/ 76561 w 149851"/>
                      <a:gd name="connsiteY13" fmla="*/ 10940 h 19071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149851" h="190719">
                        <a:moveTo>
                          <a:pt x="76561" y="198663"/>
                        </a:moveTo>
                        <a:lnTo>
                          <a:pt x="15394" y="118969"/>
                        </a:lnTo>
                        <a:cubicBezTo>
                          <a:pt x="5362" y="105875"/>
                          <a:pt x="-51" y="89827"/>
                          <a:pt x="0" y="73333"/>
                        </a:cubicBezTo>
                        <a:cubicBezTo>
                          <a:pt x="1784" y="31087"/>
                          <a:pt x="37475" y="-1714"/>
                          <a:pt x="79721" y="69"/>
                        </a:cubicBezTo>
                        <a:cubicBezTo>
                          <a:pt x="119469" y="1748"/>
                          <a:pt x="151307" y="33587"/>
                          <a:pt x="152985" y="73333"/>
                        </a:cubicBezTo>
                        <a:cubicBezTo>
                          <a:pt x="153024" y="89804"/>
                          <a:pt x="147665" y="105834"/>
                          <a:pt x="137727" y="118969"/>
                        </a:cubicBezTo>
                        <a:close/>
                        <a:moveTo>
                          <a:pt x="76561" y="10940"/>
                        </a:moveTo>
                        <a:cubicBezTo>
                          <a:pt x="41952" y="10789"/>
                          <a:pt x="13774" y="38723"/>
                          <a:pt x="13623" y="73332"/>
                        </a:cubicBezTo>
                        <a:cubicBezTo>
                          <a:pt x="13623" y="73332"/>
                          <a:pt x="13623" y="73333"/>
                          <a:pt x="13623" y="73333"/>
                        </a:cubicBezTo>
                        <a:cubicBezTo>
                          <a:pt x="13592" y="86877"/>
                          <a:pt x="18047" y="100050"/>
                          <a:pt x="26292" y="110796"/>
                        </a:cubicBezTo>
                        <a:lnTo>
                          <a:pt x="76561" y="176321"/>
                        </a:lnTo>
                        <a:lnTo>
                          <a:pt x="126829" y="110796"/>
                        </a:lnTo>
                        <a:cubicBezTo>
                          <a:pt x="134981" y="100009"/>
                          <a:pt x="139382" y="86854"/>
                          <a:pt x="139362" y="73333"/>
                        </a:cubicBezTo>
                        <a:cubicBezTo>
                          <a:pt x="139212" y="38777"/>
                          <a:pt x="111116" y="10865"/>
                          <a:pt x="76561" y="10940"/>
                        </a:cubicBezTo>
                        <a:close/>
                      </a:path>
                    </a:pathLst>
                  </a:custGeom>
                  <a:grpFill/>
                  <a:ln w="1351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1" name="Freeform: Shape 212">
                    <a:extLst>
                      <a:ext uri="{FF2B5EF4-FFF2-40B4-BE49-F238E27FC236}">
                        <a16:creationId xmlns:a16="http://schemas.microsoft.com/office/drawing/2014/main" id="{E2B5F2D0-E495-0994-7883-450995B9574E}"/>
                      </a:ext>
                    </a:extLst>
                  </p:cNvPr>
                  <p:cNvSpPr/>
                  <p:nvPr/>
                </p:nvSpPr>
                <p:spPr>
                  <a:xfrm>
                    <a:off x="5884846" y="3143651"/>
                    <a:ext cx="149851" cy="190720"/>
                  </a:xfrm>
                  <a:custGeom>
                    <a:avLst/>
                    <a:gdLst>
                      <a:gd name="connsiteX0" fmla="*/ 76424 w 149851"/>
                      <a:gd name="connsiteY0" fmla="*/ 198663 h 190719"/>
                      <a:gd name="connsiteX1" fmla="*/ 15258 w 149851"/>
                      <a:gd name="connsiteY1" fmla="*/ 118969 h 190719"/>
                      <a:gd name="connsiteX2" fmla="*/ 0 w 149851"/>
                      <a:gd name="connsiteY2" fmla="*/ 73333 h 190719"/>
                      <a:gd name="connsiteX3" fmla="*/ 79721 w 149851"/>
                      <a:gd name="connsiteY3" fmla="*/ 69 h 190719"/>
                      <a:gd name="connsiteX4" fmla="*/ 152985 w 149851"/>
                      <a:gd name="connsiteY4" fmla="*/ 73333 h 190719"/>
                      <a:gd name="connsiteX5" fmla="*/ 137727 w 149851"/>
                      <a:gd name="connsiteY5" fmla="*/ 118969 h 190719"/>
                      <a:gd name="connsiteX6" fmla="*/ 76424 w 149851"/>
                      <a:gd name="connsiteY6" fmla="*/ 10940 h 190719"/>
                      <a:gd name="connsiteX7" fmla="*/ 13623 w 149851"/>
                      <a:gd name="connsiteY7" fmla="*/ 73333 h 190719"/>
                      <a:gd name="connsiteX8" fmla="*/ 26156 w 149851"/>
                      <a:gd name="connsiteY8" fmla="*/ 110659 h 190719"/>
                      <a:gd name="connsiteX9" fmla="*/ 76424 w 149851"/>
                      <a:gd name="connsiteY9" fmla="*/ 176321 h 190719"/>
                      <a:gd name="connsiteX10" fmla="*/ 126829 w 149851"/>
                      <a:gd name="connsiteY10" fmla="*/ 110659 h 190719"/>
                      <a:gd name="connsiteX11" fmla="*/ 139362 w 149851"/>
                      <a:gd name="connsiteY11" fmla="*/ 73333 h 190719"/>
                      <a:gd name="connsiteX12" fmla="*/ 76426 w 149851"/>
                      <a:gd name="connsiteY12" fmla="*/ 10940 h 190719"/>
                      <a:gd name="connsiteX13" fmla="*/ 76424 w 149851"/>
                      <a:gd name="connsiteY13" fmla="*/ 10940 h 19071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149851" h="190719">
                        <a:moveTo>
                          <a:pt x="76424" y="198663"/>
                        </a:moveTo>
                        <a:lnTo>
                          <a:pt x="15258" y="118969"/>
                        </a:lnTo>
                        <a:cubicBezTo>
                          <a:pt x="5320" y="105834"/>
                          <a:pt x="-40" y="89804"/>
                          <a:pt x="0" y="73333"/>
                        </a:cubicBezTo>
                        <a:cubicBezTo>
                          <a:pt x="1783" y="31087"/>
                          <a:pt x="37476" y="-1714"/>
                          <a:pt x="79721" y="69"/>
                        </a:cubicBezTo>
                        <a:cubicBezTo>
                          <a:pt x="119468" y="1747"/>
                          <a:pt x="151306" y="33586"/>
                          <a:pt x="152985" y="73333"/>
                        </a:cubicBezTo>
                        <a:cubicBezTo>
                          <a:pt x="153024" y="89804"/>
                          <a:pt x="147665" y="105834"/>
                          <a:pt x="137727" y="118969"/>
                        </a:cubicBezTo>
                        <a:close/>
                        <a:moveTo>
                          <a:pt x="76424" y="10940"/>
                        </a:moveTo>
                        <a:cubicBezTo>
                          <a:pt x="41868" y="10865"/>
                          <a:pt x="13773" y="38777"/>
                          <a:pt x="13623" y="73333"/>
                        </a:cubicBezTo>
                        <a:cubicBezTo>
                          <a:pt x="13583" y="86815"/>
                          <a:pt x="17988" y="99934"/>
                          <a:pt x="26156" y="110659"/>
                        </a:cubicBezTo>
                        <a:lnTo>
                          <a:pt x="76424" y="176321"/>
                        </a:lnTo>
                        <a:lnTo>
                          <a:pt x="126829" y="110659"/>
                        </a:lnTo>
                        <a:cubicBezTo>
                          <a:pt x="134997" y="99934"/>
                          <a:pt x="139403" y="86815"/>
                          <a:pt x="139362" y="73333"/>
                        </a:cubicBezTo>
                        <a:cubicBezTo>
                          <a:pt x="139212" y="38724"/>
                          <a:pt x="111034" y="10790"/>
                          <a:pt x="76426" y="10940"/>
                        </a:cubicBezTo>
                        <a:cubicBezTo>
                          <a:pt x="76425" y="10940"/>
                          <a:pt x="76425" y="10940"/>
                          <a:pt x="76424" y="10940"/>
                        </a:cubicBezTo>
                        <a:close/>
                      </a:path>
                    </a:pathLst>
                  </a:custGeom>
                  <a:grpFill/>
                  <a:ln w="1351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2" name="Freeform: Shape 213">
                    <a:extLst>
                      <a:ext uri="{FF2B5EF4-FFF2-40B4-BE49-F238E27FC236}">
                        <a16:creationId xmlns:a16="http://schemas.microsoft.com/office/drawing/2014/main" id="{B54A6F95-0166-1BA9-C8AF-7E5ED7491F75}"/>
                      </a:ext>
                    </a:extLst>
                  </p:cNvPr>
                  <p:cNvSpPr/>
                  <p:nvPr/>
                </p:nvSpPr>
                <p:spPr>
                  <a:xfrm>
                    <a:off x="5925630" y="3222705"/>
                    <a:ext cx="367817" cy="299702"/>
                  </a:xfrm>
                  <a:custGeom>
                    <a:avLst/>
                    <a:gdLst>
                      <a:gd name="connsiteX0" fmla="*/ 87543 w 367816"/>
                      <a:gd name="connsiteY0" fmla="*/ 299702 h 299702"/>
                      <a:gd name="connsiteX1" fmla="*/ 21472 w 367816"/>
                      <a:gd name="connsiteY1" fmla="*/ 277906 h 299702"/>
                      <a:gd name="connsiteX2" fmla="*/ 84 w 367816"/>
                      <a:gd name="connsiteY2" fmla="*/ 224504 h 299702"/>
                      <a:gd name="connsiteX3" fmla="*/ 82503 w 367816"/>
                      <a:gd name="connsiteY3" fmla="*/ 142767 h 299702"/>
                      <a:gd name="connsiteX4" fmla="*/ 298970 w 367816"/>
                      <a:gd name="connsiteY4" fmla="*/ 142767 h 299702"/>
                      <a:gd name="connsiteX5" fmla="*/ 351281 w 367816"/>
                      <a:gd name="connsiteY5" fmla="*/ 123014 h 299702"/>
                      <a:gd name="connsiteX6" fmla="*/ 367901 w 367816"/>
                      <a:gd name="connsiteY6" fmla="*/ 80238 h 299702"/>
                      <a:gd name="connsiteX7" fmla="*/ 296517 w 367816"/>
                      <a:gd name="connsiteY7" fmla="*/ 13623 h 299702"/>
                      <a:gd name="connsiteX8" fmla="*/ 129501 w 367816"/>
                      <a:gd name="connsiteY8" fmla="*/ 13623 h 299702"/>
                      <a:gd name="connsiteX9" fmla="*/ 122690 w 367816"/>
                      <a:gd name="connsiteY9" fmla="*/ 6811 h 299702"/>
                      <a:gd name="connsiteX10" fmla="*/ 129501 w 367816"/>
                      <a:gd name="connsiteY10" fmla="*/ 0 h 299702"/>
                      <a:gd name="connsiteX11" fmla="*/ 296517 w 367816"/>
                      <a:gd name="connsiteY11" fmla="*/ 0 h 299702"/>
                      <a:gd name="connsiteX12" fmla="*/ 381252 w 367816"/>
                      <a:gd name="connsiteY12" fmla="*/ 80238 h 299702"/>
                      <a:gd name="connsiteX13" fmla="*/ 360954 w 367816"/>
                      <a:gd name="connsiteY13" fmla="*/ 132823 h 299702"/>
                      <a:gd name="connsiteX14" fmla="*/ 298970 w 367816"/>
                      <a:gd name="connsiteY14" fmla="*/ 156662 h 299702"/>
                      <a:gd name="connsiteX15" fmla="*/ 82639 w 367816"/>
                      <a:gd name="connsiteY15" fmla="*/ 156662 h 299702"/>
                      <a:gd name="connsiteX16" fmla="*/ 13844 w 367816"/>
                      <a:gd name="connsiteY16" fmla="*/ 224777 h 299702"/>
                      <a:gd name="connsiteX17" fmla="*/ 30600 w 367816"/>
                      <a:gd name="connsiteY17" fmla="*/ 268097 h 299702"/>
                      <a:gd name="connsiteX18" fmla="*/ 93401 w 367816"/>
                      <a:gd name="connsiteY18" fmla="*/ 286079 h 299702"/>
                      <a:gd name="connsiteX19" fmla="*/ 209195 w 367816"/>
                      <a:gd name="connsiteY19" fmla="*/ 286079 h 299702"/>
                      <a:gd name="connsiteX20" fmla="*/ 216007 w 367816"/>
                      <a:gd name="connsiteY20" fmla="*/ 292891 h 299702"/>
                      <a:gd name="connsiteX21" fmla="*/ 209195 w 367816"/>
                      <a:gd name="connsiteY21" fmla="*/ 299702 h 299702"/>
                      <a:gd name="connsiteX22" fmla="*/ 93946 w 367816"/>
                      <a:gd name="connsiteY22" fmla="*/ 299702 h 299702"/>
                      <a:gd name="connsiteX23" fmla="*/ 87543 w 367816"/>
                      <a:gd name="connsiteY23" fmla="*/ 299702 h 2997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</a:cxnLst>
                    <a:rect l="l" t="t" r="r" b="b"/>
                    <a:pathLst>
                      <a:path w="367816" h="299702">
                        <a:moveTo>
                          <a:pt x="87543" y="299702"/>
                        </a:moveTo>
                        <a:cubicBezTo>
                          <a:pt x="63631" y="300507"/>
                          <a:pt x="40212" y="292782"/>
                          <a:pt x="21472" y="277906"/>
                        </a:cubicBezTo>
                        <a:cubicBezTo>
                          <a:pt x="6901" y="264073"/>
                          <a:pt x="-909" y="244571"/>
                          <a:pt x="84" y="224504"/>
                        </a:cubicBezTo>
                        <a:cubicBezTo>
                          <a:pt x="965" y="179467"/>
                          <a:pt x="37460" y="143274"/>
                          <a:pt x="82503" y="142767"/>
                        </a:cubicBezTo>
                        <a:lnTo>
                          <a:pt x="298970" y="142767"/>
                        </a:lnTo>
                        <a:cubicBezTo>
                          <a:pt x="318340" y="143399"/>
                          <a:pt x="337164" y="136292"/>
                          <a:pt x="351281" y="123014"/>
                        </a:cubicBezTo>
                        <a:cubicBezTo>
                          <a:pt x="362449" y="111636"/>
                          <a:pt x="368457" y="96172"/>
                          <a:pt x="367901" y="80238"/>
                        </a:cubicBezTo>
                        <a:cubicBezTo>
                          <a:pt x="367901" y="36100"/>
                          <a:pt x="343516" y="13623"/>
                          <a:pt x="296517" y="13623"/>
                        </a:cubicBezTo>
                        <a:lnTo>
                          <a:pt x="129501" y="13623"/>
                        </a:lnTo>
                        <a:cubicBezTo>
                          <a:pt x="125740" y="13623"/>
                          <a:pt x="122690" y="10573"/>
                          <a:pt x="122690" y="6811"/>
                        </a:cubicBezTo>
                        <a:cubicBezTo>
                          <a:pt x="122690" y="3050"/>
                          <a:pt x="125740" y="0"/>
                          <a:pt x="129501" y="0"/>
                        </a:cubicBezTo>
                        <a:lnTo>
                          <a:pt x="296517" y="0"/>
                        </a:lnTo>
                        <a:cubicBezTo>
                          <a:pt x="351009" y="0"/>
                          <a:pt x="381115" y="28472"/>
                          <a:pt x="381252" y="80238"/>
                        </a:cubicBezTo>
                        <a:cubicBezTo>
                          <a:pt x="381920" y="99798"/>
                          <a:pt x="374591" y="118786"/>
                          <a:pt x="360954" y="132823"/>
                        </a:cubicBezTo>
                        <a:cubicBezTo>
                          <a:pt x="344304" y="148726"/>
                          <a:pt x="321985" y="157310"/>
                          <a:pt x="298970" y="156662"/>
                        </a:cubicBezTo>
                        <a:lnTo>
                          <a:pt x="82639" y="156662"/>
                        </a:lnTo>
                        <a:cubicBezTo>
                          <a:pt x="45264" y="157510"/>
                          <a:pt x="15063" y="187412"/>
                          <a:pt x="13844" y="224777"/>
                        </a:cubicBezTo>
                        <a:cubicBezTo>
                          <a:pt x="12893" y="240962"/>
                          <a:pt x="19006" y="256764"/>
                          <a:pt x="30600" y="268097"/>
                        </a:cubicBezTo>
                        <a:cubicBezTo>
                          <a:pt x="53758" y="289076"/>
                          <a:pt x="92992" y="286079"/>
                          <a:pt x="93401" y="286079"/>
                        </a:cubicBezTo>
                        <a:lnTo>
                          <a:pt x="209195" y="286079"/>
                        </a:lnTo>
                        <a:cubicBezTo>
                          <a:pt x="212956" y="286079"/>
                          <a:pt x="216007" y="289129"/>
                          <a:pt x="216007" y="292891"/>
                        </a:cubicBezTo>
                        <a:cubicBezTo>
                          <a:pt x="216007" y="296652"/>
                          <a:pt x="212956" y="299702"/>
                          <a:pt x="209195" y="299702"/>
                        </a:cubicBezTo>
                        <a:lnTo>
                          <a:pt x="93946" y="299702"/>
                        </a:lnTo>
                        <a:cubicBezTo>
                          <a:pt x="93946" y="299702"/>
                          <a:pt x="91358" y="299702"/>
                          <a:pt x="87543" y="299702"/>
                        </a:cubicBezTo>
                        <a:close/>
                      </a:path>
                    </a:pathLst>
                  </a:custGeom>
                  <a:grpFill/>
                  <a:ln w="1351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184" name="Group 183">
                <a:extLst>
                  <a:ext uri="{FF2B5EF4-FFF2-40B4-BE49-F238E27FC236}">
                    <a16:creationId xmlns:a16="http://schemas.microsoft.com/office/drawing/2014/main" id="{E83E84B8-F24B-1CC0-10E4-6A6839FB5A7E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5840869" y="296070"/>
                <a:ext cx="797133" cy="797133"/>
                <a:chOff x="4727848" y="1733455"/>
                <a:chExt cx="720080" cy="720080"/>
              </a:xfrm>
            </p:grpSpPr>
            <p:sp>
              <p:nvSpPr>
                <p:cNvPr id="242" name="Oval 241">
                  <a:extLst>
                    <a:ext uri="{FF2B5EF4-FFF2-40B4-BE49-F238E27FC236}">
                      <a16:creationId xmlns:a16="http://schemas.microsoft.com/office/drawing/2014/main" id="{A1FB95EA-3C23-094A-D48A-70716EE55F1B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4727848" y="1733455"/>
                  <a:ext cx="720080" cy="720080"/>
                </a:xfrm>
                <a:prstGeom prst="ellipse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600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Ubuntu"/>
                    <a:ea typeface="+mn-ea"/>
                    <a:cs typeface="+mn-cs"/>
                  </a:endParaRPr>
                </a:p>
              </p:txBody>
            </p:sp>
            <p:grpSp>
              <p:nvGrpSpPr>
                <p:cNvPr id="243" name="Graphic 15">
                  <a:extLst>
                    <a:ext uri="{FF2B5EF4-FFF2-40B4-BE49-F238E27FC236}">
                      <a16:creationId xmlns:a16="http://schemas.microsoft.com/office/drawing/2014/main" id="{C15C0ACA-7700-5A9C-7D32-3CFC985EEF5E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4837843" y="1843468"/>
                  <a:ext cx="492944" cy="498266"/>
                  <a:chOff x="5864412" y="3152586"/>
                  <a:chExt cx="456583" cy="461513"/>
                </a:xfrm>
                <a:solidFill>
                  <a:schemeClr val="bg1"/>
                </a:solidFill>
              </p:grpSpPr>
              <p:sp>
                <p:nvSpPr>
                  <p:cNvPr id="244" name="Freeform: Shape 205">
                    <a:extLst>
                      <a:ext uri="{FF2B5EF4-FFF2-40B4-BE49-F238E27FC236}">
                        <a16:creationId xmlns:a16="http://schemas.microsoft.com/office/drawing/2014/main" id="{316F11F6-06D6-C664-63BE-3548E73B9DE8}"/>
                      </a:ext>
                    </a:extLst>
                  </p:cNvPr>
                  <p:cNvSpPr/>
                  <p:nvPr/>
                </p:nvSpPr>
                <p:spPr>
                  <a:xfrm>
                    <a:off x="5864412" y="3290748"/>
                    <a:ext cx="108983" cy="177097"/>
                  </a:xfrm>
                  <a:custGeom>
                    <a:avLst/>
                    <a:gdLst>
                      <a:gd name="connsiteX0" fmla="*/ 102171 w 108982"/>
                      <a:gd name="connsiteY0" fmla="*/ 183201 h 177097"/>
                      <a:gd name="connsiteX1" fmla="*/ 100128 w 108982"/>
                      <a:gd name="connsiteY1" fmla="*/ 183201 h 177097"/>
                      <a:gd name="connsiteX2" fmla="*/ 0 w 108982"/>
                      <a:gd name="connsiteY2" fmla="*/ 93426 h 177097"/>
                      <a:gd name="connsiteX3" fmla="*/ 113206 w 108982"/>
                      <a:gd name="connsiteY3" fmla="*/ 246 h 177097"/>
                      <a:gd name="connsiteX4" fmla="*/ 121856 w 108982"/>
                      <a:gd name="connsiteY4" fmla="*/ 5218 h 177097"/>
                      <a:gd name="connsiteX5" fmla="*/ 116884 w 108982"/>
                      <a:gd name="connsiteY5" fmla="*/ 13869 h 177097"/>
                      <a:gd name="connsiteX6" fmla="*/ 13623 w 108982"/>
                      <a:gd name="connsiteY6" fmla="*/ 93426 h 177097"/>
                      <a:gd name="connsiteX7" fmla="*/ 104215 w 108982"/>
                      <a:gd name="connsiteY7" fmla="*/ 169714 h 177097"/>
                      <a:gd name="connsiteX8" fmla="*/ 110005 w 108982"/>
                      <a:gd name="connsiteY8" fmla="*/ 177547 h 177097"/>
                      <a:gd name="connsiteX9" fmla="*/ 102171 w 108982"/>
                      <a:gd name="connsiteY9" fmla="*/ 183337 h 1770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08982" h="177097">
                        <a:moveTo>
                          <a:pt x="102171" y="183201"/>
                        </a:moveTo>
                        <a:lnTo>
                          <a:pt x="100128" y="183201"/>
                        </a:lnTo>
                        <a:cubicBezTo>
                          <a:pt x="36509" y="162630"/>
                          <a:pt x="0" y="130072"/>
                          <a:pt x="0" y="93426"/>
                        </a:cubicBezTo>
                        <a:cubicBezTo>
                          <a:pt x="0" y="54601"/>
                          <a:pt x="42367" y="19727"/>
                          <a:pt x="113206" y="246"/>
                        </a:cubicBezTo>
                        <a:cubicBezTo>
                          <a:pt x="116968" y="-770"/>
                          <a:pt x="120841" y="1457"/>
                          <a:pt x="121856" y="5218"/>
                        </a:cubicBezTo>
                        <a:cubicBezTo>
                          <a:pt x="122872" y="8979"/>
                          <a:pt x="120646" y="12852"/>
                          <a:pt x="116884" y="13869"/>
                        </a:cubicBezTo>
                        <a:cubicBezTo>
                          <a:pt x="53129" y="31033"/>
                          <a:pt x="13623" y="61685"/>
                          <a:pt x="13623" y="93426"/>
                        </a:cubicBezTo>
                        <a:cubicBezTo>
                          <a:pt x="13623" y="123260"/>
                          <a:pt x="47544" y="151732"/>
                          <a:pt x="104215" y="169714"/>
                        </a:cubicBezTo>
                        <a:cubicBezTo>
                          <a:pt x="107977" y="170278"/>
                          <a:pt x="110569" y="173786"/>
                          <a:pt x="110005" y="177547"/>
                        </a:cubicBezTo>
                        <a:cubicBezTo>
                          <a:pt x="109440" y="181309"/>
                          <a:pt x="105933" y="183901"/>
                          <a:pt x="102171" y="183337"/>
                        </a:cubicBezTo>
                        <a:close/>
                      </a:path>
                    </a:pathLst>
                  </a:custGeom>
                  <a:grpFill/>
                  <a:ln w="1344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5" name="Freeform: Shape 206">
                    <a:extLst>
                      <a:ext uri="{FF2B5EF4-FFF2-40B4-BE49-F238E27FC236}">
                        <a16:creationId xmlns:a16="http://schemas.microsoft.com/office/drawing/2014/main" id="{472E413B-2C72-D219-0D90-89222A3A89AD}"/>
                      </a:ext>
                    </a:extLst>
                  </p:cNvPr>
                  <p:cNvSpPr/>
                  <p:nvPr/>
                </p:nvSpPr>
                <p:spPr>
                  <a:xfrm>
                    <a:off x="6005243" y="3505116"/>
                    <a:ext cx="177097" cy="108983"/>
                  </a:xfrm>
                  <a:custGeom>
                    <a:avLst/>
                    <a:gdLst>
                      <a:gd name="connsiteX0" fmla="*/ 90757 w 177097"/>
                      <a:gd name="connsiteY0" fmla="*/ 111328 h 108982"/>
                      <a:gd name="connsiteX1" fmla="*/ 302 w 177097"/>
                      <a:gd name="connsiteY1" fmla="*/ 9156 h 108982"/>
                      <a:gd name="connsiteX2" fmla="*/ 5070 w 177097"/>
                      <a:gd name="connsiteY2" fmla="*/ 302 h 108982"/>
                      <a:gd name="connsiteX3" fmla="*/ 13924 w 177097"/>
                      <a:gd name="connsiteY3" fmla="*/ 5070 h 108982"/>
                      <a:gd name="connsiteX4" fmla="*/ 91302 w 177097"/>
                      <a:gd name="connsiteY4" fmla="*/ 97705 h 108982"/>
                      <a:gd name="connsiteX5" fmla="*/ 166909 w 177097"/>
                      <a:gd name="connsiteY5" fmla="*/ 11064 h 108982"/>
                      <a:gd name="connsiteX6" fmla="*/ 175994 w 177097"/>
                      <a:gd name="connsiteY6" fmla="*/ 7864 h 108982"/>
                      <a:gd name="connsiteX7" fmla="*/ 179715 w 177097"/>
                      <a:gd name="connsiteY7" fmla="*/ 15423 h 108982"/>
                      <a:gd name="connsiteX8" fmla="*/ 90757 w 177097"/>
                      <a:gd name="connsiteY8" fmla="*/ 111328 h 10898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77097" h="108982">
                        <a:moveTo>
                          <a:pt x="90757" y="111328"/>
                        </a:moveTo>
                        <a:cubicBezTo>
                          <a:pt x="54112" y="111328"/>
                          <a:pt x="20327" y="73184"/>
                          <a:pt x="302" y="9156"/>
                        </a:cubicBezTo>
                        <a:cubicBezTo>
                          <a:pt x="-826" y="5395"/>
                          <a:pt x="1308" y="1429"/>
                          <a:pt x="5070" y="302"/>
                        </a:cubicBezTo>
                        <a:cubicBezTo>
                          <a:pt x="8831" y="-826"/>
                          <a:pt x="12796" y="1308"/>
                          <a:pt x="13924" y="5070"/>
                        </a:cubicBezTo>
                        <a:cubicBezTo>
                          <a:pt x="32043" y="63103"/>
                          <a:pt x="60923" y="97705"/>
                          <a:pt x="91302" y="97705"/>
                        </a:cubicBezTo>
                        <a:cubicBezTo>
                          <a:pt x="121681" y="97705"/>
                          <a:pt x="148654" y="65283"/>
                          <a:pt x="166909" y="11064"/>
                        </a:cubicBezTo>
                        <a:cubicBezTo>
                          <a:pt x="168534" y="7671"/>
                          <a:pt x="172602" y="6238"/>
                          <a:pt x="175994" y="7864"/>
                        </a:cubicBezTo>
                        <a:cubicBezTo>
                          <a:pt x="178832" y="9222"/>
                          <a:pt x="180368" y="12347"/>
                          <a:pt x="179715" y="15423"/>
                        </a:cubicBezTo>
                        <a:cubicBezTo>
                          <a:pt x="158872" y="76317"/>
                          <a:pt x="126313" y="111328"/>
                          <a:pt x="90757" y="111328"/>
                        </a:cubicBezTo>
                        <a:close/>
                      </a:path>
                    </a:pathLst>
                  </a:custGeom>
                  <a:grpFill/>
                  <a:ln w="1344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6" name="Freeform: Shape 207">
                    <a:extLst>
                      <a:ext uri="{FF2B5EF4-FFF2-40B4-BE49-F238E27FC236}">
                        <a16:creationId xmlns:a16="http://schemas.microsoft.com/office/drawing/2014/main" id="{FEECF63A-E2AA-718B-ADE6-9790B88743FD}"/>
                      </a:ext>
                    </a:extLst>
                  </p:cNvPr>
                  <p:cNvSpPr/>
                  <p:nvPr/>
                </p:nvSpPr>
                <p:spPr>
                  <a:xfrm>
                    <a:off x="5955995" y="3152586"/>
                    <a:ext cx="245211" cy="299703"/>
                  </a:xfrm>
                  <a:custGeom>
                    <a:avLst/>
                    <a:gdLst>
                      <a:gd name="connsiteX0" fmla="*/ 140005 w 245211"/>
                      <a:gd name="connsiteY0" fmla="*/ 0 h 299702"/>
                      <a:gd name="connsiteX1" fmla="*/ 31023 w 245211"/>
                      <a:gd name="connsiteY1" fmla="*/ 231589 h 299702"/>
                      <a:gd name="connsiteX2" fmla="*/ 33883 w 245211"/>
                      <a:gd name="connsiteY2" fmla="*/ 282129 h 299702"/>
                      <a:gd name="connsiteX3" fmla="*/ 11542 w 245211"/>
                      <a:gd name="connsiteY3" fmla="*/ 261014 h 299702"/>
                      <a:gd name="connsiteX4" fmla="*/ 1870 w 245211"/>
                      <a:gd name="connsiteY4" fmla="*/ 261286 h 299702"/>
                      <a:gd name="connsiteX5" fmla="*/ 2142 w 245211"/>
                      <a:gd name="connsiteY5" fmla="*/ 270959 h 299702"/>
                      <a:gd name="connsiteX6" fmla="*/ 37834 w 245211"/>
                      <a:gd name="connsiteY6" fmla="*/ 305016 h 299702"/>
                      <a:gd name="connsiteX7" fmla="*/ 37834 w 245211"/>
                      <a:gd name="connsiteY7" fmla="*/ 305016 h 299702"/>
                      <a:gd name="connsiteX8" fmla="*/ 37834 w 245211"/>
                      <a:gd name="connsiteY8" fmla="*/ 305016 h 299702"/>
                      <a:gd name="connsiteX9" fmla="*/ 38651 w 245211"/>
                      <a:gd name="connsiteY9" fmla="*/ 305016 h 299702"/>
                      <a:gd name="connsiteX10" fmla="*/ 39333 w 245211"/>
                      <a:gd name="connsiteY10" fmla="*/ 305016 h 299702"/>
                      <a:gd name="connsiteX11" fmla="*/ 39333 w 245211"/>
                      <a:gd name="connsiteY11" fmla="*/ 305016 h 299702"/>
                      <a:gd name="connsiteX12" fmla="*/ 40967 w 245211"/>
                      <a:gd name="connsiteY12" fmla="*/ 305016 h 299702"/>
                      <a:gd name="connsiteX13" fmla="*/ 42602 w 245211"/>
                      <a:gd name="connsiteY13" fmla="*/ 305016 h 299702"/>
                      <a:gd name="connsiteX14" fmla="*/ 43419 w 245211"/>
                      <a:gd name="connsiteY14" fmla="*/ 305016 h 299702"/>
                      <a:gd name="connsiteX15" fmla="*/ 44373 w 245211"/>
                      <a:gd name="connsiteY15" fmla="*/ 305016 h 299702"/>
                      <a:gd name="connsiteX16" fmla="*/ 44373 w 245211"/>
                      <a:gd name="connsiteY16" fmla="*/ 305016 h 299702"/>
                      <a:gd name="connsiteX17" fmla="*/ 45599 w 245211"/>
                      <a:gd name="connsiteY17" fmla="*/ 304198 h 299702"/>
                      <a:gd name="connsiteX18" fmla="*/ 45599 w 245211"/>
                      <a:gd name="connsiteY18" fmla="*/ 304198 h 299702"/>
                      <a:gd name="connsiteX19" fmla="*/ 45599 w 245211"/>
                      <a:gd name="connsiteY19" fmla="*/ 304198 h 299702"/>
                      <a:gd name="connsiteX20" fmla="*/ 45599 w 245211"/>
                      <a:gd name="connsiteY20" fmla="*/ 304198 h 299702"/>
                      <a:gd name="connsiteX21" fmla="*/ 75433 w 245211"/>
                      <a:gd name="connsiteY21" fmla="*/ 267962 h 299702"/>
                      <a:gd name="connsiteX22" fmla="*/ 74759 w 245211"/>
                      <a:gd name="connsiteY22" fmla="*/ 258545 h 299702"/>
                      <a:gd name="connsiteX23" fmla="*/ 74616 w 245211"/>
                      <a:gd name="connsiteY23" fmla="*/ 258426 h 299702"/>
                      <a:gd name="connsiteX24" fmla="*/ 64943 w 245211"/>
                      <a:gd name="connsiteY24" fmla="*/ 259243 h 299702"/>
                      <a:gd name="connsiteX25" fmla="*/ 45327 w 245211"/>
                      <a:gd name="connsiteY25" fmla="*/ 283083 h 299702"/>
                      <a:gd name="connsiteX26" fmla="*/ 44645 w 245211"/>
                      <a:gd name="connsiteY26" fmla="*/ 231589 h 299702"/>
                      <a:gd name="connsiteX27" fmla="*/ 140005 w 245211"/>
                      <a:gd name="connsiteY27" fmla="*/ 13623 h 299702"/>
                      <a:gd name="connsiteX28" fmla="*/ 235365 w 245211"/>
                      <a:gd name="connsiteY28" fmla="*/ 231589 h 299702"/>
                      <a:gd name="connsiteX29" fmla="*/ 232777 w 245211"/>
                      <a:gd name="connsiteY29" fmla="*/ 281448 h 299702"/>
                      <a:gd name="connsiteX30" fmla="*/ 238839 w 245211"/>
                      <a:gd name="connsiteY30" fmla="*/ 288934 h 299702"/>
                      <a:gd name="connsiteX31" fmla="*/ 238907 w 245211"/>
                      <a:gd name="connsiteY31" fmla="*/ 288941 h 299702"/>
                      <a:gd name="connsiteX32" fmla="*/ 246400 w 245211"/>
                      <a:gd name="connsiteY32" fmla="*/ 282810 h 299702"/>
                      <a:gd name="connsiteX33" fmla="*/ 248988 w 245211"/>
                      <a:gd name="connsiteY33" fmla="*/ 231589 h 299702"/>
                      <a:gd name="connsiteX34" fmla="*/ 140005 w 245211"/>
                      <a:gd name="connsiteY34" fmla="*/ 0 h 2997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</a:cxnLst>
                    <a:rect l="l" t="t" r="r" b="b"/>
                    <a:pathLst>
                      <a:path w="245211" h="299702">
                        <a:moveTo>
                          <a:pt x="140005" y="0"/>
                        </a:moveTo>
                        <a:cubicBezTo>
                          <a:pt x="78839" y="0"/>
                          <a:pt x="31023" y="101899"/>
                          <a:pt x="31023" y="231589"/>
                        </a:cubicBezTo>
                        <a:cubicBezTo>
                          <a:pt x="31077" y="248474"/>
                          <a:pt x="32032" y="265345"/>
                          <a:pt x="33883" y="282129"/>
                        </a:cubicBezTo>
                        <a:lnTo>
                          <a:pt x="11542" y="261014"/>
                        </a:lnTo>
                        <a:cubicBezTo>
                          <a:pt x="8796" y="258419"/>
                          <a:pt x="4465" y="258540"/>
                          <a:pt x="1870" y="261286"/>
                        </a:cubicBezTo>
                        <a:cubicBezTo>
                          <a:pt x="-726" y="264033"/>
                          <a:pt x="-604" y="268363"/>
                          <a:pt x="2142" y="270959"/>
                        </a:cubicBezTo>
                        <a:lnTo>
                          <a:pt x="37834" y="305016"/>
                        </a:lnTo>
                        <a:lnTo>
                          <a:pt x="37834" y="305016"/>
                        </a:lnTo>
                        <a:lnTo>
                          <a:pt x="37834" y="305016"/>
                        </a:lnTo>
                        <a:lnTo>
                          <a:pt x="38651" y="305016"/>
                        </a:lnTo>
                        <a:lnTo>
                          <a:pt x="39333" y="305016"/>
                        </a:lnTo>
                        <a:lnTo>
                          <a:pt x="39333" y="305016"/>
                        </a:lnTo>
                        <a:lnTo>
                          <a:pt x="40967" y="305016"/>
                        </a:lnTo>
                        <a:lnTo>
                          <a:pt x="42602" y="305016"/>
                        </a:lnTo>
                        <a:lnTo>
                          <a:pt x="43419" y="305016"/>
                        </a:lnTo>
                        <a:lnTo>
                          <a:pt x="44373" y="305016"/>
                        </a:lnTo>
                        <a:lnTo>
                          <a:pt x="44373" y="305016"/>
                        </a:lnTo>
                        <a:lnTo>
                          <a:pt x="45599" y="304198"/>
                        </a:lnTo>
                        <a:lnTo>
                          <a:pt x="45599" y="304198"/>
                        </a:lnTo>
                        <a:lnTo>
                          <a:pt x="45599" y="304198"/>
                        </a:lnTo>
                        <a:lnTo>
                          <a:pt x="45599" y="304198"/>
                        </a:lnTo>
                        <a:lnTo>
                          <a:pt x="75433" y="267962"/>
                        </a:lnTo>
                        <a:cubicBezTo>
                          <a:pt x="77847" y="265176"/>
                          <a:pt x="77545" y="260959"/>
                          <a:pt x="74759" y="258545"/>
                        </a:cubicBezTo>
                        <a:cubicBezTo>
                          <a:pt x="74711" y="258505"/>
                          <a:pt x="74663" y="258465"/>
                          <a:pt x="74616" y="258426"/>
                        </a:cubicBezTo>
                        <a:cubicBezTo>
                          <a:pt x="71705" y="256027"/>
                          <a:pt x="67411" y="256390"/>
                          <a:pt x="64943" y="259243"/>
                        </a:cubicBezTo>
                        <a:lnTo>
                          <a:pt x="45327" y="283083"/>
                        </a:lnTo>
                        <a:cubicBezTo>
                          <a:pt x="44194" y="265943"/>
                          <a:pt x="43967" y="248753"/>
                          <a:pt x="44645" y="231589"/>
                        </a:cubicBezTo>
                        <a:cubicBezTo>
                          <a:pt x="44645" y="113342"/>
                          <a:pt x="88239" y="13623"/>
                          <a:pt x="140005" y="13623"/>
                        </a:cubicBezTo>
                        <a:cubicBezTo>
                          <a:pt x="191772" y="13623"/>
                          <a:pt x="235365" y="113615"/>
                          <a:pt x="235365" y="231589"/>
                        </a:cubicBezTo>
                        <a:cubicBezTo>
                          <a:pt x="235335" y="248241"/>
                          <a:pt x="234472" y="264881"/>
                          <a:pt x="232777" y="281448"/>
                        </a:cubicBezTo>
                        <a:cubicBezTo>
                          <a:pt x="232383" y="285189"/>
                          <a:pt x="235098" y="288542"/>
                          <a:pt x="238839" y="288934"/>
                        </a:cubicBezTo>
                        <a:cubicBezTo>
                          <a:pt x="238862" y="288937"/>
                          <a:pt x="238884" y="288938"/>
                          <a:pt x="238907" y="288941"/>
                        </a:cubicBezTo>
                        <a:cubicBezTo>
                          <a:pt x="242629" y="289189"/>
                          <a:pt x="245905" y="286508"/>
                          <a:pt x="246400" y="282810"/>
                        </a:cubicBezTo>
                        <a:cubicBezTo>
                          <a:pt x="248035" y="266191"/>
                          <a:pt x="248988" y="248890"/>
                          <a:pt x="248988" y="231589"/>
                        </a:cubicBezTo>
                        <a:cubicBezTo>
                          <a:pt x="248988" y="101899"/>
                          <a:pt x="200763" y="0"/>
                          <a:pt x="140005" y="0"/>
                        </a:cubicBezTo>
                        <a:close/>
                      </a:path>
                    </a:pathLst>
                  </a:custGeom>
                  <a:grpFill/>
                  <a:ln w="1344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7" name="Freeform: Shape 208">
                    <a:extLst>
                      <a:ext uri="{FF2B5EF4-FFF2-40B4-BE49-F238E27FC236}">
                        <a16:creationId xmlns:a16="http://schemas.microsoft.com/office/drawing/2014/main" id="{51D05CB5-CB4E-443D-2004-4B57D596D124}"/>
                      </a:ext>
                    </a:extLst>
                  </p:cNvPr>
                  <p:cNvSpPr/>
                  <p:nvPr/>
                </p:nvSpPr>
                <p:spPr>
                  <a:xfrm>
                    <a:off x="6034915" y="3293570"/>
                    <a:ext cx="286080" cy="217966"/>
                  </a:xfrm>
                  <a:custGeom>
                    <a:avLst/>
                    <a:gdLst>
                      <a:gd name="connsiteX0" fmla="*/ 188732 w 286079"/>
                      <a:gd name="connsiteY0" fmla="*/ 285 h 217965"/>
                      <a:gd name="connsiteX1" fmla="*/ 180286 w 286079"/>
                      <a:gd name="connsiteY1" fmla="*/ 4781 h 217965"/>
                      <a:gd name="connsiteX2" fmla="*/ 184781 w 286079"/>
                      <a:gd name="connsiteY2" fmla="*/ 13363 h 217965"/>
                      <a:gd name="connsiteX3" fmla="*/ 279051 w 286079"/>
                      <a:gd name="connsiteY3" fmla="*/ 90605 h 217965"/>
                      <a:gd name="connsiteX4" fmla="*/ 61086 w 286079"/>
                      <a:gd name="connsiteY4" fmla="*/ 185965 h 217965"/>
                      <a:gd name="connsiteX5" fmla="*/ 22942 w 286079"/>
                      <a:gd name="connsiteY5" fmla="*/ 184194 h 217965"/>
                      <a:gd name="connsiteX6" fmla="*/ 47463 w 286079"/>
                      <a:gd name="connsiteY6" fmla="*/ 165122 h 217965"/>
                      <a:gd name="connsiteX7" fmla="*/ 49277 w 286079"/>
                      <a:gd name="connsiteY7" fmla="*/ 155662 h 217965"/>
                      <a:gd name="connsiteX8" fmla="*/ 39818 w 286079"/>
                      <a:gd name="connsiteY8" fmla="*/ 153846 h 217965"/>
                      <a:gd name="connsiteX9" fmla="*/ 39153 w 286079"/>
                      <a:gd name="connsiteY9" fmla="*/ 154360 h 217965"/>
                      <a:gd name="connsiteX10" fmla="*/ 736 w 286079"/>
                      <a:gd name="connsiteY10" fmla="*/ 184194 h 217965"/>
                      <a:gd name="connsiteX11" fmla="*/ 736 w 286079"/>
                      <a:gd name="connsiteY11" fmla="*/ 184194 h 217965"/>
                      <a:gd name="connsiteX12" fmla="*/ 736 w 286079"/>
                      <a:gd name="connsiteY12" fmla="*/ 184194 h 217965"/>
                      <a:gd name="connsiteX13" fmla="*/ 736 w 286079"/>
                      <a:gd name="connsiteY13" fmla="*/ 184194 h 217965"/>
                      <a:gd name="connsiteX14" fmla="*/ 736 w 286079"/>
                      <a:gd name="connsiteY14" fmla="*/ 184875 h 217965"/>
                      <a:gd name="connsiteX15" fmla="*/ 55 w 286079"/>
                      <a:gd name="connsiteY15" fmla="*/ 184875 h 217965"/>
                      <a:gd name="connsiteX16" fmla="*/ 55 w 286079"/>
                      <a:gd name="connsiteY16" fmla="*/ 185965 h 217965"/>
                      <a:gd name="connsiteX17" fmla="*/ 55 w 286079"/>
                      <a:gd name="connsiteY17" fmla="*/ 186782 h 217965"/>
                      <a:gd name="connsiteX18" fmla="*/ 55 w 286079"/>
                      <a:gd name="connsiteY18" fmla="*/ 186782 h 217965"/>
                      <a:gd name="connsiteX19" fmla="*/ 55 w 286079"/>
                      <a:gd name="connsiteY19" fmla="*/ 186782 h 217965"/>
                      <a:gd name="connsiteX20" fmla="*/ 55 w 286079"/>
                      <a:gd name="connsiteY20" fmla="*/ 188008 h 217965"/>
                      <a:gd name="connsiteX21" fmla="*/ 55 w 286079"/>
                      <a:gd name="connsiteY21" fmla="*/ 188962 h 217965"/>
                      <a:gd name="connsiteX22" fmla="*/ 55 w 286079"/>
                      <a:gd name="connsiteY22" fmla="*/ 188962 h 217965"/>
                      <a:gd name="connsiteX23" fmla="*/ 55 w 286079"/>
                      <a:gd name="connsiteY23" fmla="*/ 190052 h 217965"/>
                      <a:gd name="connsiteX24" fmla="*/ 55 w 286079"/>
                      <a:gd name="connsiteY24" fmla="*/ 190052 h 217965"/>
                      <a:gd name="connsiteX25" fmla="*/ 55 w 286079"/>
                      <a:gd name="connsiteY25" fmla="*/ 190733 h 217965"/>
                      <a:gd name="connsiteX26" fmla="*/ 55 w 286079"/>
                      <a:gd name="connsiteY26" fmla="*/ 190733 h 217965"/>
                      <a:gd name="connsiteX27" fmla="*/ 55 w 286079"/>
                      <a:gd name="connsiteY27" fmla="*/ 190733 h 217965"/>
                      <a:gd name="connsiteX28" fmla="*/ 55 w 286079"/>
                      <a:gd name="connsiteY28" fmla="*/ 190733 h 217965"/>
                      <a:gd name="connsiteX29" fmla="*/ 35747 w 286079"/>
                      <a:gd name="connsiteY29" fmla="*/ 224381 h 217965"/>
                      <a:gd name="connsiteX30" fmla="*/ 40379 w 286079"/>
                      <a:gd name="connsiteY30" fmla="*/ 226152 h 217965"/>
                      <a:gd name="connsiteX31" fmla="*/ 45283 w 286079"/>
                      <a:gd name="connsiteY31" fmla="*/ 224109 h 217965"/>
                      <a:gd name="connsiteX32" fmla="*/ 45323 w 286079"/>
                      <a:gd name="connsiteY32" fmla="*/ 214476 h 217965"/>
                      <a:gd name="connsiteX33" fmla="*/ 45283 w 286079"/>
                      <a:gd name="connsiteY33" fmla="*/ 214437 h 217965"/>
                      <a:gd name="connsiteX34" fmla="*/ 23895 w 286079"/>
                      <a:gd name="connsiteY34" fmla="*/ 194139 h 217965"/>
                      <a:gd name="connsiteX35" fmla="*/ 61086 w 286079"/>
                      <a:gd name="connsiteY35" fmla="*/ 195773 h 217965"/>
                      <a:gd name="connsiteX36" fmla="*/ 292674 w 286079"/>
                      <a:gd name="connsiteY36" fmla="*/ 87608 h 217965"/>
                      <a:gd name="connsiteX37" fmla="*/ 188732 w 286079"/>
                      <a:gd name="connsiteY37" fmla="*/ 285 h 21796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</a:cxnLst>
                    <a:rect l="l" t="t" r="r" b="b"/>
                    <a:pathLst>
                      <a:path w="286079" h="217965">
                        <a:moveTo>
                          <a:pt x="188732" y="285"/>
                        </a:moveTo>
                        <a:cubicBezTo>
                          <a:pt x="185161" y="-779"/>
                          <a:pt x="181397" y="1224"/>
                          <a:pt x="180286" y="4781"/>
                        </a:cubicBezTo>
                        <a:cubicBezTo>
                          <a:pt x="179213" y="8387"/>
                          <a:pt x="181206" y="12192"/>
                          <a:pt x="184781" y="13363"/>
                        </a:cubicBezTo>
                        <a:cubicBezTo>
                          <a:pt x="243768" y="31345"/>
                          <a:pt x="279051" y="60226"/>
                          <a:pt x="279051" y="90605"/>
                        </a:cubicBezTo>
                        <a:cubicBezTo>
                          <a:pt x="279051" y="141963"/>
                          <a:pt x="179196" y="185965"/>
                          <a:pt x="61086" y="185965"/>
                        </a:cubicBezTo>
                        <a:cubicBezTo>
                          <a:pt x="48144" y="185965"/>
                          <a:pt x="35475" y="185284"/>
                          <a:pt x="22942" y="184194"/>
                        </a:cubicBezTo>
                        <a:lnTo>
                          <a:pt x="47463" y="165122"/>
                        </a:lnTo>
                        <a:cubicBezTo>
                          <a:pt x="50577" y="163010"/>
                          <a:pt x="51389" y="158775"/>
                          <a:pt x="49277" y="155662"/>
                        </a:cubicBezTo>
                        <a:cubicBezTo>
                          <a:pt x="47167" y="152548"/>
                          <a:pt x="42930" y="151736"/>
                          <a:pt x="39818" y="153846"/>
                        </a:cubicBezTo>
                        <a:cubicBezTo>
                          <a:pt x="39586" y="154004"/>
                          <a:pt x="39364" y="154175"/>
                          <a:pt x="39153" y="154360"/>
                        </a:cubicBezTo>
                        <a:lnTo>
                          <a:pt x="736" y="184194"/>
                        </a:lnTo>
                        <a:lnTo>
                          <a:pt x="736" y="184194"/>
                        </a:lnTo>
                        <a:lnTo>
                          <a:pt x="736" y="184194"/>
                        </a:lnTo>
                        <a:lnTo>
                          <a:pt x="736" y="184194"/>
                        </a:lnTo>
                        <a:cubicBezTo>
                          <a:pt x="736" y="184194"/>
                          <a:pt x="736" y="184194"/>
                          <a:pt x="736" y="184875"/>
                        </a:cubicBezTo>
                        <a:cubicBezTo>
                          <a:pt x="736" y="185556"/>
                          <a:pt x="736" y="184875"/>
                          <a:pt x="55" y="184875"/>
                        </a:cubicBezTo>
                        <a:lnTo>
                          <a:pt x="55" y="185965"/>
                        </a:lnTo>
                        <a:cubicBezTo>
                          <a:pt x="114" y="186235"/>
                          <a:pt x="114" y="186512"/>
                          <a:pt x="55" y="186782"/>
                        </a:cubicBezTo>
                        <a:lnTo>
                          <a:pt x="55" y="186782"/>
                        </a:lnTo>
                        <a:cubicBezTo>
                          <a:pt x="55" y="186782"/>
                          <a:pt x="55" y="186782"/>
                          <a:pt x="55" y="186782"/>
                        </a:cubicBezTo>
                        <a:lnTo>
                          <a:pt x="55" y="188008"/>
                        </a:lnTo>
                        <a:cubicBezTo>
                          <a:pt x="55" y="188008"/>
                          <a:pt x="55" y="188008"/>
                          <a:pt x="55" y="188962"/>
                        </a:cubicBezTo>
                        <a:lnTo>
                          <a:pt x="55" y="188962"/>
                        </a:lnTo>
                        <a:cubicBezTo>
                          <a:pt x="-18" y="189321"/>
                          <a:pt x="-18" y="189692"/>
                          <a:pt x="55" y="190052"/>
                        </a:cubicBezTo>
                        <a:lnTo>
                          <a:pt x="55" y="190052"/>
                        </a:lnTo>
                        <a:cubicBezTo>
                          <a:pt x="12" y="190276"/>
                          <a:pt x="12" y="190508"/>
                          <a:pt x="55" y="190733"/>
                        </a:cubicBezTo>
                        <a:lnTo>
                          <a:pt x="55" y="190733"/>
                        </a:lnTo>
                        <a:lnTo>
                          <a:pt x="55" y="190733"/>
                        </a:lnTo>
                        <a:lnTo>
                          <a:pt x="55" y="190733"/>
                        </a:lnTo>
                        <a:lnTo>
                          <a:pt x="35747" y="224381"/>
                        </a:lnTo>
                        <a:cubicBezTo>
                          <a:pt x="36999" y="225557"/>
                          <a:pt x="38662" y="226193"/>
                          <a:pt x="40379" y="226152"/>
                        </a:cubicBezTo>
                        <a:cubicBezTo>
                          <a:pt x="42226" y="226179"/>
                          <a:pt x="44001" y="225440"/>
                          <a:pt x="45283" y="224109"/>
                        </a:cubicBezTo>
                        <a:cubicBezTo>
                          <a:pt x="47954" y="221459"/>
                          <a:pt x="47972" y="217148"/>
                          <a:pt x="45323" y="214476"/>
                        </a:cubicBezTo>
                        <a:cubicBezTo>
                          <a:pt x="45309" y="214462"/>
                          <a:pt x="45297" y="214450"/>
                          <a:pt x="45283" y="214437"/>
                        </a:cubicBezTo>
                        <a:lnTo>
                          <a:pt x="23895" y="194139"/>
                        </a:lnTo>
                        <a:cubicBezTo>
                          <a:pt x="36156" y="195092"/>
                          <a:pt x="48553" y="195773"/>
                          <a:pt x="61086" y="195773"/>
                        </a:cubicBezTo>
                        <a:cubicBezTo>
                          <a:pt x="190911" y="195773"/>
                          <a:pt x="292674" y="148229"/>
                          <a:pt x="292674" y="87608"/>
                        </a:cubicBezTo>
                        <a:cubicBezTo>
                          <a:pt x="292674" y="53959"/>
                          <a:pt x="253849" y="20175"/>
                          <a:pt x="188732" y="285"/>
                        </a:cubicBezTo>
                        <a:close/>
                      </a:path>
                    </a:pathLst>
                  </a:custGeom>
                  <a:grpFill/>
                  <a:ln w="1344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185" name="Group 184">
                <a:extLst>
                  <a:ext uri="{FF2B5EF4-FFF2-40B4-BE49-F238E27FC236}">
                    <a16:creationId xmlns:a16="http://schemas.microsoft.com/office/drawing/2014/main" id="{19442F6F-7D9E-185D-3016-1479A44E7731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6571133" y="620632"/>
                <a:ext cx="1061486" cy="1061486"/>
                <a:chOff x="6672064" y="1733455"/>
                <a:chExt cx="720080" cy="720080"/>
              </a:xfrm>
            </p:grpSpPr>
            <p:sp>
              <p:nvSpPr>
                <p:cNvPr id="229" name="Oval 228">
                  <a:extLst>
                    <a:ext uri="{FF2B5EF4-FFF2-40B4-BE49-F238E27FC236}">
                      <a16:creationId xmlns:a16="http://schemas.microsoft.com/office/drawing/2014/main" id="{C5EDB74D-7327-5540-54B7-7F5385500D7D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6672064" y="1733455"/>
                  <a:ext cx="720080" cy="720080"/>
                </a:xfrm>
                <a:prstGeom prst="ellipse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600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Ubuntu"/>
                    <a:ea typeface="+mn-ea"/>
                    <a:cs typeface="+mn-cs"/>
                  </a:endParaRPr>
                </a:p>
              </p:txBody>
            </p:sp>
            <p:grpSp>
              <p:nvGrpSpPr>
                <p:cNvPr id="230" name="Graphic 2">
                  <a:extLst>
                    <a:ext uri="{FF2B5EF4-FFF2-40B4-BE49-F238E27FC236}">
                      <a16:creationId xmlns:a16="http://schemas.microsoft.com/office/drawing/2014/main" id="{3B697DA6-EFAD-3A6F-574A-8F3CD1E9C1AE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6786818" y="1849198"/>
                  <a:ext cx="477295" cy="489527"/>
                  <a:chOff x="5864386" y="3153510"/>
                  <a:chExt cx="450670" cy="462223"/>
                </a:xfrm>
                <a:solidFill>
                  <a:schemeClr val="bg1"/>
                </a:solidFill>
              </p:grpSpPr>
              <p:sp>
                <p:nvSpPr>
                  <p:cNvPr id="231" name="Freeform: Shape 192">
                    <a:extLst>
                      <a:ext uri="{FF2B5EF4-FFF2-40B4-BE49-F238E27FC236}">
                        <a16:creationId xmlns:a16="http://schemas.microsoft.com/office/drawing/2014/main" id="{236F669D-DF71-87B7-5A11-90126B57291A}"/>
                      </a:ext>
                    </a:extLst>
                  </p:cNvPr>
                  <p:cNvSpPr/>
                  <p:nvPr/>
                </p:nvSpPr>
                <p:spPr>
                  <a:xfrm>
                    <a:off x="6151582" y="3438908"/>
                    <a:ext cx="163474" cy="163474"/>
                  </a:xfrm>
                  <a:custGeom>
                    <a:avLst/>
                    <a:gdLst>
                      <a:gd name="connsiteX0" fmla="*/ 175054 w 163474"/>
                      <a:gd name="connsiteY0" fmla="*/ 44032 h 163474"/>
                      <a:gd name="connsiteX1" fmla="*/ 174236 w 163474"/>
                      <a:gd name="connsiteY1" fmla="*/ 43214 h 163474"/>
                      <a:gd name="connsiteX2" fmla="*/ 172738 w 163474"/>
                      <a:gd name="connsiteY2" fmla="*/ 41580 h 163474"/>
                      <a:gd name="connsiteX3" fmla="*/ 172738 w 163474"/>
                      <a:gd name="connsiteY3" fmla="*/ 41580 h 163474"/>
                      <a:gd name="connsiteX4" fmla="*/ 172738 w 163474"/>
                      <a:gd name="connsiteY4" fmla="*/ 41580 h 163474"/>
                      <a:gd name="connsiteX5" fmla="*/ 91001 w 163474"/>
                      <a:gd name="connsiteY5" fmla="*/ 711 h 163474"/>
                      <a:gd name="connsiteX6" fmla="*/ 85007 w 163474"/>
                      <a:gd name="connsiteY6" fmla="*/ 711 h 163474"/>
                      <a:gd name="connsiteX7" fmla="*/ 51631 w 163474"/>
                      <a:gd name="connsiteY7" fmla="*/ 17331 h 163474"/>
                      <a:gd name="connsiteX8" fmla="*/ 48906 w 163474"/>
                      <a:gd name="connsiteY8" fmla="*/ 11337 h 163474"/>
                      <a:gd name="connsiteX9" fmla="*/ 40078 w 163474"/>
                      <a:gd name="connsiteY9" fmla="*/ 7991 h 163474"/>
                      <a:gd name="connsiteX10" fmla="*/ 39915 w 163474"/>
                      <a:gd name="connsiteY10" fmla="*/ 8067 h 163474"/>
                      <a:gd name="connsiteX11" fmla="*/ 36509 w 163474"/>
                      <a:gd name="connsiteY11" fmla="*/ 17059 h 163474"/>
                      <a:gd name="connsiteX12" fmla="*/ 39506 w 163474"/>
                      <a:gd name="connsiteY12" fmla="*/ 23461 h 163474"/>
                      <a:gd name="connsiteX13" fmla="*/ 3269 w 163474"/>
                      <a:gd name="connsiteY13" fmla="*/ 41580 h 163474"/>
                      <a:gd name="connsiteX14" fmla="*/ 3269 w 163474"/>
                      <a:gd name="connsiteY14" fmla="*/ 41580 h 163474"/>
                      <a:gd name="connsiteX15" fmla="*/ 3269 w 163474"/>
                      <a:gd name="connsiteY15" fmla="*/ 41580 h 163474"/>
                      <a:gd name="connsiteX16" fmla="*/ 1771 w 163474"/>
                      <a:gd name="connsiteY16" fmla="*/ 43214 h 163474"/>
                      <a:gd name="connsiteX17" fmla="*/ 954 w 163474"/>
                      <a:gd name="connsiteY17" fmla="*/ 44032 h 163474"/>
                      <a:gd name="connsiteX18" fmla="*/ 0 w 163474"/>
                      <a:gd name="connsiteY18" fmla="*/ 47437 h 163474"/>
                      <a:gd name="connsiteX19" fmla="*/ 0 w 163474"/>
                      <a:gd name="connsiteY19" fmla="*/ 129175 h 163474"/>
                      <a:gd name="connsiteX20" fmla="*/ 3814 w 163474"/>
                      <a:gd name="connsiteY20" fmla="*/ 135305 h 163474"/>
                      <a:gd name="connsiteX21" fmla="*/ 85552 w 163474"/>
                      <a:gd name="connsiteY21" fmla="*/ 176173 h 163474"/>
                      <a:gd name="connsiteX22" fmla="*/ 91546 w 163474"/>
                      <a:gd name="connsiteY22" fmla="*/ 176173 h 163474"/>
                      <a:gd name="connsiteX23" fmla="*/ 173283 w 163474"/>
                      <a:gd name="connsiteY23" fmla="*/ 135305 h 163474"/>
                      <a:gd name="connsiteX24" fmla="*/ 176007 w 163474"/>
                      <a:gd name="connsiteY24" fmla="*/ 129175 h 163474"/>
                      <a:gd name="connsiteX25" fmla="*/ 176007 w 163474"/>
                      <a:gd name="connsiteY25" fmla="*/ 47437 h 163474"/>
                      <a:gd name="connsiteX26" fmla="*/ 175054 w 163474"/>
                      <a:gd name="connsiteY26" fmla="*/ 44032 h 163474"/>
                      <a:gd name="connsiteX27" fmla="*/ 87459 w 163474"/>
                      <a:gd name="connsiteY27" fmla="*/ 14198 h 163474"/>
                      <a:gd name="connsiteX28" fmla="*/ 153938 w 163474"/>
                      <a:gd name="connsiteY28" fmla="*/ 47437 h 163474"/>
                      <a:gd name="connsiteX29" fmla="*/ 87459 w 163474"/>
                      <a:gd name="connsiteY29" fmla="*/ 80677 h 163474"/>
                      <a:gd name="connsiteX30" fmla="*/ 20979 w 163474"/>
                      <a:gd name="connsiteY30" fmla="*/ 47437 h 163474"/>
                      <a:gd name="connsiteX31" fmla="*/ 12533 w 163474"/>
                      <a:gd name="connsiteY31" fmla="*/ 58472 h 163474"/>
                      <a:gd name="connsiteX32" fmla="*/ 80647 w 163474"/>
                      <a:gd name="connsiteY32" fmla="*/ 92529 h 163474"/>
                      <a:gd name="connsiteX33" fmla="*/ 80647 w 163474"/>
                      <a:gd name="connsiteY33" fmla="*/ 159009 h 163474"/>
                      <a:gd name="connsiteX34" fmla="*/ 12533 w 163474"/>
                      <a:gd name="connsiteY34" fmla="*/ 124952 h 163474"/>
                      <a:gd name="connsiteX35" fmla="*/ 94270 w 163474"/>
                      <a:gd name="connsiteY35" fmla="*/ 159009 h 163474"/>
                      <a:gd name="connsiteX36" fmla="*/ 94270 w 163474"/>
                      <a:gd name="connsiteY36" fmla="*/ 92529 h 163474"/>
                      <a:gd name="connsiteX37" fmla="*/ 162384 w 163474"/>
                      <a:gd name="connsiteY37" fmla="*/ 58472 h 163474"/>
                      <a:gd name="connsiteX38" fmla="*/ 162384 w 163474"/>
                      <a:gd name="connsiteY38" fmla="*/ 124952 h 1634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</a:cxnLst>
                    <a:rect l="l" t="t" r="r" b="b"/>
                    <a:pathLst>
                      <a:path w="163474" h="163474">
                        <a:moveTo>
                          <a:pt x="175054" y="44032"/>
                        </a:moveTo>
                        <a:lnTo>
                          <a:pt x="174236" y="43214"/>
                        </a:lnTo>
                        <a:cubicBezTo>
                          <a:pt x="173851" y="42576"/>
                          <a:pt x="173341" y="42018"/>
                          <a:pt x="172738" y="41580"/>
                        </a:cubicBezTo>
                        <a:lnTo>
                          <a:pt x="172738" y="41580"/>
                        </a:lnTo>
                        <a:lnTo>
                          <a:pt x="172738" y="41580"/>
                        </a:lnTo>
                        <a:lnTo>
                          <a:pt x="91001" y="711"/>
                        </a:lnTo>
                        <a:cubicBezTo>
                          <a:pt x="89115" y="-237"/>
                          <a:pt x="86892" y="-237"/>
                          <a:pt x="85007" y="711"/>
                        </a:cubicBezTo>
                        <a:lnTo>
                          <a:pt x="51631" y="17331"/>
                        </a:lnTo>
                        <a:lnTo>
                          <a:pt x="48906" y="11337"/>
                        </a:lnTo>
                        <a:cubicBezTo>
                          <a:pt x="47393" y="7975"/>
                          <a:pt x="43441" y="6478"/>
                          <a:pt x="40078" y="7991"/>
                        </a:cubicBezTo>
                        <a:cubicBezTo>
                          <a:pt x="40024" y="8016"/>
                          <a:pt x="39969" y="8042"/>
                          <a:pt x="39915" y="8067"/>
                        </a:cubicBezTo>
                        <a:cubicBezTo>
                          <a:pt x="36497" y="9615"/>
                          <a:pt x="34974" y="13635"/>
                          <a:pt x="36509" y="17059"/>
                        </a:cubicBezTo>
                        <a:lnTo>
                          <a:pt x="39506" y="23461"/>
                        </a:lnTo>
                        <a:lnTo>
                          <a:pt x="3269" y="41580"/>
                        </a:lnTo>
                        <a:lnTo>
                          <a:pt x="3269" y="41580"/>
                        </a:lnTo>
                        <a:lnTo>
                          <a:pt x="3269" y="41580"/>
                        </a:lnTo>
                        <a:cubicBezTo>
                          <a:pt x="2666" y="42018"/>
                          <a:pt x="2157" y="42574"/>
                          <a:pt x="1771" y="43214"/>
                        </a:cubicBezTo>
                        <a:cubicBezTo>
                          <a:pt x="1466" y="43451"/>
                          <a:pt x="1191" y="43727"/>
                          <a:pt x="954" y="44032"/>
                        </a:cubicBezTo>
                        <a:cubicBezTo>
                          <a:pt x="353" y="45068"/>
                          <a:pt x="25" y="46240"/>
                          <a:pt x="0" y="47437"/>
                        </a:cubicBezTo>
                        <a:lnTo>
                          <a:pt x="0" y="129175"/>
                        </a:lnTo>
                        <a:cubicBezTo>
                          <a:pt x="26" y="131770"/>
                          <a:pt x="1497" y="134135"/>
                          <a:pt x="3814" y="135305"/>
                        </a:cubicBezTo>
                        <a:lnTo>
                          <a:pt x="85552" y="176173"/>
                        </a:lnTo>
                        <a:cubicBezTo>
                          <a:pt x="87446" y="177079"/>
                          <a:pt x="89651" y="177079"/>
                          <a:pt x="91546" y="176173"/>
                        </a:cubicBezTo>
                        <a:lnTo>
                          <a:pt x="173283" y="135305"/>
                        </a:lnTo>
                        <a:cubicBezTo>
                          <a:pt x="175183" y="133865"/>
                          <a:pt x="176212" y="131550"/>
                          <a:pt x="176007" y="129175"/>
                        </a:cubicBezTo>
                        <a:lnTo>
                          <a:pt x="176007" y="47437"/>
                        </a:lnTo>
                        <a:cubicBezTo>
                          <a:pt x="175983" y="46240"/>
                          <a:pt x="175654" y="45068"/>
                          <a:pt x="175054" y="44032"/>
                        </a:cubicBezTo>
                        <a:close/>
                        <a:moveTo>
                          <a:pt x="87459" y="14198"/>
                        </a:moveTo>
                        <a:lnTo>
                          <a:pt x="153938" y="47437"/>
                        </a:lnTo>
                        <a:lnTo>
                          <a:pt x="87459" y="80677"/>
                        </a:lnTo>
                        <a:lnTo>
                          <a:pt x="20979" y="47437"/>
                        </a:lnTo>
                        <a:close/>
                        <a:moveTo>
                          <a:pt x="12533" y="58472"/>
                        </a:moveTo>
                        <a:lnTo>
                          <a:pt x="80647" y="92529"/>
                        </a:lnTo>
                        <a:lnTo>
                          <a:pt x="80647" y="159009"/>
                        </a:lnTo>
                        <a:lnTo>
                          <a:pt x="12533" y="124952"/>
                        </a:lnTo>
                        <a:close/>
                        <a:moveTo>
                          <a:pt x="94270" y="159009"/>
                        </a:moveTo>
                        <a:lnTo>
                          <a:pt x="94270" y="92529"/>
                        </a:lnTo>
                        <a:lnTo>
                          <a:pt x="162384" y="58472"/>
                        </a:lnTo>
                        <a:lnTo>
                          <a:pt x="162384" y="124952"/>
                        </a:lnTo>
                        <a:close/>
                      </a:path>
                    </a:pathLst>
                  </a:custGeom>
                  <a:grpFill/>
                  <a:ln w="1344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2" name="Freeform: Shape 193">
                    <a:extLst>
                      <a:ext uri="{FF2B5EF4-FFF2-40B4-BE49-F238E27FC236}">
                        <a16:creationId xmlns:a16="http://schemas.microsoft.com/office/drawing/2014/main" id="{E5BEB6C5-405B-069E-8F25-CC3F72DC0BEE}"/>
                      </a:ext>
                    </a:extLst>
                  </p:cNvPr>
                  <p:cNvSpPr/>
                  <p:nvPr/>
                </p:nvSpPr>
                <p:spPr>
                  <a:xfrm>
                    <a:off x="6018741" y="3374492"/>
                    <a:ext cx="13623" cy="13623"/>
                  </a:xfrm>
                  <a:custGeom>
                    <a:avLst/>
                    <a:gdLst>
                      <a:gd name="connsiteX0" fmla="*/ 6285 w 13622"/>
                      <a:gd name="connsiteY0" fmla="*/ 3825 h 13622"/>
                      <a:gd name="connsiteX1" fmla="*/ 563 w 13622"/>
                      <a:gd name="connsiteY1" fmla="*/ 16221 h 13622"/>
                      <a:gd name="connsiteX2" fmla="*/ 3969 w 13622"/>
                      <a:gd name="connsiteY2" fmla="*/ 25349 h 13622"/>
                      <a:gd name="connsiteX3" fmla="*/ 6830 w 13622"/>
                      <a:gd name="connsiteY3" fmla="*/ 25349 h 13622"/>
                      <a:gd name="connsiteX4" fmla="*/ 12960 w 13622"/>
                      <a:gd name="connsiteY4" fmla="*/ 21398 h 13622"/>
                      <a:gd name="connsiteX5" fmla="*/ 18682 w 13622"/>
                      <a:gd name="connsiteY5" fmla="*/ 9683 h 13622"/>
                      <a:gd name="connsiteX6" fmla="*/ 15276 w 13622"/>
                      <a:gd name="connsiteY6" fmla="*/ 691 h 13622"/>
                      <a:gd name="connsiteX7" fmla="*/ 6335 w 13622"/>
                      <a:gd name="connsiteY7" fmla="*/ 3721 h 13622"/>
                      <a:gd name="connsiteX8" fmla="*/ 6285 w 13622"/>
                      <a:gd name="connsiteY8" fmla="*/ 3825 h 136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3622" h="13622">
                        <a:moveTo>
                          <a:pt x="6285" y="3825"/>
                        </a:moveTo>
                        <a:lnTo>
                          <a:pt x="563" y="16221"/>
                        </a:lnTo>
                        <a:cubicBezTo>
                          <a:pt x="-905" y="19686"/>
                          <a:pt x="591" y="23694"/>
                          <a:pt x="3969" y="25349"/>
                        </a:cubicBezTo>
                        <a:cubicBezTo>
                          <a:pt x="4912" y="25556"/>
                          <a:pt x="5887" y="25556"/>
                          <a:pt x="6830" y="25349"/>
                        </a:cubicBezTo>
                        <a:cubicBezTo>
                          <a:pt x="9466" y="25328"/>
                          <a:pt x="11853" y="23790"/>
                          <a:pt x="12960" y="21398"/>
                        </a:cubicBezTo>
                        <a:lnTo>
                          <a:pt x="18682" y="9683"/>
                        </a:lnTo>
                        <a:cubicBezTo>
                          <a:pt x="20217" y="6259"/>
                          <a:pt x="18694" y="2239"/>
                          <a:pt x="15276" y="691"/>
                        </a:cubicBezTo>
                        <a:cubicBezTo>
                          <a:pt x="11971" y="-941"/>
                          <a:pt x="7967" y="415"/>
                          <a:pt x="6335" y="3721"/>
                        </a:cubicBezTo>
                        <a:cubicBezTo>
                          <a:pt x="6318" y="3755"/>
                          <a:pt x="6301" y="3789"/>
                          <a:pt x="6285" y="3825"/>
                        </a:cubicBezTo>
                        <a:close/>
                      </a:path>
                    </a:pathLst>
                  </a:custGeom>
                  <a:grpFill/>
                  <a:ln w="1344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3" name="Freeform: Shape 194">
                    <a:extLst>
                      <a:ext uri="{FF2B5EF4-FFF2-40B4-BE49-F238E27FC236}">
                        <a16:creationId xmlns:a16="http://schemas.microsoft.com/office/drawing/2014/main" id="{106EA809-322D-1255-051F-4EC992D0F077}"/>
                      </a:ext>
                    </a:extLst>
                  </p:cNvPr>
                  <p:cNvSpPr/>
                  <p:nvPr/>
                </p:nvSpPr>
                <p:spPr>
                  <a:xfrm>
                    <a:off x="6035802" y="3337293"/>
                    <a:ext cx="13623" cy="13623"/>
                  </a:xfrm>
                  <a:custGeom>
                    <a:avLst/>
                    <a:gdLst>
                      <a:gd name="connsiteX0" fmla="*/ 3936 w 13622"/>
                      <a:gd name="connsiteY0" fmla="*/ 25357 h 13622"/>
                      <a:gd name="connsiteX1" fmla="*/ 6797 w 13622"/>
                      <a:gd name="connsiteY1" fmla="*/ 26038 h 13622"/>
                      <a:gd name="connsiteX2" fmla="*/ 12927 w 13622"/>
                      <a:gd name="connsiteY2" fmla="*/ 22087 h 13622"/>
                      <a:gd name="connsiteX3" fmla="*/ 18649 w 13622"/>
                      <a:gd name="connsiteY3" fmla="*/ 9691 h 13622"/>
                      <a:gd name="connsiteX4" fmla="*/ 15460 w 13622"/>
                      <a:gd name="connsiteY4" fmla="*/ 601 h 13622"/>
                      <a:gd name="connsiteX5" fmla="*/ 15380 w 13622"/>
                      <a:gd name="connsiteY5" fmla="*/ 563 h 13622"/>
                      <a:gd name="connsiteX6" fmla="*/ 6252 w 13622"/>
                      <a:gd name="connsiteY6" fmla="*/ 3969 h 13622"/>
                      <a:gd name="connsiteX7" fmla="*/ 667 w 13622"/>
                      <a:gd name="connsiteY7" fmla="*/ 16366 h 13622"/>
                      <a:gd name="connsiteX8" fmla="*/ 3773 w 13622"/>
                      <a:gd name="connsiteY8" fmla="*/ 25281 h 13622"/>
                      <a:gd name="connsiteX9" fmla="*/ 3936 w 13622"/>
                      <a:gd name="connsiteY9" fmla="*/ 25357 h 136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3622" h="13622">
                        <a:moveTo>
                          <a:pt x="3936" y="25357"/>
                        </a:moveTo>
                        <a:cubicBezTo>
                          <a:pt x="4834" y="25774"/>
                          <a:pt x="5807" y="26005"/>
                          <a:pt x="6797" y="26038"/>
                        </a:cubicBezTo>
                        <a:cubicBezTo>
                          <a:pt x="9443" y="26053"/>
                          <a:pt x="11847" y="24503"/>
                          <a:pt x="12927" y="22087"/>
                        </a:cubicBezTo>
                        <a:lnTo>
                          <a:pt x="18649" y="9691"/>
                        </a:lnTo>
                        <a:cubicBezTo>
                          <a:pt x="20278" y="6300"/>
                          <a:pt x="18851" y="2231"/>
                          <a:pt x="15460" y="601"/>
                        </a:cubicBezTo>
                        <a:cubicBezTo>
                          <a:pt x="15433" y="588"/>
                          <a:pt x="15407" y="576"/>
                          <a:pt x="15380" y="563"/>
                        </a:cubicBezTo>
                        <a:cubicBezTo>
                          <a:pt x="11915" y="-905"/>
                          <a:pt x="7907" y="591"/>
                          <a:pt x="6252" y="3969"/>
                        </a:cubicBezTo>
                        <a:lnTo>
                          <a:pt x="667" y="16366"/>
                        </a:lnTo>
                        <a:cubicBezTo>
                          <a:pt x="-938" y="19686"/>
                          <a:pt x="453" y="23676"/>
                          <a:pt x="3773" y="25281"/>
                        </a:cubicBezTo>
                        <a:cubicBezTo>
                          <a:pt x="3827" y="25306"/>
                          <a:pt x="3882" y="25332"/>
                          <a:pt x="3936" y="25357"/>
                        </a:cubicBezTo>
                        <a:close/>
                      </a:path>
                    </a:pathLst>
                  </a:custGeom>
                  <a:grpFill/>
                  <a:ln w="1344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4" name="Freeform: Shape 195">
                    <a:extLst>
                      <a:ext uri="{FF2B5EF4-FFF2-40B4-BE49-F238E27FC236}">
                        <a16:creationId xmlns:a16="http://schemas.microsoft.com/office/drawing/2014/main" id="{7BBE021F-A319-DA49-47C0-A37D06DF9399}"/>
                      </a:ext>
                    </a:extLst>
                  </p:cNvPr>
                  <p:cNvSpPr/>
                  <p:nvPr/>
                </p:nvSpPr>
                <p:spPr>
                  <a:xfrm>
                    <a:off x="6001608" y="3411538"/>
                    <a:ext cx="13623" cy="13623"/>
                  </a:xfrm>
                  <a:custGeom>
                    <a:avLst/>
                    <a:gdLst>
                      <a:gd name="connsiteX0" fmla="*/ 3936 w 13622"/>
                      <a:gd name="connsiteY0" fmla="*/ 25357 h 13622"/>
                      <a:gd name="connsiteX1" fmla="*/ 6797 w 13622"/>
                      <a:gd name="connsiteY1" fmla="*/ 26038 h 13622"/>
                      <a:gd name="connsiteX2" fmla="*/ 12927 w 13622"/>
                      <a:gd name="connsiteY2" fmla="*/ 22087 h 13622"/>
                      <a:gd name="connsiteX3" fmla="*/ 18649 w 13622"/>
                      <a:gd name="connsiteY3" fmla="*/ 9691 h 13622"/>
                      <a:gd name="connsiteX4" fmla="*/ 15460 w 13622"/>
                      <a:gd name="connsiteY4" fmla="*/ 601 h 13622"/>
                      <a:gd name="connsiteX5" fmla="*/ 15380 w 13622"/>
                      <a:gd name="connsiteY5" fmla="*/ 563 h 13622"/>
                      <a:gd name="connsiteX6" fmla="*/ 6252 w 13622"/>
                      <a:gd name="connsiteY6" fmla="*/ 3969 h 13622"/>
                      <a:gd name="connsiteX7" fmla="*/ 667 w 13622"/>
                      <a:gd name="connsiteY7" fmla="*/ 16366 h 13622"/>
                      <a:gd name="connsiteX8" fmla="*/ 3773 w 13622"/>
                      <a:gd name="connsiteY8" fmla="*/ 25281 h 13622"/>
                      <a:gd name="connsiteX9" fmla="*/ 3936 w 13622"/>
                      <a:gd name="connsiteY9" fmla="*/ 25357 h 136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3622" h="13622">
                        <a:moveTo>
                          <a:pt x="3936" y="25357"/>
                        </a:moveTo>
                        <a:cubicBezTo>
                          <a:pt x="4834" y="25774"/>
                          <a:pt x="5807" y="26005"/>
                          <a:pt x="6797" y="26038"/>
                        </a:cubicBezTo>
                        <a:cubicBezTo>
                          <a:pt x="9443" y="26053"/>
                          <a:pt x="11847" y="24503"/>
                          <a:pt x="12927" y="22087"/>
                        </a:cubicBezTo>
                        <a:lnTo>
                          <a:pt x="18649" y="9691"/>
                        </a:lnTo>
                        <a:cubicBezTo>
                          <a:pt x="20278" y="6300"/>
                          <a:pt x="18851" y="2231"/>
                          <a:pt x="15460" y="601"/>
                        </a:cubicBezTo>
                        <a:cubicBezTo>
                          <a:pt x="15433" y="588"/>
                          <a:pt x="15407" y="576"/>
                          <a:pt x="15380" y="563"/>
                        </a:cubicBezTo>
                        <a:cubicBezTo>
                          <a:pt x="11915" y="-905"/>
                          <a:pt x="7907" y="591"/>
                          <a:pt x="6252" y="3969"/>
                        </a:cubicBezTo>
                        <a:lnTo>
                          <a:pt x="667" y="16366"/>
                        </a:lnTo>
                        <a:cubicBezTo>
                          <a:pt x="-938" y="19686"/>
                          <a:pt x="453" y="23676"/>
                          <a:pt x="3773" y="25281"/>
                        </a:cubicBezTo>
                        <a:cubicBezTo>
                          <a:pt x="3827" y="25307"/>
                          <a:pt x="3882" y="25332"/>
                          <a:pt x="3936" y="25357"/>
                        </a:cubicBezTo>
                        <a:close/>
                      </a:path>
                    </a:pathLst>
                  </a:custGeom>
                  <a:grpFill/>
                  <a:ln w="1344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5" name="Freeform: Shape 196">
                    <a:extLst>
                      <a:ext uri="{FF2B5EF4-FFF2-40B4-BE49-F238E27FC236}">
                        <a16:creationId xmlns:a16="http://schemas.microsoft.com/office/drawing/2014/main" id="{BCA81184-2CF9-B466-704B-74105F5A357C}"/>
                      </a:ext>
                    </a:extLst>
                  </p:cNvPr>
                  <p:cNvSpPr/>
                  <p:nvPr/>
                </p:nvSpPr>
                <p:spPr>
                  <a:xfrm>
                    <a:off x="6169844" y="3408859"/>
                    <a:ext cx="13623" cy="13623"/>
                  </a:xfrm>
                  <a:custGeom>
                    <a:avLst/>
                    <a:gdLst>
                      <a:gd name="connsiteX0" fmla="*/ 3943 w 13622"/>
                      <a:gd name="connsiteY0" fmla="*/ 654 h 13622"/>
                      <a:gd name="connsiteX1" fmla="*/ 635 w 13622"/>
                      <a:gd name="connsiteY1" fmla="*/ 9701 h 13622"/>
                      <a:gd name="connsiteX2" fmla="*/ 673 w 13622"/>
                      <a:gd name="connsiteY2" fmla="*/ 9782 h 13622"/>
                      <a:gd name="connsiteX3" fmla="*/ 6395 w 13622"/>
                      <a:gd name="connsiteY3" fmla="*/ 22178 h 13622"/>
                      <a:gd name="connsiteX4" fmla="*/ 12525 w 13622"/>
                      <a:gd name="connsiteY4" fmla="*/ 26129 h 13622"/>
                      <a:gd name="connsiteX5" fmla="*/ 15386 w 13622"/>
                      <a:gd name="connsiteY5" fmla="*/ 25448 h 13622"/>
                      <a:gd name="connsiteX6" fmla="*/ 18818 w 13622"/>
                      <a:gd name="connsiteY6" fmla="*/ 16241 h 13622"/>
                      <a:gd name="connsiteX7" fmla="*/ 18792 w 13622"/>
                      <a:gd name="connsiteY7" fmla="*/ 16184 h 13622"/>
                      <a:gd name="connsiteX8" fmla="*/ 13070 w 13622"/>
                      <a:gd name="connsiteY8" fmla="*/ 3787 h 13622"/>
                      <a:gd name="connsiteX9" fmla="*/ 3943 w 13622"/>
                      <a:gd name="connsiteY9" fmla="*/ 654 h 136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3622" h="13622">
                        <a:moveTo>
                          <a:pt x="3943" y="654"/>
                        </a:moveTo>
                        <a:cubicBezTo>
                          <a:pt x="532" y="2240"/>
                          <a:pt x="-949" y="6290"/>
                          <a:pt x="635" y="9701"/>
                        </a:cubicBezTo>
                        <a:cubicBezTo>
                          <a:pt x="648" y="9728"/>
                          <a:pt x="661" y="9754"/>
                          <a:pt x="673" y="9782"/>
                        </a:cubicBezTo>
                        <a:lnTo>
                          <a:pt x="6395" y="22178"/>
                        </a:lnTo>
                        <a:cubicBezTo>
                          <a:pt x="7475" y="24594"/>
                          <a:pt x="9880" y="26144"/>
                          <a:pt x="12525" y="26129"/>
                        </a:cubicBezTo>
                        <a:cubicBezTo>
                          <a:pt x="13516" y="26096"/>
                          <a:pt x="14488" y="25865"/>
                          <a:pt x="15386" y="25448"/>
                        </a:cubicBezTo>
                        <a:cubicBezTo>
                          <a:pt x="18876" y="23854"/>
                          <a:pt x="20413" y="19732"/>
                          <a:pt x="18818" y="16241"/>
                        </a:cubicBezTo>
                        <a:cubicBezTo>
                          <a:pt x="18810" y="16222"/>
                          <a:pt x="18800" y="16203"/>
                          <a:pt x="18792" y="16184"/>
                        </a:cubicBezTo>
                        <a:lnTo>
                          <a:pt x="13070" y="3787"/>
                        </a:lnTo>
                        <a:cubicBezTo>
                          <a:pt x="11367" y="455"/>
                          <a:pt x="7332" y="-929"/>
                          <a:pt x="3943" y="654"/>
                        </a:cubicBezTo>
                        <a:close/>
                      </a:path>
                    </a:pathLst>
                  </a:custGeom>
                  <a:grpFill/>
                  <a:ln w="1344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6" name="Freeform: Shape 197">
                    <a:extLst>
                      <a:ext uri="{FF2B5EF4-FFF2-40B4-BE49-F238E27FC236}">
                        <a16:creationId xmlns:a16="http://schemas.microsoft.com/office/drawing/2014/main" id="{EA141E4E-A7AE-DC17-A3B8-99062C01B87D}"/>
                      </a:ext>
                    </a:extLst>
                  </p:cNvPr>
                  <p:cNvSpPr/>
                  <p:nvPr/>
                </p:nvSpPr>
                <p:spPr>
                  <a:xfrm>
                    <a:off x="6152755" y="3371792"/>
                    <a:ext cx="13623" cy="13623"/>
                  </a:xfrm>
                  <a:custGeom>
                    <a:avLst/>
                    <a:gdLst>
                      <a:gd name="connsiteX0" fmla="*/ 18716 w 13622"/>
                      <a:gd name="connsiteY0" fmla="*/ 16333 h 13622"/>
                      <a:gd name="connsiteX1" fmla="*/ 12995 w 13622"/>
                      <a:gd name="connsiteY1" fmla="*/ 3936 h 13622"/>
                      <a:gd name="connsiteX2" fmla="*/ 4167 w 13622"/>
                      <a:gd name="connsiteY2" fmla="*/ 590 h 13622"/>
                      <a:gd name="connsiteX3" fmla="*/ 4004 w 13622"/>
                      <a:gd name="connsiteY3" fmla="*/ 667 h 13622"/>
                      <a:gd name="connsiteX4" fmla="*/ 598 w 13622"/>
                      <a:gd name="connsiteY4" fmla="*/ 9658 h 13622"/>
                      <a:gd name="connsiteX5" fmla="*/ 6319 w 13622"/>
                      <a:gd name="connsiteY5" fmla="*/ 22054 h 13622"/>
                      <a:gd name="connsiteX6" fmla="*/ 15447 w 13622"/>
                      <a:gd name="connsiteY6" fmla="*/ 25460 h 13622"/>
                      <a:gd name="connsiteX7" fmla="*/ 18754 w 13622"/>
                      <a:gd name="connsiteY7" fmla="*/ 16413 h 13622"/>
                      <a:gd name="connsiteX8" fmla="*/ 18716 w 13622"/>
                      <a:gd name="connsiteY8" fmla="*/ 16333 h 136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3622" h="13622">
                        <a:moveTo>
                          <a:pt x="18716" y="16333"/>
                        </a:moveTo>
                        <a:lnTo>
                          <a:pt x="12995" y="3936"/>
                        </a:lnTo>
                        <a:cubicBezTo>
                          <a:pt x="11481" y="574"/>
                          <a:pt x="7529" y="-923"/>
                          <a:pt x="4167" y="590"/>
                        </a:cubicBezTo>
                        <a:cubicBezTo>
                          <a:pt x="4113" y="615"/>
                          <a:pt x="4058" y="641"/>
                          <a:pt x="4004" y="667"/>
                        </a:cubicBezTo>
                        <a:cubicBezTo>
                          <a:pt x="586" y="2214"/>
                          <a:pt x="-937" y="6234"/>
                          <a:pt x="598" y="9658"/>
                        </a:cubicBezTo>
                        <a:lnTo>
                          <a:pt x="6319" y="22054"/>
                        </a:lnTo>
                        <a:cubicBezTo>
                          <a:pt x="7975" y="25433"/>
                          <a:pt x="11983" y="26929"/>
                          <a:pt x="15447" y="25460"/>
                        </a:cubicBezTo>
                        <a:cubicBezTo>
                          <a:pt x="18858" y="23874"/>
                          <a:pt x="20339" y="19824"/>
                          <a:pt x="18754" y="16413"/>
                        </a:cubicBezTo>
                        <a:cubicBezTo>
                          <a:pt x="18742" y="16386"/>
                          <a:pt x="18729" y="16360"/>
                          <a:pt x="18716" y="16333"/>
                        </a:cubicBezTo>
                        <a:close/>
                      </a:path>
                    </a:pathLst>
                  </a:custGeom>
                  <a:grpFill/>
                  <a:ln w="1344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7" name="Freeform: Shape 198">
                    <a:extLst>
                      <a:ext uri="{FF2B5EF4-FFF2-40B4-BE49-F238E27FC236}">
                        <a16:creationId xmlns:a16="http://schemas.microsoft.com/office/drawing/2014/main" id="{FEA856F7-4344-7596-A0F6-948C25772200}"/>
                      </a:ext>
                    </a:extLst>
                  </p:cNvPr>
                  <p:cNvSpPr/>
                  <p:nvPr/>
                </p:nvSpPr>
                <p:spPr>
                  <a:xfrm>
                    <a:off x="6135651" y="3334664"/>
                    <a:ext cx="13623" cy="13623"/>
                  </a:xfrm>
                  <a:custGeom>
                    <a:avLst/>
                    <a:gdLst>
                      <a:gd name="connsiteX0" fmla="*/ 18792 w 13622"/>
                      <a:gd name="connsiteY0" fmla="*/ 16407 h 13622"/>
                      <a:gd name="connsiteX1" fmla="*/ 13070 w 13622"/>
                      <a:gd name="connsiteY1" fmla="*/ 4010 h 13622"/>
                      <a:gd name="connsiteX2" fmla="*/ 3943 w 13622"/>
                      <a:gd name="connsiteY2" fmla="*/ 605 h 13622"/>
                      <a:gd name="connsiteX3" fmla="*/ 635 w 13622"/>
                      <a:gd name="connsiteY3" fmla="*/ 9652 h 13622"/>
                      <a:gd name="connsiteX4" fmla="*/ 673 w 13622"/>
                      <a:gd name="connsiteY4" fmla="*/ 9732 h 13622"/>
                      <a:gd name="connsiteX5" fmla="*/ 6395 w 13622"/>
                      <a:gd name="connsiteY5" fmla="*/ 22129 h 13622"/>
                      <a:gd name="connsiteX6" fmla="*/ 12525 w 13622"/>
                      <a:gd name="connsiteY6" fmla="*/ 26079 h 13622"/>
                      <a:gd name="connsiteX7" fmla="*/ 15386 w 13622"/>
                      <a:gd name="connsiteY7" fmla="*/ 26079 h 13622"/>
                      <a:gd name="connsiteX8" fmla="*/ 19184 w 13622"/>
                      <a:gd name="connsiteY8" fmla="*/ 17227 h 13622"/>
                      <a:gd name="connsiteX9" fmla="*/ 18792 w 13622"/>
                      <a:gd name="connsiteY9" fmla="*/ 16407 h 136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3622" h="13622">
                        <a:moveTo>
                          <a:pt x="18792" y="16407"/>
                        </a:moveTo>
                        <a:lnTo>
                          <a:pt x="13070" y="4010"/>
                        </a:lnTo>
                        <a:cubicBezTo>
                          <a:pt x="11467" y="575"/>
                          <a:pt x="7405" y="-940"/>
                          <a:pt x="3943" y="605"/>
                        </a:cubicBezTo>
                        <a:cubicBezTo>
                          <a:pt x="532" y="2190"/>
                          <a:pt x="-949" y="6241"/>
                          <a:pt x="635" y="9652"/>
                        </a:cubicBezTo>
                        <a:cubicBezTo>
                          <a:pt x="648" y="9679"/>
                          <a:pt x="661" y="9705"/>
                          <a:pt x="673" y="9732"/>
                        </a:cubicBezTo>
                        <a:lnTo>
                          <a:pt x="6395" y="22129"/>
                        </a:lnTo>
                        <a:cubicBezTo>
                          <a:pt x="7475" y="24544"/>
                          <a:pt x="9880" y="26094"/>
                          <a:pt x="12525" y="26079"/>
                        </a:cubicBezTo>
                        <a:cubicBezTo>
                          <a:pt x="13469" y="26266"/>
                          <a:pt x="14442" y="26266"/>
                          <a:pt x="15386" y="26079"/>
                        </a:cubicBezTo>
                        <a:cubicBezTo>
                          <a:pt x="18879" y="24684"/>
                          <a:pt x="20581" y="20720"/>
                          <a:pt x="19184" y="17227"/>
                        </a:cubicBezTo>
                        <a:cubicBezTo>
                          <a:pt x="19073" y="16945"/>
                          <a:pt x="18940" y="16672"/>
                          <a:pt x="18792" y="16407"/>
                        </a:cubicBezTo>
                        <a:close/>
                      </a:path>
                    </a:pathLst>
                  </a:custGeom>
                  <a:grpFill/>
                  <a:ln w="1344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8" name="Freeform: Shape 199">
                    <a:extLst>
                      <a:ext uri="{FF2B5EF4-FFF2-40B4-BE49-F238E27FC236}">
                        <a16:creationId xmlns:a16="http://schemas.microsoft.com/office/drawing/2014/main" id="{A420AEEE-C4A3-F157-22A0-CE9E1C654E8D}"/>
                      </a:ext>
                    </a:extLst>
                  </p:cNvPr>
                  <p:cNvSpPr/>
                  <p:nvPr/>
                </p:nvSpPr>
                <p:spPr>
                  <a:xfrm>
                    <a:off x="6008542" y="3153510"/>
                    <a:ext cx="163474" cy="163474"/>
                  </a:xfrm>
                  <a:custGeom>
                    <a:avLst/>
                    <a:gdLst>
                      <a:gd name="connsiteX0" fmla="*/ 116339 w 163474"/>
                      <a:gd name="connsiteY0" fmla="*/ 166092 h 163474"/>
                      <a:gd name="connsiteX1" fmla="*/ 125466 w 163474"/>
                      <a:gd name="connsiteY1" fmla="*/ 169498 h 163474"/>
                      <a:gd name="connsiteX2" fmla="*/ 128774 w 163474"/>
                      <a:gd name="connsiteY2" fmla="*/ 160451 h 163474"/>
                      <a:gd name="connsiteX3" fmla="*/ 128736 w 163474"/>
                      <a:gd name="connsiteY3" fmla="*/ 160370 h 163474"/>
                      <a:gd name="connsiteX4" fmla="*/ 127237 w 163474"/>
                      <a:gd name="connsiteY4" fmla="*/ 157101 h 163474"/>
                      <a:gd name="connsiteX5" fmla="*/ 172193 w 163474"/>
                      <a:gd name="connsiteY5" fmla="*/ 135304 h 163474"/>
                      <a:gd name="connsiteX6" fmla="*/ 176007 w 163474"/>
                      <a:gd name="connsiteY6" fmla="*/ 129174 h 163474"/>
                      <a:gd name="connsiteX7" fmla="*/ 176007 w 163474"/>
                      <a:gd name="connsiteY7" fmla="*/ 47437 h 163474"/>
                      <a:gd name="connsiteX8" fmla="*/ 175054 w 163474"/>
                      <a:gd name="connsiteY8" fmla="*/ 44031 h 163474"/>
                      <a:gd name="connsiteX9" fmla="*/ 174236 w 163474"/>
                      <a:gd name="connsiteY9" fmla="*/ 43214 h 163474"/>
                      <a:gd name="connsiteX10" fmla="*/ 172738 w 163474"/>
                      <a:gd name="connsiteY10" fmla="*/ 41579 h 163474"/>
                      <a:gd name="connsiteX11" fmla="*/ 172738 w 163474"/>
                      <a:gd name="connsiteY11" fmla="*/ 41579 h 163474"/>
                      <a:gd name="connsiteX12" fmla="*/ 172738 w 163474"/>
                      <a:gd name="connsiteY12" fmla="*/ 41579 h 163474"/>
                      <a:gd name="connsiteX13" fmla="*/ 91001 w 163474"/>
                      <a:gd name="connsiteY13" fmla="*/ 711 h 163474"/>
                      <a:gd name="connsiteX14" fmla="*/ 85007 w 163474"/>
                      <a:gd name="connsiteY14" fmla="*/ 711 h 163474"/>
                      <a:gd name="connsiteX15" fmla="*/ 3269 w 163474"/>
                      <a:gd name="connsiteY15" fmla="*/ 41579 h 163474"/>
                      <a:gd name="connsiteX16" fmla="*/ 3269 w 163474"/>
                      <a:gd name="connsiteY16" fmla="*/ 41579 h 163474"/>
                      <a:gd name="connsiteX17" fmla="*/ 3269 w 163474"/>
                      <a:gd name="connsiteY17" fmla="*/ 41579 h 163474"/>
                      <a:gd name="connsiteX18" fmla="*/ 1771 w 163474"/>
                      <a:gd name="connsiteY18" fmla="*/ 43214 h 163474"/>
                      <a:gd name="connsiteX19" fmla="*/ 954 w 163474"/>
                      <a:gd name="connsiteY19" fmla="*/ 44031 h 163474"/>
                      <a:gd name="connsiteX20" fmla="*/ 0 w 163474"/>
                      <a:gd name="connsiteY20" fmla="*/ 47437 h 163474"/>
                      <a:gd name="connsiteX21" fmla="*/ 0 w 163474"/>
                      <a:gd name="connsiteY21" fmla="*/ 129174 h 163474"/>
                      <a:gd name="connsiteX22" fmla="*/ 3814 w 163474"/>
                      <a:gd name="connsiteY22" fmla="*/ 135304 h 163474"/>
                      <a:gd name="connsiteX23" fmla="*/ 48770 w 163474"/>
                      <a:gd name="connsiteY23" fmla="*/ 157782 h 163474"/>
                      <a:gd name="connsiteX24" fmla="*/ 46045 w 163474"/>
                      <a:gd name="connsiteY24" fmla="*/ 163640 h 163474"/>
                      <a:gd name="connsiteX25" fmla="*/ 49451 w 163474"/>
                      <a:gd name="connsiteY25" fmla="*/ 172631 h 163474"/>
                      <a:gd name="connsiteX26" fmla="*/ 52312 w 163474"/>
                      <a:gd name="connsiteY26" fmla="*/ 173312 h 163474"/>
                      <a:gd name="connsiteX27" fmla="*/ 58442 w 163474"/>
                      <a:gd name="connsiteY27" fmla="*/ 169362 h 163474"/>
                      <a:gd name="connsiteX28" fmla="*/ 61030 w 163474"/>
                      <a:gd name="connsiteY28" fmla="*/ 163912 h 163474"/>
                      <a:gd name="connsiteX29" fmla="*/ 85552 w 163474"/>
                      <a:gd name="connsiteY29" fmla="*/ 176173 h 163474"/>
                      <a:gd name="connsiteX30" fmla="*/ 91546 w 163474"/>
                      <a:gd name="connsiteY30" fmla="*/ 176173 h 163474"/>
                      <a:gd name="connsiteX31" fmla="*/ 116067 w 163474"/>
                      <a:gd name="connsiteY31" fmla="*/ 163912 h 163474"/>
                      <a:gd name="connsiteX32" fmla="*/ 87459 w 163474"/>
                      <a:gd name="connsiteY32" fmla="*/ 13516 h 163474"/>
                      <a:gd name="connsiteX33" fmla="*/ 153938 w 163474"/>
                      <a:gd name="connsiteY33" fmla="*/ 46756 h 163474"/>
                      <a:gd name="connsiteX34" fmla="*/ 87459 w 163474"/>
                      <a:gd name="connsiteY34" fmla="*/ 79996 h 163474"/>
                      <a:gd name="connsiteX35" fmla="*/ 20979 w 163474"/>
                      <a:gd name="connsiteY35" fmla="*/ 46756 h 163474"/>
                      <a:gd name="connsiteX36" fmla="*/ 12533 w 163474"/>
                      <a:gd name="connsiteY36" fmla="*/ 57790 h 163474"/>
                      <a:gd name="connsiteX37" fmla="*/ 80647 w 163474"/>
                      <a:gd name="connsiteY37" fmla="*/ 91848 h 163474"/>
                      <a:gd name="connsiteX38" fmla="*/ 80647 w 163474"/>
                      <a:gd name="connsiteY38" fmla="*/ 158327 h 163474"/>
                      <a:gd name="connsiteX39" fmla="*/ 61984 w 163474"/>
                      <a:gd name="connsiteY39" fmla="*/ 148927 h 163474"/>
                      <a:gd name="connsiteX40" fmla="*/ 59668 w 163474"/>
                      <a:gd name="connsiteY40" fmla="*/ 147156 h 163474"/>
                      <a:gd name="connsiteX41" fmla="*/ 57488 w 163474"/>
                      <a:gd name="connsiteY41" fmla="*/ 147156 h 163474"/>
                      <a:gd name="connsiteX42" fmla="*/ 12533 w 163474"/>
                      <a:gd name="connsiteY42" fmla="*/ 124270 h 163474"/>
                      <a:gd name="connsiteX43" fmla="*/ 94270 w 163474"/>
                      <a:gd name="connsiteY43" fmla="*/ 91848 h 163474"/>
                      <a:gd name="connsiteX44" fmla="*/ 162384 w 163474"/>
                      <a:gd name="connsiteY44" fmla="*/ 57790 h 163474"/>
                      <a:gd name="connsiteX45" fmla="*/ 162384 w 163474"/>
                      <a:gd name="connsiteY45" fmla="*/ 124270 h 163474"/>
                      <a:gd name="connsiteX46" fmla="*/ 117429 w 163474"/>
                      <a:gd name="connsiteY46" fmla="*/ 146748 h 163474"/>
                      <a:gd name="connsiteX47" fmla="*/ 115249 w 163474"/>
                      <a:gd name="connsiteY47" fmla="*/ 146748 h 163474"/>
                      <a:gd name="connsiteX48" fmla="*/ 112933 w 163474"/>
                      <a:gd name="connsiteY48" fmla="*/ 148519 h 163474"/>
                      <a:gd name="connsiteX49" fmla="*/ 94270 w 163474"/>
                      <a:gd name="connsiteY49" fmla="*/ 157782 h 1634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</a:cxnLst>
                    <a:rect l="l" t="t" r="r" b="b"/>
                    <a:pathLst>
                      <a:path w="163474" h="163474">
                        <a:moveTo>
                          <a:pt x="116339" y="166092"/>
                        </a:moveTo>
                        <a:cubicBezTo>
                          <a:pt x="117994" y="169471"/>
                          <a:pt x="122002" y="170966"/>
                          <a:pt x="125466" y="169498"/>
                        </a:cubicBezTo>
                        <a:cubicBezTo>
                          <a:pt x="128878" y="167912"/>
                          <a:pt x="130358" y="163862"/>
                          <a:pt x="128774" y="160451"/>
                        </a:cubicBezTo>
                        <a:cubicBezTo>
                          <a:pt x="128762" y="160424"/>
                          <a:pt x="128748" y="160398"/>
                          <a:pt x="128736" y="160370"/>
                        </a:cubicBezTo>
                        <a:lnTo>
                          <a:pt x="127237" y="157101"/>
                        </a:lnTo>
                        <a:lnTo>
                          <a:pt x="172193" y="135304"/>
                        </a:lnTo>
                        <a:cubicBezTo>
                          <a:pt x="174510" y="134134"/>
                          <a:pt x="175981" y="131770"/>
                          <a:pt x="176007" y="129174"/>
                        </a:cubicBezTo>
                        <a:lnTo>
                          <a:pt x="176007" y="47437"/>
                        </a:lnTo>
                        <a:cubicBezTo>
                          <a:pt x="175983" y="46239"/>
                          <a:pt x="175654" y="45068"/>
                          <a:pt x="175054" y="44031"/>
                        </a:cubicBezTo>
                        <a:lnTo>
                          <a:pt x="174236" y="43214"/>
                        </a:lnTo>
                        <a:cubicBezTo>
                          <a:pt x="173851" y="42574"/>
                          <a:pt x="173341" y="42019"/>
                          <a:pt x="172738" y="41579"/>
                        </a:cubicBezTo>
                        <a:lnTo>
                          <a:pt x="172738" y="41579"/>
                        </a:lnTo>
                        <a:lnTo>
                          <a:pt x="172738" y="41579"/>
                        </a:lnTo>
                        <a:lnTo>
                          <a:pt x="91001" y="711"/>
                        </a:lnTo>
                        <a:cubicBezTo>
                          <a:pt x="89115" y="-237"/>
                          <a:pt x="86892" y="-237"/>
                          <a:pt x="85007" y="711"/>
                        </a:cubicBezTo>
                        <a:lnTo>
                          <a:pt x="3269" y="41579"/>
                        </a:lnTo>
                        <a:lnTo>
                          <a:pt x="3269" y="41579"/>
                        </a:lnTo>
                        <a:lnTo>
                          <a:pt x="3269" y="41579"/>
                        </a:lnTo>
                        <a:cubicBezTo>
                          <a:pt x="2666" y="42019"/>
                          <a:pt x="2157" y="42574"/>
                          <a:pt x="1771" y="43214"/>
                        </a:cubicBezTo>
                        <a:cubicBezTo>
                          <a:pt x="1466" y="43451"/>
                          <a:pt x="1191" y="43726"/>
                          <a:pt x="954" y="44031"/>
                        </a:cubicBezTo>
                        <a:cubicBezTo>
                          <a:pt x="353" y="45068"/>
                          <a:pt x="25" y="46239"/>
                          <a:pt x="0" y="47437"/>
                        </a:cubicBezTo>
                        <a:lnTo>
                          <a:pt x="0" y="129174"/>
                        </a:lnTo>
                        <a:cubicBezTo>
                          <a:pt x="26" y="131770"/>
                          <a:pt x="1497" y="134134"/>
                          <a:pt x="3814" y="135304"/>
                        </a:cubicBezTo>
                        <a:lnTo>
                          <a:pt x="48770" y="157782"/>
                        </a:lnTo>
                        <a:lnTo>
                          <a:pt x="46045" y="163640"/>
                        </a:lnTo>
                        <a:cubicBezTo>
                          <a:pt x="44510" y="167063"/>
                          <a:pt x="46033" y="171083"/>
                          <a:pt x="49451" y="172631"/>
                        </a:cubicBezTo>
                        <a:cubicBezTo>
                          <a:pt x="50319" y="173130"/>
                          <a:pt x="51312" y="173367"/>
                          <a:pt x="52312" y="173312"/>
                        </a:cubicBezTo>
                        <a:cubicBezTo>
                          <a:pt x="54948" y="173292"/>
                          <a:pt x="57335" y="171754"/>
                          <a:pt x="58442" y="169362"/>
                        </a:cubicBezTo>
                        <a:lnTo>
                          <a:pt x="61030" y="163912"/>
                        </a:lnTo>
                        <a:lnTo>
                          <a:pt x="85552" y="176173"/>
                        </a:lnTo>
                        <a:cubicBezTo>
                          <a:pt x="87446" y="177079"/>
                          <a:pt x="89651" y="177079"/>
                          <a:pt x="91546" y="176173"/>
                        </a:cubicBezTo>
                        <a:lnTo>
                          <a:pt x="116067" y="163912"/>
                        </a:lnTo>
                        <a:close/>
                        <a:moveTo>
                          <a:pt x="87459" y="13516"/>
                        </a:moveTo>
                        <a:lnTo>
                          <a:pt x="153938" y="46756"/>
                        </a:lnTo>
                        <a:lnTo>
                          <a:pt x="87459" y="79996"/>
                        </a:lnTo>
                        <a:lnTo>
                          <a:pt x="20979" y="46756"/>
                        </a:lnTo>
                        <a:close/>
                        <a:moveTo>
                          <a:pt x="12533" y="57790"/>
                        </a:moveTo>
                        <a:lnTo>
                          <a:pt x="80647" y="91848"/>
                        </a:lnTo>
                        <a:lnTo>
                          <a:pt x="80647" y="158327"/>
                        </a:lnTo>
                        <a:lnTo>
                          <a:pt x="61984" y="148927"/>
                        </a:lnTo>
                        <a:cubicBezTo>
                          <a:pt x="61374" y="148151"/>
                          <a:pt x="60577" y="147542"/>
                          <a:pt x="59668" y="147156"/>
                        </a:cubicBezTo>
                        <a:cubicBezTo>
                          <a:pt x="58953" y="146972"/>
                          <a:pt x="58204" y="146972"/>
                          <a:pt x="57488" y="147156"/>
                        </a:cubicBezTo>
                        <a:lnTo>
                          <a:pt x="12533" y="124270"/>
                        </a:lnTo>
                        <a:close/>
                        <a:moveTo>
                          <a:pt x="94270" y="91848"/>
                        </a:moveTo>
                        <a:lnTo>
                          <a:pt x="162384" y="57790"/>
                        </a:lnTo>
                        <a:lnTo>
                          <a:pt x="162384" y="124270"/>
                        </a:lnTo>
                        <a:lnTo>
                          <a:pt x="117429" y="146748"/>
                        </a:lnTo>
                        <a:cubicBezTo>
                          <a:pt x="116714" y="146564"/>
                          <a:pt x="115965" y="146564"/>
                          <a:pt x="115249" y="146748"/>
                        </a:cubicBezTo>
                        <a:cubicBezTo>
                          <a:pt x="114341" y="147133"/>
                          <a:pt x="113544" y="147742"/>
                          <a:pt x="112933" y="148519"/>
                        </a:cubicBezTo>
                        <a:lnTo>
                          <a:pt x="94270" y="157782"/>
                        </a:lnTo>
                        <a:close/>
                      </a:path>
                    </a:pathLst>
                  </a:custGeom>
                  <a:grpFill/>
                  <a:ln w="1344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9" name="Freeform: Shape 200">
                    <a:extLst>
                      <a:ext uri="{FF2B5EF4-FFF2-40B4-BE49-F238E27FC236}">
                        <a16:creationId xmlns:a16="http://schemas.microsoft.com/office/drawing/2014/main" id="{8A298B7E-F042-6E3C-5006-D7E7CF22CBA1}"/>
                      </a:ext>
                    </a:extLst>
                  </p:cNvPr>
                  <p:cNvSpPr/>
                  <p:nvPr/>
                </p:nvSpPr>
                <p:spPr>
                  <a:xfrm>
                    <a:off x="5864386" y="3438636"/>
                    <a:ext cx="190720" cy="177097"/>
                  </a:xfrm>
                  <a:custGeom>
                    <a:avLst/>
                    <a:gdLst>
                      <a:gd name="connsiteX0" fmla="*/ 183934 w 190719"/>
                      <a:gd name="connsiteY0" fmla="*/ 81767 h 177097"/>
                      <a:gd name="connsiteX1" fmla="*/ 177123 w 190719"/>
                      <a:gd name="connsiteY1" fmla="*/ 81767 h 177097"/>
                      <a:gd name="connsiteX2" fmla="*/ 177123 w 190719"/>
                      <a:gd name="connsiteY2" fmla="*/ 47710 h 177097"/>
                      <a:gd name="connsiteX3" fmla="*/ 176169 w 190719"/>
                      <a:gd name="connsiteY3" fmla="*/ 44304 h 177097"/>
                      <a:gd name="connsiteX4" fmla="*/ 175352 w 190719"/>
                      <a:gd name="connsiteY4" fmla="*/ 43487 h 177097"/>
                      <a:gd name="connsiteX5" fmla="*/ 173853 w 190719"/>
                      <a:gd name="connsiteY5" fmla="*/ 41852 h 177097"/>
                      <a:gd name="connsiteX6" fmla="*/ 173853 w 190719"/>
                      <a:gd name="connsiteY6" fmla="*/ 41852 h 177097"/>
                      <a:gd name="connsiteX7" fmla="*/ 173853 w 190719"/>
                      <a:gd name="connsiteY7" fmla="*/ 41852 h 177097"/>
                      <a:gd name="connsiteX8" fmla="*/ 137617 w 190719"/>
                      <a:gd name="connsiteY8" fmla="*/ 23734 h 177097"/>
                      <a:gd name="connsiteX9" fmla="*/ 139388 w 190719"/>
                      <a:gd name="connsiteY9" fmla="*/ 19919 h 177097"/>
                      <a:gd name="connsiteX10" fmla="*/ 135982 w 190719"/>
                      <a:gd name="connsiteY10" fmla="*/ 10928 h 177097"/>
                      <a:gd name="connsiteX11" fmla="*/ 127067 w 190719"/>
                      <a:gd name="connsiteY11" fmla="*/ 14034 h 177097"/>
                      <a:gd name="connsiteX12" fmla="*/ 126991 w 190719"/>
                      <a:gd name="connsiteY12" fmla="*/ 14198 h 177097"/>
                      <a:gd name="connsiteX13" fmla="*/ 125492 w 190719"/>
                      <a:gd name="connsiteY13" fmla="*/ 17603 h 177097"/>
                      <a:gd name="connsiteX14" fmla="*/ 91571 w 190719"/>
                      <a:gd name="connsiteY14" fmla="*/ 711 h 177097"/>
                      <a:gd name="connsiteX15" fmla="*/ 85577 w 190719"/>
                      <a:gd name="connsiteY15" fmla="*/ 711 h 177097"/>
                      <a:gd name="connsiteX16" fmla="*/ 3840 w 190719"/>
                      <a:gd name="connsiteY16" fmla="*/ 41580 h 177097"/>
                      <a:gd name="connsiteX17" fmla="*/ 3840 w 190719"/>
                      <a:gd name="connsiteY17" fmla="*/ 41580 h 177097"/>
                      <a:gd name="connsiteX18" fmla="*/ 3840 w 190719"/>
                      <a:gd name="connsiteY18" fmla="*/ 41580 h 177097"/>
                      <a:gd name="connsiteX19" fmla="*/ 2342 w 190719"/>
                      <a:gd name="connsiteY19" fmla="*/ 43214 h 177097"/>
                      <a:gd name="connsiteX20" fmla="*/ 1524 w 190719"/>
                      <a:gd name="connsiteY20" fmla="*/ 44032 h 177097"/>
                      <a:gd name="connsiteX21" fmla="*/ 26 w 190719"/>
                      <a:gd name="connsiteY21" fmla="*/ 47710 h 177097"/>
                      <a:gd name="connsiteX22" fmla="*/ 26 w 190719"/>
                      <a:gd name="connsiteY22" fmla="*/ 129447 h 177097"/>
                      <a:gd name="connsiteX23" fmla="*/ 3840 w 190719"/>
                      <a:gd name="connsiteY23" fmla="*/ 136259 h 177097"/>
                      <a:gd name="connsiteX24" fmla="*/ 85577 w 190719"/>
                      <a:gd name="connsiteY24" fmla="*/ 177127 h 177097"/>
                      <a:gd name="connsiteX25" fmla="*/ 91571 w 190719"/>
                      <a:gd name="connsiteY25" fmla="*/ 177127 h 177097"/>
                      <a:gd name="connsiteX26" fmla="*/ 173309 w 190719"/>
                      <a:gd name="connsiteY26" fmla="*/ 136259 h 177097"/>
                      <a:gd name="connsiteX27" fmla="*/ 177123 w 190719"/>
                      <a:gd name="connsiteY27" fmla="*/ 129447 h 177097"/>
                      <a:gd name="connsiteX28" fmla="*/ 177123 w 190719"/>
                      <a:gd name="connsiteY28" fmla="*/ 95390 h 177097"/>
                      <a:gd name="connsiteX29" fmla="*/ 183934 w 190719"/>
                      <a:gd name="connsiteY29" fmla="*/ 95390 h 177097"/>
                      <a:gd name="connsiteX30" fmla="*/ 190746 w 190719"/>
                      <a:gd name="connsiteY30" fmla="*/ 88579 h 177097"/>
                      <a:gd name="connsiteX31" fmla="*/ 183934 w 190719"/>
                      <a:gd name="connsiteY31" fmla="*/ 81767 h 177097"/>
                      <a:gd name="connsiteX32" fmla="*/ 88574 w 190719"/>
                      <a:gd name="connsiteY32" fmla="*/ 14470 h 177097"/>
                      <a:gd name="connsiteX33" fmla="*/ 155054 w 190719"/>
                      <a:gd name="connsiteY33" fmla="*/ 47710 h 177097"/>
                      <a:gd name="connsiteX34" fmla="*/ 88574 w 190719"/>
                      <a:gd name="connsiteY34" fmla="*/ 80950 h 177097"/>
                      <a:gd name="connsiteX35" fmla="*/ 22095 w 190719"/>
                      <a:gd name="connsiteY35" fmla="*/ 47710 h 177097"/>
                      <a:gd name="connsiteX36" fmla="*/ 13649 w 190719"/>
                      <a:gd name="connsiteY36" fmla="*/ 58744 h 177097"/>
                      <a:gd name="connsiteX37" fmla="*/ 81763 w 190719"/>
                      <a:gd name="connsiteY37" fmla="*/ 92802 h 177097"/>
                      <a:gd name="connsiteX38" fmla="*/ 81763 w 190719"/>
                      <a:gd name="connsiteY38" fmla="*/ 159281 h 177097"/>
                      <a:gd name="connsiteX39" fmla="*/ 13649 w 190719"/>
                      <a:gd name="connsiteY39" fmla="*/ 125224 h 177097"/>
                      <a:gd name="connsiteX40" fmla="*/ 163500 w 190719"/>
                      <a:gd name="connsiteY40" fmla="*/ 125224 h 177097"/>
                      <a:gd name="connsiteX41" fmla="*/ 95386 w 190719"/>
                      <a:gd name="connsiteY41" fmla="*/ 159281 h 177097"/>
                      <a:gd name="connsiteX42" fmla="*/ 95386 w 190719"/>
                      <a:gd name="connsiteY42" fmla="*/ 92802 h 177097"/>
                      <a:gd name="connsiteX43" fmla="*/ 163500 w 190719"/>
                      <a:gd name="connsiteY43" fmla="*/ 58744 h 1770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</a:cxnLst>
                    <a:rect l="l" t="t" r="r" b="b"/>
                    <a:pathLst>
                      <a:path w="190719" h="177097">
                        <a:moveTo>
                          <a:pt x="183934" y="81767"/>
                        </a:moveTo>
                        <a:lnTo>
                          <a:pt x="177123" y="81767"/>
                        </a:lnTo>
                        <a:lnTo>
                          <a:pt x="177123" y="47710"/>
                        </a:lnTo>
                        <a:cubicBezTo>
                          <a:pt x="177098" y="46513"/>
                          <a:pt x="176770" y="45341"/>
                          <a:pt x="176169" y="44304"/>
                        </a:cubicBezTo>
                        <a:cubicBezTo>
                          <a:pt x="175932" y="43999"/>
                          <a:pt x="175657" y="43724"/>
                          <a:pt x="175352" y="43487"/>
                        </a:cubicBezTo>
                        <a:cubicBezTo>
                          <a:pt x="174966" y="42848"/>
                          <a:pt x="174457" y="42291"/>
                          <a:pt x="173853" y="41852"/>
                        </a:cubicBezTo>
                        <a:lnTo>
                          <a:pt x="173853" y="41852"/>
                        </a:lnTo>
                        <a:lnTo>
                          <a:pt x="173853" y="41852"/>
                        </a:lnTo>
                        <a:lnTo>
                          <a:pt x="137617" y="23734"/>
                        </a:lnTo>
                        <a:lnTo>
                          <a:pt x="139388" y="19919"/>
                        </a:lnTo>
                        <a:cubicBezTo>
                          <a:pt x="140923" y="16496"/>
                          <a:pt x="139400" y="12476"/>
                          <a:pt x="135982" y="10928"/>
                        </a:cubicBezTo>
                        <a:cubicBezTo>
                          <a:pt x="132663" y="9323"/>
                          <a:pt x="128671" y="10714"/>
                          <a:pt x="127067" y="14034"/>
                        </a:cubicBezTo>
                        <a:cubicBezTo>
                          <a:pt x="127041" y="14089"/>
                          <a:pt x="127016" y="14143"/>
                          <a:pt x="126991" y="14198"/>
                        </a:cubicBezTo>
                        <a:lnTo>
                          <a:pt x="125492" y="17603"/>
                        </a:lnTo>
                        <a:lnTo>
                          <a:pt x="91571" y="711"/>
                        </a:lnTo>
                        <a:cubicBezTo>
                          <a:pt x="89686" y="-237"/>
                          <a:pt x="87463" y="-237"/>
                          <a:pt x="85577" y="711"/>
                        </a:cubicBezTo>
                        <a:lnTo>
                          <a:pt x="3840" y="41580"/>
                        </a:lnTo>
                        <a:lnTo>
                          <a:pt x="3840" y="41580"/>
                        </a:lnTo>
                        <a:lnTo>
                          <a:pt x="3840" y="41580"/>
                        </a:lnTo>
                        <a:cubicBezTo>
                          <a:pt x="3237" y="42018"/>
                          <a:pt x="2727" y="42574"/>
                          <a:pt x="2342" y="43214"/>
                        </a:cubicBezTo>
                        <a:cubicBezTo>
                          <a:pt x="2036" y="43451"/>
                          <a:pt x="1762" y="43727"/>
                          <a:pt x="1524" y="44032"/>
                        </a:cubicBezTo>
                        <a:cubicBezTo>
                          <a:pt x="684" y="45090"/>
                          <a:pt x="164" y="46367"/>
                          <a:pt x="26" y="47710"/>
                        </a:cubicBezTo>
                        <a:lnTo>
                          <a:pt x="26" y="129447"/>
                        </a:lnTo>
                        <a:cubicBezTo>
                          <a:pt x="-219" y="132285"/>
                          <a:pt x="1293" y="134985"/>
                          <a:pt x="3840" y="136259"/>
                        </a:cubicBezTo>
                        <a:lnTo>
                          <a:pt x="85577" y="177127"/>
                        </a:lnTo>
                        <a:cubicBezTo>
                          <a:pt x="87473" y="178033"/>
                          <a:pt x="89676" y="178033"/>
                          <a:pt x="91571" y="177127"/>
                        </a:cubicBezTo>
                        <a:lnTo>
                          <a:pt x="173309" y="136259"/>
                        </a:lnTo>
                        <a:cubicBezTo>
                          <a:pt x="175856" y="134985"/>
                          <a:pt x="177368" y="132285"/>
                          <a:pt x="177123" y="129447"/>
                        </a:cubicBezTo>
                        <a:lnTo>
                          <a:pt x="177123" y="95390"/>
                        </a:lnTo>
                        <a:lnTo>
                          <a:pt x="183934" y="95390"/>
                        </a:lnTo>
                        <a:cubicBezTo>
                          <a:pt x="187696" y="95390"/>
                          <a:pt x="190746" y="92340"/>
                          <a:pt x="190746" y="88579"/>
                        </a:cubicBezTo>
                        <a:cubicBezTo>
                          <a:pt x="190746" y="84817"/>
                          <a:pt x="187696" y="81767"/>
                          <a:pt x="183934" y="81767"/>
                        </a:cubicBezTo>
                        <a:close/>
                        <a:moveTo>
                          <a:pt x="88574" y="14470"/>
                        </a:moveTo>
                        <a:lnTo>
                          <a:pt x="155054" y="47710"/>
                        </a:lnTo>
                        <a:lnTo>
                          <a:pt x="88574" y="80950"/>
                        </a:lnTo>
                        <a:lnTo>
                          <a:pt x="22095" y="47710"/>
                        </a:lnTo>
                        <a:close/>
                        <a:moveTo>
                          <a:pt x="13649" y="58744"/>
                        </a:moveTo>
                        <a:lnTo>
                          <a:pt x="81763" y="92802"/>
                        </a:lnTo>
                        <a:lnTo>
                          <a:pt x="81763" y="159281"/>
                        </a:lnTo>
                        <a:lnTo>
                          <a:pt x="13649" y="125224"/>
                        </a:lnTo>
                        <a:close/>
                        <a:moveTo>
                          <a:pt x="163500" y="125224"/>
                        </a:moveTo>
                        <a:lnTo>
                          <a:pt x="95386" y="159281"/>
                        </a:lnTo>
                        <a:lnTo>
                          <a:pt x="95386" y="92802"/>
                        </a:lnTo>
                        <a:lnTo>
                          <a:pt x="163500" y="58744"/>
                        </a:lnTo>
                        <a:close/>
                      </a:path>
                    </a:pathLst>
                  </a:custGeom>
                  <a:grpFill/>
                  <a:ln w="1344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0" name="Freeform: Shape 201">
                    <a:extLst>
                      <a:ext uri="{FF2B5EF4-FFF2-40B4-BE49-F238E27FC236}">
                        <a16:creationId xmlns:a16="http://schemas.microsoft.com/office/drawing/2014/main" id="{5CBCDDFC-4EC6-F495-38B6-C11464EB2506}"/>
                      </a:ext>
                    </a:extLst>
                  </p:cNvPr>
                  <p:cNvSpPr/>
                  <p:nvPr/>
                </p:nvSpPr>
                <p:spPr>
                  <a:xfrm>
                    <a:off x="6068755" y="3520403"/>
                    <a:ext cx="27246" cy="13623"/>
                  </a:xfrm>
                  <a:custGeom>
                    <a:avLst/>
                    <a:gdLst>
                      <a:gd name="connsiteX0" fmla="*/ 20434 w 27245"/>
                      <a:gd name="connsiteY0" fmla="*/ 0 h 13622"/>
                      <a:gd name="connsiteX1" fmla="*/ 6811 w 27245"/>
                      <a:gd name="connsiteY1" fmla="*/ 0 h 13622"/>
                      <a:gd name="connsiteX2" fmla="*/ 0 w 27245"/>
                      <a:gd name="connsiteY2" fmla="*/ 6811 h 13622"/>
                      <a:gd name="connsiteX3" fmla="*/ 6811 w 27245"/>
                      <a:gd name="connsiteY3" fmla="*/ 13623 h 13622"/>
                      <a:gd name="connsiteX4" fmla="*/ 20434 w 27245"/>
                      <a:gd name="connsiteY4" fmla="*/ 13623 h 13622"/>
                      <a:gd name="connsiteX5" fmla="*/ 27246 w 27245"/>
                      <a:gd name="connsiteY5" fmla="*/ 6811 h 13622"/>
                      <a:gd name="connsiteX6" fmla="*/ 20434 w 27245"/>
                      <a:gd name="connsiteY6" fmla="*/ 0 h 136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27245" h="13622">
                        <a:moveTo>
                          <a:pt x="20434" y="0"/>
                        </a:moveTo>
                        <a:lnTo>
                          <a:pt x="6811" y="0"/>
                        </a:lnTo>
                        <a:cubicBezTo>
                          <a:pt x="3050" y="0"/>
                          <a:pt x="0" y="3050"/>
                          <a:pt x="0" y="6811"/>
                        </a:cubicBezTo>
                        <a:cubicBezTo>
                          <a:pt x="0" y="10573"/>
                          <a:pt x="3050" y="13623"/>
                          <a:pt x="6811" y="13623"/>
                        </a:cubicBezTo>
                        <a:lnTo>
                          <a:pt x="20434" y="13623"/>
                        </a:lnTo>
                        <a:cubicBezTo>
                          <a:pt x="24196" y="13623"/>
                          <a:pt x="27246" y="10573"/>
                          <a:pt x="27246" y="6811"/>
                        </a:cubicBezTo>
                        <a:cubicBezTo>
                          <a:pt x="27246" y="3050"/>
                          <a:pt x="24196" y="0"/>
                          <a:pt x="20434" y="0"/>
                        </a:cubicBezTo>
                        <a:close/>
                      </a:path>
                    </a:pathLst>
                  </a:custGeom>
                  <a:grpFill/>
                  <a:ln w="1344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1" name="Freeform: Shape 202">
                    <a:extLst>
                      <a:ext uri="{FF2B5EF4-FFF2-40B4-BE49-F238E27FC236}">
                        <a16:creationId xmlns:a16="http://schemas.microsoft.com/office/drawing/2014/main" id="{76FF2444-F060-58AF-FB7B-672DE8142EFE}"/>
                      </a:ext>
                    </a:extLst>
                  </p:cNvPr>
                  <p:cNvSpPr/>
                  <p:nvPr/>
                </p:nvSpPr>
                <p:spPr>
                  <a:xfrm>
                    <a:off x="6109623" y="3520403"/>
                    <a:ext cx="27246" cy="13623"/>
                  </a:xfrm>
                  <a:custGeom>
                    <a:avLst/>
                    <a:gdLst>
                      <a:gd name="connsiteX0" fmla="*/ 20434 w 27245"/>
                      <a:gd name="connsiteY0" fmla="*/ 0 h 13622"/>
                      <a:gd name="connsiteX1" fmla="*/ 6811 w 27245"/>
                      <a:gd name="connsiteY1" fmla="*/ 0 h 13622"/>
                      <a:gd name="connsiteX2" fmla="*/ 0 w 27245"/>
                      <a:gd name="connsiteY2" fmla="*/ 6811 h 13622"/>
                      <a:gd name="connsiteX3" fmla="*/ 6811 w 27245"/>
                      <a:gd name="connsiteY3" fmla="*/ 13623 h 13622"/>
                      <a:gd name="connsiteX4" fmla="*/ 20434 w 27245"/>
                      <a:gd name="connsiteY4" fmla="*/ 13623 h 13622"/>
                      <a:gd name="connsiteX5" fmla="*/ 27246 w 27245"/>
                      <a:gd name="connsiteY5" fmla="*/ 6811 h 13622"/>
                      <a:gd name="connsiteX6" fmla="*/ 20434 w 27245"/>
                      <a:gd name="connsiteY6" fmla="*/ 0 h 136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27245" h="13622">
                        <a:moveTo>
                          <a:pt x="20434" y="0"/>
                        </a:moveTo>
                        <a:lnTo>
                          <a:pt x="6811" y="0"/>
                        </a:lnTo>
                        <a:cubicBezTo>
                          <a:pt x="3050" y="0"/>
                          <a:pt x="0" y="3050"/>
                          <a:pt x="0" y="6811"/>
                        </a:cubicBezTo>
                        <a:cubicBezTo>
                          <a:pt x="0" y="10573"/>
                          <a:pt x="3050" y="13623"/>
                          <a:pt x="6811" y="13623"/>
                        </a:cubicBezTo>
                        <a:lnTo>
                          <a:pt x="20434" y="13623"/>
                        </a:lnTo>
                        <a:cubicBezTo>
                          <a:pt x="24196" y="13623"/>
                          <a:pt x="27246" y="10573"/>
                          <a:pt x="27246" y="6811"/>
                        </a:cubicBezTo>
                        <a:cubicBezTo>
                          <a:pt x="27246" y="3050"/>
                          <a:pt x="24196" y="0"/>
                          <a:pt x="20434" y="0"/>
                        </a:cubicBezTo>
                        <a:close/>
                      </a:path>
                    </a:pathLst>
                  </a:custGeom>
                  <a:grpFill/>
                  <a:ln w="1344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186" name="Group 185">
                <a:extLst>
                  <a:ext uri="{FF2B5EF4-FFF2-40B4-BE49-F238E27FC236}">
                    <a16:creationId xmlns:a16="http://schemas.microsoft.com/office/drawing/2014/main" id="{D420995C-864A-0487-C4C9-14B3C40A157D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5386226" y="4677652"/>
                <a:ext cx="578869" cy="578869"/>
                <a:chOff x="2133373" y="1733455"/>
                <a:chExt cx="720080" cy="720080"/>
              </a:xfrm>
            </p:grpSpPr>
            <p:sp>
              <p:nvSpPr>
                <p:cNvPr id="218" name="Oval 217">
                  <a:extLst>
                    <a:ext uri="{FF2B5EF4-FFF2-40B4-BE49-F238E27FC236}">
                      <a16:creationId xmlns:a16="http://schemas.microsoft.com/office/drawing/2014/main" id="{5B7B1AFE-312F-1EC8-A35D-5CF57DDACA94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2133373" y="1733455"/>
                  <a:ext cx="720080" cy="720080"/>
                </a:xfrm>
                <a:prstGeom prst="ellipse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600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Ubuntu"/>
                    <a:ea typeface="+mn-ea"/>
                    <a:cs typeface="+mn-cs"/>
                  </a:endParaRPr>
                </a:p>
              </p:txBody>
            </p:sp>
            <p:grpSp>
              <p:nvGrpSpPr>
                <p:cNvPr id="219" name="Graphic 3">
                  <a:extLst>
                    <a:ext uri="{FF2B5EF4-FFF2-40B4-BE49-F238E27FC236}">
                      <a16:creationId xmlns:a16="http://schemas.microsoft.com/office/drawing/2014/main" id="{F8C3B871-031B-F6FF-40F2-81E0B1F41D2E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2279576" y="1904562"/>
                  <a:ext cx="427674" cy="377837"/>
                  <a:chOff x="5943600" y="3300412"/>
                  <a:chExt cx="291465" cy="257502"/>
                </a:xfrm>
                <a:solidFill>
                  <a:schemeClr val="bg1"/>
                </a:solidFill>
              </p:grpSpPr>
              <p:grpSp>
                <p:nvGrpSpPr>
                  <p:cNvPr id="220" name="Graphic 3">
                    <a:extLst>
                      <a:ext uri="{FF2B5EF4-FFF2-40B4-BE49-F238E27FC236}">
                        <a16:creationId xmlns:a16="http://schemas.microsoft.com/office/drawing/2014/main" id="{27305DC2-49A9-B3C1-8E06-269765303982}"/>
                      </a:ext>
                    </a:extLst>
                  </p:cNvPr>
                  <p:cNvGrpSpPr/>
                  <p:nvPr/>
                </p:nvGrpSpPr>
                <p:grpSpPr>
                  <a:xfrm>
                    <a:off x="5943600" y="3348037"/>
                    <a:ext cx="180975" cy="180975"/>
                    <a:chOff x="5943600" y="3348037"/>
                    <a:chExt cx="180975" cy="180975"/>
                  </a:xfrm>
                  <a:grpFill/>
                </p:grpSpPr>
                <p:sp>
                  <p:nvSpPr>
                    <p:cNvPr id="227" name="Freeform: Shape 188">
                      <a:extLst>
                        <a:ext uri="{FF2B5EF4-FFF2-40B4-BE49-F238E27FC236}">
                          <a16:creationId xmlns:a16="http://schemas.microsoft.com/office/drawing/2014/main" id="{99914018-D303-58C0-A1A1-2F6C17A2D99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943600" y="3348037"/>
                      <a:ext cx="180975" cy="180975"/>
                    </a:xfrm>
                    <a:custGeom>
                      <a:avLst/>
                      <a:gdLst>
                        <a:gd name="connsiteX0" fmla="*/ 105728 w 180975"/>
                        <a:gd name="connsiteY0" fmla="*/ 180975 h 180975"/>
                        <a:gd name="connsiteX1" fmla="*/ 75248 w 180975"/>
                        <a:gd name="connsiteY1" fmla="*/ 180975 h 180975"/>
                        <a:gd name="connsiteX2" fmla="*/ 70485 w 180975"/>
                        <a:gd name="connsiteY2" fmla="*/ 178118 h 180975"/>
                        <a:gd name="connsiteX3" fmla="*/ 65723 w 180975"/>
                        <a:gd name="connsiteY3" fmla="*/ 164783 h 180975"/>
                        <a:gd name="connsiteX4" fmla="*/ 55245 w 180975"/>
                        <a:gd name="connsiteY4" fmla="*/ 160020 h 180975"/>
                        <a:gd name="connsiteX5" fmla="*/ 42863 w 180975"/>
                        <a:gd name="connsiteY5" fmla="*/ 165735 h 180975"/>
                        <a:gd name="connsiteX6" fmla="*/ 37148 w 180975"/>
                        <a:gd name="connsiteY6" fmla="*/ 164783 h 180975"/>
                        <a:gd name="connsiteX7" fmla="*/ 15240 w 180975"/>
                        <a:gd name="connsiteY7" fmla="*/ 142875 h 180975"/>
                        <a:gd name="connsiteX8" fmla="*/ 14288 w 180975"/>
                        <a:gd name="connsiteY8" fmla="*/ 137160 h 180975"/>
                        <a:gd name="connsiteX9" fmla="*/ 20003 w 180975"/>
                        <a:gd name="connsiteY9" fmla="*/ 124778 h 180975"/>
                        <a:gd name="connsiteX10" fmla="*/ 16193 w 180975"/>
                        <a:gd name="connsiteY10" fmla="*/ 114300 h 180975"/>
                        <a:gd name="connsiteX11" fmla="*/ 2858 w 180975"/>
                        <a:gd name="connsiteY11" fmla="*/ 109538 h 180975"/>
                        <a:gd name="connsiteX12" fmla="*/ 0 w 180975"/>
                        <a:gd name="connsiteY12" fmla="*/ 105728 h 180975"/>
                        <a:gd name="connsiteX13" fmla="*/ 0 w 180975"/>
                        <a:gd name="connsiteY13" fmla="*/ 75248 h 180975"/>
                        <a:gd name="connsiteX14" fmla="*/ 2858 w 180975"/>
                        <a:gd name="connsiteY14" fmla="*/ 70485 h 180975"/>
                        <a:gd name="connsiteX15" fmla="*/ 16193 w 180975"/>
                        <a:gd name="connsiteY15" fmla="*/ 65723 h 180975"/>
                        <a:gd name="connsiteX16" fmla="*/ 20955 w 180975"/>
                        <a:gd name="connsiteY16" fmla="*/ 55245 h 180975"/>
                        <a:gd name="connsiteX17" fmla="*/ 15240 w 180975"/>
                        <a:gd name="connsiteY17" fmla="*/ 41910 h 180975"/>
                        <a:gd name="connsiteX18" fmla="*/ 15240 w 180975"/>
                        <a:gd name="connsiteY18" fmla="*/ 37147 h 180975"/>
                        <a:gd name="connsiteX19" fmla="*/ 37148 w 180975"/>
                        <a:gd name="connsiteY19" fmla="*/ 15240 h 180975"/>
                        <a:gd name="connsiteX20" fmla="*/ 42863 w 180975"/>
                        <a:gd name="connsiteY20" fmla="*/ 14288 h 180975"/>
                        <a:gd name="connsiteX21" fmla="*/ 55245 w 180975"/>
                        <a:gd name="connsiteY21" fmla="*/ 20003 h 180975"/>
                        <a:gd name="connsiteX22" fmla="*/ 65723 w 180975"/>
                        <a:gd name="connsiteY22" fmla="*/ 15240 h 180975"/>
                        <a:gd name="connsiteX23" fmla="*/ 70485 w 180975"/>
                        <a:gd name="connsiteY23" fmla="*/ 1905 h 180975"/>
                        <a:gd name="connsiteX24" fmla="*/ 75248 w 180975"/>
                        <a:gd name="connsiteY24" fmla="*/ 0 h 180975"/>
                        <a:gd name="connsiteX25" fmla="*/ 90488 w 180975"/>
                        <a:gd name="connsiteY25" fmla="*/ 0 h 180975"/>
                        <a:gd name="connsiteX26" fmla="*/ 105728 w 180975"/>
                        <a:gd name="connsiteY26" fmla="*/ 0 h 180975"/>
                        <a:gd name="connsiteX27" fmla="*/ 110490 w 180975"/>
                        <a:gd name="connsiteY27" fmla="*/ 2858 h 180975"/>
                        <a:gd name="connsiteX28" fmla="*/ 115253 w 180975"/>
                        <a:gd name="connsiteY28" fmla="*/ 16192 h 180975"/>
                        <a:gd name="connsiteX29" fmla="*/ 125730 w 180975"/>
                        <a:gd name="connsiteY29" fmla="*/ 20955 h 180975"/>
                        <a:gd name="connsiteX30" fmla="*/ 138113 w 180975"/>
                        <a:gd name="connsiteY30" fmla="*/ 15240 h 180975"/>
                        <a:gd name="connsiteX31" fmla="*/ 143828 w 180975"/>
                        <a:gd name="connsiteY31" fmla="*/ 16192 h 180975"/>
                        <a:gd name="connsiteX32" fmla="*/ 165735 w 180975"/>
                        <a:gd name="connsiteY32" fmla="*/ 38100 h 180975"/>
                        <a:gd name="connsiteX33" fmla="*/ 166688 w 180975"/>
                        <a:gd name="connsiteY33" fmla="*/ 43815 h 180975"/>
                        <a:gd name="connsiteX34" fmla="*/ 160973 w 180975"/>
                        <a:gd name="connsiteY34" fmla="*/ 56197 h 180975"/>
                        <a:gd name="connsiteX35" fmla="*/ 165735 w 180975"/>
                        <a:gd name="connsiteY35" fmla="*/ 66675 h 180975"/>
                        <a:gd name="connsiteX36" fmla="*/ 179070 w 180975"/>
                        <a:gd name="connsiteY36" fmla="*/ 71438 h 180975"/>
                        <a:gd name="connsiteX37" fmla="*/ 181928 w 180975"/>
                        <a:gd name="connsiteY37" fmla="*/ 76200 h 180975"/>
                        <a:gd name="connsiteX38" fmla="*/ 181928 w 180975"/>
                        <a:gd name="connsiteY38" fmla="*/ 106680 h 180975"/>
                        <a:gd name="connsiteX39" fmla="*/ 179070 w 180975"/>
                        <a:gd name="connsiteY39" fmla="*/ 111443 h 180975"/>
                        <a:gd name="connsiteX40" fmla="*/ 164783 w 180975"/>
                        <a:gd name="connsiteY40" fmla="*/ 114300 h 180975"/>
                        <a:gd name="connsiteX41" fmla="*/ 160020 w 180975"/>
                        <a:gd name="connsiteY41" fmla="*/ 124778 h 180975"/>
                        <a:gd name="connsiteX42" fmla="*/ 165735 w 180975"/>
                        <a:gd name="connsiteY42" fmla="*/ 137160 h 180975"/>
                        <a:gd name="connsiteX43" fmla="*/ 164783 w 180975"/>
                        <a:gd name="connsiteY43" fmla="*/ 142875 h 180975"/>
                        <a:gd name="connsiteX44" fmla="*/ 142875 w 180975"/>
                        <a:gd name="connsiteY44" fmla="*/ 164783 h 180975"/>
                        <a:gd name="connsiteX45" fmla="*/ 137160 w 180975"/>
                        <a:gd name="connsiteY45" fmla="*/ 165735 h 180975"/>
                        <a:gd name="connsiteX46" fmla="*/ 124778 w 180975"/>
                        <a:gd name="connsiteY46" fmla="*/ 160020 h 180975"/>
                        <a:gd name="connsiteX47" fmla="*/ 114300 w 180975"/>
                        <a:gd name="connsiteY47" fmla="*/ 164783 h 180975"/>
                        <a:gd name="connsiteX48" fmla="*/ 109538 w 180975"/>
                        <a:gd name="connsiteY48" fmla="*/ 178118 h 180975"/>
                        <a:gd name="connsiteX49" fmla="*/ 105728 w 180975"/>
                        <a:gd name="connsiteY49" fmla="*/ 180975 h 180975"/>
                        <a:gd name="connsiteX50" fmla="*/ 79058 w 180975"/>
                        <a:gd name="connsiteY50" fmla="*/ 171450 h 180975"/>
                        <a:gd name="connsiteX51" fmla="*/ 102870 w 180975"/>
                        <a:gd name="connsiteY51" fmla="*/ 171450 h 180975"/>
                        <a:gd name="connsiteX52" fmla="*/ 106680 w 180975"/>
                        <a:gd name="connsiteY52" fmla="*/ 159068 h 180975"/>
                        <a:gd name="connsiteX53" fmla="*/ 109538 w 180975"/>
                        <a:gd name="connsiteY53" fmla="*/ 156210 h 180975"/>
                        <a:gd name="connsiteX54" fmla="*/ 122873 w 180975"/>
                        <a:gd name="connsiteY54" fmla="*/ 150495 h 180975"/>
                        <a:gd name="connsiteX55" fmla="*/ 127635 w 180975"/>
                        <a:gd name="connsiteY55" fmla="*/ 150495 h 180975"/>
                        <a:gd name="connsiteX56" fmla="*/ 139065 w 180975"/>
                        <a:gd name="connsiteY56" fmla="*/ 156210 h 180975"/>
                        <a:gd name="connsiteX57" fmla="*/ 156210 w 180975"/>
                        <a:gd name="connsiteY57" fmla="*/ 139065 h 180975"/>
                        <a:gd name="connsiteX58" fmla="*/ 150495 w 180975"/>
                        <a:gd name="connsiteY58" fmla="*/ 127635 h 180975"/>
                        <a:gd name="connsiteX59" fmla="*/ 150495 w 180975"/>
                        <a:gd name="connsiteY59" fmla="*/ 122873 h 180975"/>
                        <a:gd name="connsiteX60" fmla="*/ 156210 w 180975"/>
                        <a:gd name="connsiteY60" fmla="*/ 109538 h 180975"/>
                        <a:gd name="connsiteX61" fmla="*/ 159068 w 180975"/>
                        <a:gd name="connsiteY61" fmla="*/ 106680 h 180975"/>
                        <a:gd name="connsiteX62" fmla="*/ 171450 w 180975"/>
                        <a:gd name="connsiteY62" fmla="*/ 102870 h 180975"/>
                        <a:gd name="connsiteX63" fmla="*/ 171450 w 180975"/>
                        <a:gd name="connsiteY63" fmla="*/ 79058 h 180975"/>
                        <a:gd name="connsiteX64" fmla="*/ 159068 w 180975"/>
                        <a:gd name="connsiteY64" fmla="*/ 75248 h 180975"/>
                        <a:gd name="connsiteX65" fmla="*/ 156210 w 180975"/>
                        <a:gd name="connsiteY65" fmla="*/ 72390 h 180975"/>
                        <a:gd name="connsiteX66" fmla="*/ 150495 w 180975"/>
                        <a:gd name="connsiteY66" fmla="*/ 59055 h 180975"/>
                        <a:gd name="connsiteX67" fmla="*/ 150495 w 180975"/>
                        <a:gd name="connsiteY67" fmla="*/ 54293 h 180975"/>
                        <a:gd name="connsiteX68" fmla="*/ 156210 w 180975"/>
                        <a:gd name="connsiteY68" fmla="*/ 42863 h 180975"/>
                        <a:gd name="connsiteX69" fmla="*/ 139065 w 180975"/>
                        <a:gd name="connsiteY69" fmla="*/ 25717 h 180975"/>
                        <a:gd name="connsiteX70" fmla="*/ 127635 w 180975"/>
                        <a:gd name="connsiteY70" fmla="*/ 31433 h 180975"/>
                        <a:gd name="connsiteX71" fmla="*/ 122873 w 180975"/>
                        <a:gd name="connsiteY71" fmla="*/ 31433 h 180975"/>
                        <a:gd name="connsiteX72" fmla="*/ 109538 w 180975"/>
                        <a:gd name="connsiteY72" fmla="*/ 25717 h 180975"/>
                        <a:gd name="connsiteX73" fmla="*/ 106680 w 180975"/>
                        <a:gd name="connsiteY73" fmla="*/ 22860 h 180975"/>
                        <a:gd name="connsiteX74" fmla="*/ 102870 w 180975"/>
                        <a:gd name="connsiteY74" fmla="*/ 9525 h 180975"/>
                        <a:gd name="connsiteX75" fmla="*/ 90488 w 180975"/>
                        <a:gd name="connsiteY75" fmla="*/ 9525 h 180975"/>
                        <a:gd name="connsiteX76" fmla="*/ 79058 w 180975"/>
                        <a:gd name="connsiteY76" fmla="*/ 9525 h 180975"/>
                        <a:gd name="connsiteX77" fmla="*/ 74295 w 180975"/>
                        <a:gd name="connsiteY77" fmla="*/ 20955 h 180975"/>
                        <a:gd name="connsiteX78" fmla="*/ 71438 w 180975"/>
                        <a:gd name="connsiteY78" fmla="*/ 23813 h 180975"/>
                        <a:gd name="connsiteX79" fmla="*/ 58103 w 180975"/>
                        <a:gd name="connsiteY79" fmla="*/ 29528 h 180975"/>
                        <a:gd name="connsiteX80" fmla="*/ 53340 w 180975"/>
                        <a:gd name="connsiteY80" fmla="*/ 29528 h 180975"/>
                        <a:gd name="connsiteX81" fmla="*/ 41910 w 180975"/>
                        <a:gd name="connsiteY81" fmla="*/ 24765 h 180975"/>
                        <a:gd name="connsiteX82" fmla="*/ 24765 w 180975"/>
                        <a:gd name="connsiteY82" fmla="*/ 40958 h 180975"/>
                        <a:gd name="connsiteX83" fmla="*/ 30480 w 180975"/>
                        <a:gd name="connsiteY83" fmla="*/ 52388 h 180975"/>
                        <a:gd name="connsiteX84" fmla="*/ 30480 w 180975"/>
                        <a:gd name="connsiteY84" fmla="*/ 57150 h 180975"/>
                        <a:gd name="connsiteX85" fmla="*/ 24765 w 180975"/>
                        <a:gd name="connsiteY85" fmla="*/ 70485 h 180975"/>
                        <a:gd name="connsiteX86" fmla="*/ 21908 w 180975"/>
                        <a:gd name="connsiteY86" fmla="*/ 73343 h 180975"/>
                        <a:gd name="connsiteX87" fmla="*/ 9525 w 180975"/>
                        <a:gd name="connsiteY87" fmla="*/ 78105 h 180975"/>
                        <a:gd name="connsiteX88" fmla="*/ 9525 w 180975"/>
                        <a:gd name="connsiteY88" fmla="*/ 101918 h 180975"/>
                        <a:gd name="connsiteX89" fmla="*/ 21908 w 180975"/>
                        <a:gd name="connsiteY89" fmla="*/ 105728 h 180975"/>
                        <a:gd name="connsiteX90" fmla="*/ 24765 w 180975"/>
                        <a:gd name="connsiteY90" fmla="*/ 108585 h 180975"/>
                        <a:gd name="connsiteX91" fmla="*/ 30480 w 180975"/>
                        <a:gd name="connsiteY91" fmla="*/ 121920 h 180975"/>
                        <a:gd name="connsiteX92" fmla="*/ 30480 w 180975"/>
                        <a:gd name="connsiteY92" fmla="*/ 126682 h 180975"/>
                        <a:gd name="connsiteX93" fmla="*/ 24765 w 180975"/>
                        <a:gd name="connsiteY93" fmla="*/ 138113 h 180975"/>
                        <a:gd name="connsiteX94" fmla="*/ 41910 w 180975"/>
                        <a:gd name="connsiteY94" fmla="*/ 155258 h 180975"/>
                        <a:gd name="connsiteX95" fmla="*/ 53340 w 180975"/>
                        <a:gd name="connsiteY95" fmla="*/ 149543 h 180975"/>
                        <a:gd name="connsiteX96" fmla="*/ 58103 w 180975"/>
                        <a:gd name="connsiteY96" fmla="*/ 149543 h 180975"/>
                        <a:gd name="connsiteX97" fmla="*/ 71438 w 180975"/>
                        <a:gd name="connsiteY97" fmla="*/ 156210 h 180975"/>
                        <a:gd name="connsiteX98" fmla="*/ 74295 w 180975"/>
                        <a:gd name="connsiteY98" fmla="*/ 159068 h 180975"/>
                        <a:gd name="connsiteX99" fmla="*/ 79058 w 180975"/>
                        <a:gd name="connsiteY99" fmla="*/ 171450 h 18097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  <a:cxn ang="0">
                          <a:pos x="connsiteX45" y="connsiteY45"/>
                        </a:cxn>
                        <a:cxn ang="0">
                          <a:pos x="connsiteX46" y="connsiteY46"/>
                        </a:cxn>
                        <a:cxn ang="0">
                          <a:pos x="connsiteX47" y="connsiteY47"/>
                        </a:cxn>
                        <a:cxn ang="0">
                          <a:pos x="connsiteX48" y="connsiteY48"/>
                        </a:cxn>
                        <a:cxn ang="0">
                          <a:pos x="connsiteX49" y="connsiteY49"/>
                        </a:cxn>
                        <a:cxn ang="0">
                          <a:pos x="connsiteX50" y="connsiteY50"/>
                        </a:cxn>
                        <a:cxn ang="0">
                          <a:pos x="connsiteX51" y="connsiteY51"/>
                        </a:cxn>
                        <a:cxn ang="0">
                          <a:pos x="connsiteX52" y="connsiteY52"/>
                        </a:cxn>
                        <a:cxn ang="0">
                          <a:pos x="connsiteX53" y="connsiteY53"/>
                        </a:cxn>
                        <a:cxn ang="0">
                          <a:pos x="connsiteX54" y="connsiteY54"/>
                        </a:cxn>
                        <a:cxn ang="0">
                          <a:pos x="connsiteX55" y="connsiteY55"/>
                        </a:cxn>
                        <a:cxn ang="0">
                          <a:pos x="connsiteX56" y="connsiteY56"/>
                        </a:cxn>
                        <a:cxn ang="0">
                          <a:pos x="connsiteX57" y="connsiteY57"/>
                        </a:cxn>
                        <a:cxn ang="0">
                          <a:pos x="connsiteX58" y="connsiteY58"/>
                        </a:cxn>
                        <a:cxn ang="0">
                          <a:pos x="connsiteX59" y="connsiteY59"/>
                        </a:cxn>
                        <a:cxn ang="0">
                          <a:pos x="connsiteX60" y="connsiteY60"/>
                        </a:cxn>
                        <a:cxn ang="0">
                          <a:pos x="connsiteX61" y="connsiteY61"/>
                        </a:cxn>
                        <a:cxn ang="0">
                          <a:pos x="connsiteX62" y="connsiteY62"/>
                        </a:cxn>
                        <a:cxn ang="0">
                          <a:pos x="connsiteX63" y="connsiteY63"/>
                        </a:cxn>
                        <a:cxn ang="0">
                          <a:pos x="connsiteX64" y="connsiteY64"/>
                        </a:cxn>
                        <a:cxn ang="0">
                          <a:pos x="connsiteX65" y="connsiteY65"/>
                        </a:cxn>
                        <a:cxn ang="0">
                          <a:pos x="connsiteX66" y="connsiteY66"/>
                        </a:cxn>
                        <a:cxn ang="0">
                          <a:pos x="connsiteX67" y="connsiteY67"/>
                        </a:cxn>
                        <a:cxn ang="0">
                          <a:pos x="connsiteX68" y="connsiteY68"/>
                        </a:cxn>
                        <a:cxn ang="0">
                          <a:pos x="connsiteX69" y="connsiteY69"/>
                        </a:cxn>
                        <a:cxn ang="0">
                          <a:pos x="connsiteX70" y="connsiteY70"/>
                        </a:cxn>
                        <a:cxn ang="0">
                          <a:pos x="connsiteX71" y="connsiteY71"/>
                        </a:cxn>
                        <a:cxn ang="0">
                          <a:pos x="connsiteX72" y="connsiteY72"/>
                        </a:cxn>
                        <a:cxn ang="0">
                          <a:pos x="connsiteX73" y="connsiteY73"/>
                        </a:cxn>
                        <a:cxn ang="0">
                          <a:pos x="connsiteX74" y="connsiteY74"/>
                        </a:cxn>
                        <a:cxn ang="0">
                          <a:pos x="connsiteX75" y="connsiteY75"/>
                        </a:cxn>
                        <a:cxn ang="0">
                          <a:pos x="connsiteX76" y="connsiteY76"/>
                        </a:cxn>
                        <a:cxn ang="0">
                          <a:pos x="connsiteX77" y="connsiteY77"/>
                        </a:cxn>
                        <a:cxn ang="0">
                          <a:pos x="connsiteX78" y="connsiteY78"/>
                        </a:cxn>
                        <a:cxn ang="0">
                          <a:pos x="connsiteX79" y="connsiteY79"/>
                        </a:cxn>
                        <a:cxn ang="0">
                          <a:pos x="connsiteX80" y="connsiteY80"/>
                        </a:cxn>
                        <a:cxn ang="0">
                          <a:pos x="connsiteX81" y="connsiteY81"/>
                        </a:cxn>
                        <a:cxn ang="0">
                          <a:pos x="connsiteX82" y="connsiteY82"/>
                        </a:cxn>
                        <a:cxn ang="0">
                          <a:pos x="connsiteX83" y="connsiteY83"/>
                        </a:cxn>
                        <a:cxn ang="0">
                          <a:pos x="connsiteX84" y="connsiteY84"/>
                        </a:cxn>
                        <a:cxn ang="0">
                          <a:pos x="connsiteX85" y="connsiteY85"/>
                        </a:cxn>
                        <a:cxn ang="0">
                          <a:pos x="connsiteX86" y="connsiteY86"/>
                        </a:cxn>
                        <a:cxn ang="0">
                          <a:pos x="connsiteX87" y="connsiteY87"/>
                        </a:cxn>
                        <a:cxn ang="0">
                          <a:pos x="connsiteX88" y="connsiteY88"/>
                        </a:cxn>
                        <a:cxn ang="0">
                          <a:pos x="connsiteX89" y="connsiteY89"/>
                        </a:cxn>
                        <a:cxn ang="0">
                          <a:pos x="connsiteX90" y="connsiteY90"/>
                        </a:cxn>
                        <a:cxn ang="0">
                          <a:pos x="connsiteX91" y="connsiteY91"/>
                        </a:cxn>
                        <a:cxn ang="0">
                          <a:pos x="connsiteX92" y="connsiteY92"/>
                        </a:cxn>
                        <a:cxn ang="0">
                          <a:pos x="connsiteX93" y="connsiteY93"/>
                        </a:cxn>
                        <a:cxn ang="0">
                          <a:pos x="connsiteX94" y="connsiteY94"/>
                        </a:cxn>
                        <a:cxn ang="0">
                          <a:pos x="connsiteX95" y="connsiteY95"/>
                        </a:cxn>
                        <a:cxn ang="0">
                          <a:pos x="connsiteX96" y="connsiteY96"/>
                        </a:cxn>
                        <a:cxn ang="0">
                          <a:pos x="connsiteX97" y="connsiteY97"/>
                        </a:cxn>
                        <a:cxn ang="0">
                          <a:pos x="connsiteX98" y="connsiteY98"/>
                        </a:cxn>
                        <a:cxn ang="0">
                          <a:pos x="connsiteX99" y="connsiteY99"/>
                        </a:cxn>
                      </a:cxnLst>
                      <a:rect l="l" t="t" r="r" b="b"/>
                      <a:pathLst>
                        <a:path w="180975" h="180975">
                          <a:moveTo>
                            <a:pt x="105728" y="180975"/>
                          </a:moveTo>
                          <a:lnTo>
                            <a:pt x="75248" y="180975"/>
                          </a:lnTo>
                          <a:cubicBezTo>
                            <a:pt x="73343" y="180975"/>
                            <a:pt x="71438" y="180023"/>
                            <a:pt x="70485" y="178118"/>
                          </a:cubicBezTo>
                          <a:lnTo>
                            <a:pt x="65723" y="164783"/>
                          </a:lnTo>
                          <a:cubicBezTo>
                            <a:pt x="61913" y="163830"/>
                            <a:pt x="58103" y="161925"/>
                            <a:pt x="55245" y="160020"/>
                          </a:cubicBezTo>
                          <a:lnTo>
                            <a:pt x="42863" y="165735"/>
                          </a:lnTo>
                          <a:cubicBezTo>
                            <a:pt x="40958" y="166688"/>
                            <a:pt x="39053" y="166688"/>
                            <a:pt x="37148" y="164783"/>
                          </a:cubicBezTo>
                          <a:lnTo>
                            <a:pt x="15240" y="142875"/>
                          </a:lnTo>
                          <a:cubicBezTo>
                            <a:pt x="13335" y="140970"/>
                            <a:pt x="13335" y="139065"/>
                            <a:pt x="14288" y="137160"/>
                          </a:cubicBezTo>
                          <a:lnTo>
                            <a:pt x="20003" y="124778"/>
                          </a:lnTo>
                          <a:cubicBezTo>
                            <a:pt x="19050" y="121920"/>
                            <a:pt x="17145" y="118110"/>
                            <a:pt x="16193" y="114300"/>
                          </a:cubicBezTo>
                          <a:lnTo>
                            <a:pt x="2858" y="109538"/>
                          </a:lnTo>
                          <a:cubicBezTo>
                            <a:pt x="953" y="109538"/>
                            <a:pt x="0" y="107632"/>
                            <a:pt x="0" y="105728"/>
                          </a:cubicBezTo>
                          <a:lnTo>
                            <a:pt x="0" y="75248"/>
                          </a:lnTo>
                          <a:cubicBezTo>
                            <a:pt x="0" y="73343"/>
                            <a:pt x="953" y="71438"/>
                            <a:pt x="2858" y="70485"/>
                          </a:cubicBezTo>
                          <a:lnTo>
                            <a:pt x="16193" y="65723"/>
                          </a:lnTo>
                          <a:cubicBezTo>
                            <a:pt x="17145" y="61913"/>
                            <a:pt x="19050" y="58103"/>
                            <a:pt x="20955" y="55245"/>
                          </a:cubicBezTo>
                          <a:lnTo>
                            <a:pt x="15240" y="41910"/>
                          </a:lnTo>
                          <a:cubicBezTo>
                            <a:pt x="14288" y="40958"/>
                            <a:pt x="14288" y="38100"/>
                            <a:pt x="15240" y="37147"/>
                          </a:cubicBezTo>
                          <a:lnTo>
                            <a:pt x="37148" y="15240"/>
                          </a:lnTo>
                          <a:cubicBezTo>
                            <a:pt x="38100" y="14288"/>
                            <a:pt x="40958" y="13335"/>
                            <a:pt x="42863" y="14288"/>
                          </a:cubicBezTo>
                          <a:lnTo>
                            <a:pt x="55245" y="20003"/>
                          </a:lnTo>
                          <a:cubicBezTo>
                            <a:pt x="59055" y="18098"/>
                            <a:pt x="62865" y="17145"/>
                            <a:pt x="65723" y="15240"/>
                          </a:cubicBezTo>
                          <a:lnTo>
                            <a:pt x="70485" y="1905"/>
                          </a:lnTo>
                          <a:cubicBezTo>
                            <a:pt x="71438" y="952"/>
                            <a:pt x="73343" y="0"/>
                            <a:pt x="75248" y="0"/>
                          </a:cubicBezTo>
                          <a:lnTo>
                            <a:pt x="90488" y="0"/>
                          </a:lnTo>
                          <a:lnTo>
                            <a:pt x="105728" y="0"/>
                          </a:lnTo>
                          <a:cubicBezTo>
                            <a:pt x="107633" y="0"/>
                            <a:pt x="109538" y="952"/>
                            <a:pt x="110490" y="2858"/>
                          </a:cubicBezTo>
                          <a:lnTo>
                            <a:pt x="115253" y="16192"/>
                          </a:lnTo>
                          <a:cubicBezTo>
                            <a:pt x="119063" y="17145"/>
                            <a:pt x="122873" y="19050"/>
                            <a:pt x="125730" y="20955"/>
                          </a:cubicBezTo>
                          <a:lnTo>
                            <a:pt x="138113" y="15240"/>
                          </a:lnTo>
                          <a:cubicBezTo>
                            <a:pt x="140018" y="14288"/>
                            <a:pt x="141923" y="14288"/>
                            <a:pt x="143828" y="16192"/>
                          </a:cubicBezTo>
                          <a:lnTo>
                            <a:pt x="165735" y="38100"/>
                          </a:lnTo>
                          <a:cubicBezTo>
                            <a:pt x="167640" y="40005"/>
                            <a:pt x="167640" y="41910"/>
                            <a:pt x="166688" y="43815"/>
                          </a:cubicBezTo>
                          <a:lnTo>
                            <a:pt x="160973" y="56197"/>
                          </a:lnTo>
                          <a:cubicBezTo>
                            <a:pt x="162878" y="60008"/>
                            <a:pt x="163830" y="63818"/>
                            <a:pt x="165735" y="66675"/>
                          </a:cubicBezTo>
                          <a:lnTo>
                            <a:pt x="179070" y="71438"/>
                          </a:lnTo>
                          <a:cubicBezTo>
                            <a:pt x="180975" y="72390"/>
                            <a:pt x="181928" y="74295"/>
                            <a:pt x="181928" y="76200"/>
                          </a:cubicBezTo>
                          <a:lnTo>
                            <a:pt x="181928" y="106680"/>
                          </a:lnTo>
                          <a:cubicBezTo>
                            <a:pt x="181928" y="108585"/>
                            <a:pt x="180975" y="110490"/>
                            <a:pt x="179070" y="111443"/>
                          </a:cubicBezTo>
                          <a:lnTo>
                            <a:pt x="164783" y="114300"/>
                          </a:lnTo>
                          <a:cubicBezTo>
                            <a:pt x="163830" y="118110"/>
                            <a:pt x="161925" y="121920"/>
                            <a:pt x="160020" y="124778"/>
                          </a:cubicBezTo>
                          <a:lnTo>
                            <a:pt x="165735" y="137160"/>
                          </a:lnTo>
                          <a:cubicBezTo>
                            <a:pt x="166688" y="139065"/>
                            <a:pt x="166688" y="140970"/>
                            <a:pt x="164783" y="142875"/>
                          </a:cubicBezTo>
                          <a:lnTo>
                            <a:pt x="142875" y="164783"/>
                          </a:lnTo>
                          <a:cubicBezTo>
                            <a:pt x="141923" y="166688"/>
                            <a:pt x="139065" y="166688"/>
                            <a:pt x="137160" y="165735"/>
                          </a:cubicBezTo>
                          <a:lnTo>
                            <a:pt x="124778" y="160020"/>
                          </a:lnTo>
                          <a:cubicBezTo>
                            <a:pt x="120968" y="161925"/>
                            <a:pt x="117158" y="162878"/>
                            <a:pt x="114300" y="164783"/>
                          </a:cubicBezTo>
                          <a:lnTo>
                            <a:pt x="109538" y="178118"/>
                          </a:lnTo>
                          <a:cubicBezTo>
                            <a:pt x="109538" y="179070"/>
                            <a:pt x="107633" y="180975"/>
                            <a:pt x="105728" y="180975"/>
                          </a:cubicBezTo>
                          <a:close/>
                          <a:moveTo>
                            <a:pt x="79058" y="171450"/>
                          </a:moveTo>
                          <a:lnTo>
                            <a:pt x="102870" y="171450"/>
                          </a:lnTo>
                          <a:lnTo>
                            <a:pt x="106680" y="159068"/>
                          </a:lnTo>
                          <a:cubicBezTo>
                            <a:pt x="107633" y="157163"/>
                            <a:pt x="108585" y="156210"/>
                            <a:pt x="109538" y="156210"/>
                          </a:cubicBezTo>
                          <a:cubicBezTo>
                            <a:pt x="114300" y="155258"/>
                            <a:pt x="119063" y="153353"/>
                            <a:pt x="122873" y="150495"/>
                          </a:cubicBezTo>
                          <a:cubicBezTo>
                            <a:pt x="123825" y="149543"/>
                            <a:pt x="125730" y="149543"/>
                            <a:pt x="127635" y="150495"/>
                          </a:cubicBezTo>
                          <a:lnTo>
                            <a:pt x="139065" y="156210"/>
                          </a:lnTo>
                          <a:lnTo>
                            <a:pt x="156210" y="139065"/>
                          </a:lnTo>
                          <a:lnTo>
                            <a:pt x="150495" y="127635"/>
                          </a:lnTo>
                          <a:cubicBezTo>
                            <a:pt x="149543" y="126682"/>
                            <a:pt x="149543" y="124778"/>
                            <a:pt x="150495" y="122873"/>
                          </a:cubicBezTo>
                          <a:cubicBezTo>
                            <a:pt x="153353" y="118110"/>
                            <a:pt x="155258" y="114300"/>
                            <a:pt x="156210" y="109538"/>
                          </a:cubicBezTo>
                          <a:cubicBezTo>
                            <a:pt x="156210" y="107632"/>
                            <a:pt x="158115" y="106680"/>
                            <a:pt x="159068" y="106680"/>
                          </a:cubicBezTo>
                          <a:lnTo>
                            <a:pt x="171450" y="102870"/>
                          </a:lnTo>
                          <a:lnTo>
                            <a:pt x="171450" y="79058"/>
                          </a:lnTo>
                          <a:lnTo>
                            <a:pt x="159068" y="75248"/>
                          </a:lnTo>
                          <a:cubicBezTo>
                            <a:pt x="157163" y="74295"/>
                            <a:pt x="156210" y="73343"/>
                            <a:pt x="156210" y="72390"/>
                          </a:cubicBezTo>
                          <a:cubicBezTo>
                            <a:pt x="155258" y="67628"/>
                            <a:pt x="153353" y="62865"/>
                            <a:pt x="150495" y="59055"/>
                          </a:cubicBezTo>
                          <a:cubicBezTo>
                            <a:pt x="149543" y="58103"/>
                            <a:pt x="149543" y="56197"/>
                            <a:pt x="150495" y="54293"/>
                          </a:cubicBezTo>
                          <a:lnTo>
                            <a:pt x="156210" y="42863"/>
                          </a:lnTo>
                          <a:lnTo>
                            <a:pt x="139065" y="25717"/>
                          </a:lnTo>
                          <a:lnTo>
                            <a:pt x="127635" y="31433"/>
                          </a:lnTo>
                          <a:cubicBezTo>
                            <a:pt x="126683" y="32385"/>
                            <a:pt x="124778" y="32385"/>
                            <a:pt x="122873" y="31433"/>
                          </a:cubicBezTo>
                          <a:cubicBezTo>
                            <a:pt x="118110" y="28575"/>
                            <a:pt x="114300" y="26670"/>
                            <a:pt x="109538" y="25717"/>
                          </a:cubicBezTo>
                          <a:cubicBezTo>
                            <a:pt x="107633" y="25717"/>
                            <a:pt x="106680" y="23813"/>
                            <a:pt x="106680" y="22860"/>
                          </a:cubicBezTo>
                          <a:lnTo>
                            <a:pt x="102870" y="9525"/>
                          </a:lnTo>
                          <a:lnTo>
                            <a:pt x="90488" y="9525"/>
                          </a:lnTo>
                          <a:lnTo>
                            <a:pt x="79058" y="9525"/>
                          </a:lnTo>
                          <a:lnTo>
                            <a:pt x="74295" y="20955"/>
                          </a:lnTo>
                          <a:cubicBezTo>
                            <a:pt x="73343" y="22860"/>
                            <a:pt x="72390" y="23813"/>
                            <a:pt x="71438" y="23813"/>
                          </a:cubicBezTo>
                          <a:cubicBezTo>
                            <a:pt x="66675" y="25717"/>
                            <a:pt x="61913" y="27623"/>
                            <a:pt x="58103" y="29528"/>
                          </a:cubicBezTo>
                          <a:cubicBezTo>
                            <a:pt x="57150" y="30480"/>
                            <a:pt x="55245" y="30480"/>
                            <a:pt x="53340" y="29528"/>
                          </a:cubicBezTo>
                          <a:lnTo>
                            <a:pt x="41910" y="24765"/>
                          </a:lnTo>
                          <a:lnTo>
                            <a:pt x="24765" y="40958"/>
                          </a:lnTo>
                          <a:lnTo>
                            <a:pt x="30480" y="52388"/>
                          </a:lnTo>
                          <a:cubicBezTo>
                            <a:pt x="31433" y="53340"/>
                            <a:pt x="31433" y="55245"/>
                            <a:pt x="30480" y="57150"/>
                          </a:cubicBezTo>
                          <a:cubicBezTo>
                            <a:pt x="27623" y="61913"/>
                            <a:pt x="25718" y="65723"/>
                            <a:pt x="24765" y="70485"/>
                          </a:cubicBezTo>
                          <a:cubicBezTo>
                            <a:pt x="24765" y="72390"/>
                            <a:pt x="22860" y="73343"/>
                            <a:pt x="21908" y="73343"/>
                          </a:cubicBezTo>
                          <a:lnTo>
                            <a:pt x="9525" y="78105"/>
                          </a:lnTo>
                          <a:lnTo>
                            <a:pt x="9525" y="101918"/>
                          </a:lnTo>
                          <a:lnTo>
                            <a:pt x="21908" y="105728"/>
                          </a:lnTo>
                          <a:cubicBezTo>
                            <a:pt x="23813" y="106680"/>
                            <a:pt x="24765" y="107632"/>
                            <a:pt x="24765" y="108585"/>
                          </a:cubicBezTo>
                          <a:cubicBezTo>
                            <a:pt x="25718" y="113348"/>
                            <a:pt x="27623" y="118110"/>
                            <a:pt x="30480" y="121920"/>
                          </a:cubicBezTo>
                          <a:cubicBezTo>
                            <a:pt x="31433" y="122873"/>
                            <a:pt x="31433" y="124778"/>
                            <a:pt x="30480" y="126682"/>
                          </a:cubicBezTo>
                          <a:lnTo>
                            <a:pt x="24765" y="138113"/>
                          </a:lnTo>
                          <a:lnTo>
                            <a:pt x="41910" y="155258"/>
                          </a:lnTo>
                          <a:lnTo>
                            <a:pt x="53340" y="149543"/>
                          </a:lnTo>
                          <a:cubicBezTo>
                            <a:pt x="54293" y="148590"/>
                            <a:pt x="56198" y="148590"/>
                            <a:pt x="58103" y="149543"/>
                          </a:cubicBezTo>
                          <a:cubicBezTo>
                            <a:pt x="61913" y="152400"/>
                            <a:pt x="66675" y="154305"/>
                            <a:pt x="71438" y="156210"/>
                          </a:cubicBezTo>
                          <a:cubicBezTo>
                            <a:pt x="73343" y="156210"/>
                            <a:pt x="74295" y="158115"/>
                            <a:pt x="74295" y="159068"/>
                          </a:cubicBezTo>
                          <a:lnTo>
                            <a:pt x="79058" y="171450"/>
                          </a:lnTo>
                          <a:close/>
                        </a:path>
                      </a:pathLst>
                    </a:custGeom>
                    <a:grpFill/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Ubuntu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28" name="Freeform: Shape 189">
                      <a:extLst>
                        <a:ext uri="{FF2B5EF4-FFF2-40B4-BE49-F238E27FC236}">
                          <a16:creationId xmlns:a16="http://schemas.microsoft.com/office/drawing/2014/main" id="{1C4867BE-B78B-2E4E-8516-788C05B2D56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000274" y="3405663"/>
                      <a:ext cx="66675" cy="57150"/>
                    </a:xfrm>
                    <a:custGeom>
                      <a:avLst/>
                      <a:gdLst>
                        <a:gd name="connsiteX0" fmla="*/ 33814 w 66675"/>
                        <a:gd name="connsiteY0" fmla="*/ 66199 h 57150"/>
                        <a:gd name="connsiteX1" fmla="*/ 10001 w 66675"/>
                        <a:gd name="connsiteY1" fmla="*/ 56674 h 57150"/>
                        <a:gd name="connsiteX2" fmla="*/ 10001 w 66675"/>
                        <a:gd name="connsiteY2" fmla="*/ 10001 h 57150"/>
                        <a:gd name="connsiteX3" fmla="*/ 56674 w 66675"/>
                        <a:gd name="connsiteY3" fmla="*/ 10001 h 57150"/>
                        <a:gd name="connsiteX4" fmla="*/ 56674 w 66675"/>
                        <a:gd name="connsiteY4" fmla="*/ 10001 h 57150"/>
                        <a:gd name="connsiteX5" fmla="*/ 56674 w 66675"/>
                        <a:gd name="connsiteY5" fmla="*/ 56674 h 57150"/>
                        <a:gd name="connsiteX6" fmla="*/ 33814 w 66675"/>
                        <a:gd name="connsiteY6" fmla="*/ 66199 h 57150"/>
                        <a:gd name="connsiteX7" fmla="*/ 33814 w 66675"/>
                        <a:gd name="connsiteY7" fmla="*/ 9049 h 57150"/>
                        <a:gd name="connsiteX8" fmla="*/ 16669 w 66675"/>
                        <a:gd name="connsiteY8" fmla="*/ 15716 h 57150"/>
                        <a:gd name="connsiteX9" fmla="*/ 16669 w 66675"/>
                        <a:gd name="connsiteY9" fmla="*/ 49054 h 57150"/>
                        <a:gd name="connsiteX10" fmla="*/ 50006 w 66675"/>
                        <a:gd name="connsiteY10" fmla="*/ 49054 h 57150"/>
                        <a:gd name="connsiteX11" fmla="*/ 50006 w 66675"/>
                        <a:gd name="connsiteY11" fmla="*/ 15716 h 57150"/>
                        <a:gd name="connsiteX12" fmla="*/ 33814 w 66675"/>
                        <a:gd name="connsiteY12" fmla="*/ 9049 h 571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</a:cxnLst>
                      <a:rect l="l" t="t" r="r" b="b"/>
                      <a:pathLst>
                        <a:path w="66675" h="57150">
                          <a:moveTo>
                            <a:pt x="33814" y="66199"/>
                          </a:moveTo>
                          <a:cubicBezTo>
                            <a:pt x="25241" y="66199"/>
                            <a:pt x="16669" y="63341"/>
                            <a:pt x="10001" y="56674"/>
                          </a:cubicBezTo>
                          <a:cubicBezTo>
                            <a:pt x="-3334" y="43339"/>
                            <a:pt x="-3334" y="22384"/>
                            <a:pt x="10001" y="10001"/>
                          </a:cubicBezTo>
                          <a:cubicBezTo>
                            <a:pt x="23336" y="-3334"/>
                            <a:pt x="44291" y="-3334"/>
                            <a:pt x="56674" y="10001"/>
                          </a:cubicBezTo>
                          <a:lnTo>
                            <a:pt x="56674" y="10001"/>
                          </a:lnTo>
                          <a:cubicBezTo>
                            <a:pt x="70009" y="23336"/>
                            <a:pt x="70009" y="44291"/>
                            <a:pt x="56674" y="56674"/>
                          </a:cubicBezTo>
                          <a:cubicBezTo>
                            <a:pt x="50959" y="62389"/>
                            <a:pt x="42386" y="66199"/>
                            <a:pt x="33814" y="66199"/>
                          </a:cubicBezTo>
                          <a:close/>
                          <a:moveTo>
                            <a:pt x="33814" y="9049"/>
                          </a:moveTo>
                          <a:cubicBezTo>
                            <a:pt x="28099" y="9049"/>
                            <a:pt x="21431" y="10954"/>
                            <a:pt x="16669" y="15716"/>
                          </a:cubicBezTo>
                          <a:cubicBezTo>
                            <a:pt x="7144" y="25241"/>
                            <a:pt x="7144" y="40481"/>
                            <a:pt x="16669" y="49054"/>
                          </a:cubicBezTo>
                          <a:cubicBezTo>
                            <a:pt x="26194" y="58579"/>
                            <a:pt x="41434" y="58579"/>
                            <a:pt x="50006" y="49054"/>
                          </a:cubicBezTo>
                          <a:cubicBezTo>
                            <a:pt x="59531" y="39529"/>
                            <a:pt x="59531" y="24289"/>
                            <a:pt x="50006" y="15716"/>
                          </a:cubicBezTo>
                          <a:cubicBezTo>
                            <a:pt x="46196" y="10954"/>
                            <a:pt x="39529" y="9049"/>
                            <a:pt x="33814" y="9049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Ubuntu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21" name="Graphic 3">
                    <a:extLst>
                      <a:ext uri="{FF2B5EF4-FFF2-40B4-BE49-F238E27FC236}">
                        <a16:creationId xmlns:a16="http://schemas.microsoft.com/office/drawing/2014/main" id="{B425E9DE-7ACD-4A4D-3765-DE763B0BD3B3}"/>
                      </a:ext>
                    </a:extLst>
                  </p:cNvPr>
                  <p:cNvGrpSpPr/>
                  <p:nvPr/>
                </p:nvGrpSpPr>
                <p:grpSpPr>
                  <a:xfrm>
                    <a:off x="6111240" y="3300412"/>
                    <a:ext cx="123825" cy="123825"/>
                    <a:chOff x="6111240" y="3300412"/>
                    <a:chExt cx="123825" cy="123825"/>
                  </a:xfrm>
                  <a:grpFill/>
                </p:grpSpPr>
                <p:sp>
                  <p:nvSpPr>
                    <p:cNvPr id="225" name="Freeform: Shape 186">
                      <a:extLst>
                        <a:ext uri="{FF2B5EF4-FFF2-40B4-BE49-F238E27FC236}">
                          <a16:creationId xmlns:a16="http://schemas.microsoft.com/office/drawing/2014/main" id="{ED1A415F-8F2D-8DAD-C6E7-E3A6BA67FEF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111240" y="3300412"/>
                      <a:ext cx="123825" cy="123825"/>
                    </a:xfrm>
                    <a:custGeom>
                      <a:avLst/>
                      <a:gdLst>
                        <a:gd name="connsiteX0" fmla="*/ 77153 w 123825"/>
                        <a:gd name="connsiteY0" fmla="*/ 132398 h 123825"/>
                        <a:gd name="connsiteX1" fmla="*/ 55245 w 123825"/>
                        <a:gd name="connsiteY1" fmla="*/ 132398 h 123825"/>
                        <a:gd name="connsiteX2" fmla="*/ 50482 w 123825"/>
                        <a:gd name="connsiteY2" fmla="*/ 129540 h 123825"/>
                        <a:gd name="connsiteX3" fmla="*/ 47625 w 123825"/>
                        <a:gd name="connsiteY3" fmla="*/ 120968 h 123825"/>
                        <a:gd name="connsiteX4" fmla="*/ 40957 w 123825"/>
                        <a:gd name="connsiteY4" fmla="*/ 118110 h 123825"/>
                        <a:gd name="connsiteX5" fmla="*/ 32385 w 123825"/>
                        <a:gd name="connsiteY5" fmla="*/ 121920 h 123825"/>
                        <a:gd name="connsiteX6" fmla="*/ 26670 w 123825"/>
                        <a:gd name="connsiteY6" fmla="*/ 120968 h 123825"/>
                        <a:gd name="connsiteX7" fmla="*/ 11430 w 123825"/>
                        <a:gd name="connsiteY7" fmla="*/ 105728 h 123825"/>
                        <a:gd name="connsiteX8" fmla="*/ 10478 w 123825"/>
                        <a:gd name="connsiteY8" fmla="*/ 100013 h 123825"/>
                        <a:gd name="connsiteX9" fmla="*/ 14288 w 123825"/>
                        <a:gd name="connsiteY9" fmla="*/ 91440 h 123825"/>
                        <a:gd name="connsiteX10" fmla="*/ 11430 w 123825"/>
                        <a:gd name="connsiteY10" fmla="*/ 84773 h 123825"/>
                        <a:gd name="connsiteX11" fmla="*/ 2857 w 123825"/>
                        <a:gd name="connsiteY11" fmla="*/ 81915 h 123825"/>
                        <a:gd name="connsiteX12" fmla="*/ 0 w 123825"/>
                        <a:gd name="connsiteY12" fmla="*/ 77153 h 123825"/>
                        <a:gd name="connsiteX13" fmla="*/ 0 w 123825"/>
                        <a:gd name="connsiteY13" fmla="*/ 55245 h 123825"/>
                        <a:gd name="connsiteX14" fmla="*/ 2857 w 123825"/>
                        <a:gd name="connsiteY14" fmla="*/ 50483 h 123825"/>
                        <a:gd name="connsiteX15" fmla="*/ 11430 w 123825"/>
                        <a:gd name="connsiteY15" fmla="*/ 47625 h 123825"/>
                        <a:gd name="connsiteX16" fmla="*/ 14288 w 123825"/>
                        <a:gd name="connsiteY16" fmla="*/ 40958 h 123825"/>
                        <a:gd name="connsiteX17" fmla="*/ 10478 w 123825"/>
                        <a:gd name="connsiteY17" fmla="*/ 32385 h 123825"/>
                        <a:gd name="connsiteX18" fmla="*/ 11430 w 123825"/>
                        <a:gd name="connsiteY18" fmla="*/ 26670 h 123825"/>
                        <a:gd name="connsiteX19" fmla="*/ 26670 w 123825"/>
                        <a:gd name="connsiteY19" fmla="*/ 11430 h 123825"/>
                        <a:gd name="connsiteX20" fmla="*/ 32385 w 123825"/>
                        <a:gd name="connsiteY20" fmla="*/ 10478 h 123825"/>
                        <a:gd name="connsiteX21" fmla="*/ 40957 w 123825"/>
                        <a:gd name="connsiteY21" fmla="*/ 14288 h 123825"/>
                        <a:gd name="connsiteX22" fmla="*/ 47625 w 123825"/>
                        <a:gd name="connsiteY22" fmla="*/ 11430 h 123825"/>
                        <a:gd name="connsiteX23" fmla="*/ 50482 w 123825"/>
                        <a:gd name="connsiteY23" fmla="*/ 2858 h 123825"/>
                        <a:gd name="connsiteX24" fmla="*/ 54292 w 123825"/>
                        <a:gd name="connsiteY24" fmla="*/ 0 h 123825"/>
                        <a:gd name="connsiteX25" fmla="*/ 65723 w 123825"/>
                        <a:gd name="connsiteY25" fmla="*/ 0 h 123825"/>
                        <a:gd name="connsiteX26" fmla="*/ 77153 w 123825"/>
                        <a:gd name="connsiteY26" fmla="*/ 0 h 123825"/>
                        <a:gd name="connsiteX27" fmla="*/ 81915 w 123825"/>
                        <a:gd name="connsiteY27" fmla="*/ 2858 h 123825"/>
                        <a:gd name="connsiteX28" fmla="*/ 84773 w 123825"/>
                        <a:gd name="connsiteY28" fmla="*/ 11430 h 123825"/>
                        <a:gd name="connsiteX29" fmla="*/ 91440 w 123825"/>
                        <a:gd name="connsiteY29" fmla="*/ 14288 h 123825"/>
                        <a:gd name="connsiteX30" fmla="*/ 99060 w 123825"/>
                        <a:gd name="connsiteY30" fmla="*/ 10478 h 123825"/>
                        <a:gd name="connsiteX31" fmla="*/ 104775 w 123825"/>
                        <a:gd name="connsiteY31" fmla="*/ 11430 h 123825"/>
                        <a:gd name="connsiteX32" fmla="*/ 120015 w 123825"/>
                        <a:gd name="connsiteY32" fmla="*/ 26670 h 123825"/>
                        <a:gd name="connsiteX33" fmla="*/ 120967 w 123825"/>
                        <a:gd name="connsiteY33" fmla="*/ 32385 h 123825"/>
                        <a:gd name="connsiteX34" fmla="*/ 117157 w 123825"/>
                        <a:gd name="connsiteY34" fmla="*/ 40958 h 123825"/>
                        <a:gd name="connsiteX35" fmla="*/ 120015 w 123825"/>
                        <a:gd name="connsiteY35" fmla="*/ 47625 h 123825"/>
                        <a:gd name="connsiteX36" fmla="*/ 128588 w 123825"/>
                        <a:gd name="connsiteY36" fmla="*/ 50483 h 123825"/>
                        <a:gd name="connsiteX37" fmla="*/ 131445 w 123825"/>
                        <a:gd name="connsiteY37" fmla="*/ 55245 h 123825"/>
                        <a:gd name="connsiteX38" fmla="*/ 131445 w 123825"/>
                        <a:gd name="connsiteY38" fmla="*/ 77153 h 123825"/>
                        <a:gd name="connsiteX39" fmla="*/ 128588 w 123825"/>
                        <a:gd name="connsiteY39" fmla="*/ 81915 h 123825"/>
                        <a:gd name="connsiteX40" fmla="*/ 120015 w 123825"/>
                        <a:gd name="connsiteY40" fmla="*/ 84773 h 123825"/>
                        <a:gd name="connsiteX41" fmla="*/ 117157 w 123825"/>
                        <a:gd name="connsiteY41" fmla="*/ 91440 h 123825"/>
                        <a:gd name="connsiteX42" fmla="*/ 120967 w 123825"/>
                        <a:gd name="connsiteY42" fmla="*/ 100013 h 123825"/>
                        <a:gd name="connsiteX43" fmla="*/ 120015 w 123825"/>
                        <a:gd name="connsiteY43" fmla="*/ 105728 h 123825"/>
                        <a:gd name="connsiteX44" fmla="*/ 104775 w 123825"/>
                        <a:gd name="connsiteY44" fmla="*/ 120968 h 123825"/>
                        <a:gd name="connsiteX45" fmla="*/ 99060 w 123825"/>
                        <a:gd name="connsiteY45" fmla="*/ 121920 h 123825"/>
                        <a:gd name="connsiteX46" fmla="*/ 90488 w 123825"/>
                        <a:gd name="connsiteY46" fmla="*/ 118110 h 123825"/>
                        <a:gd name="connsiteX47" fmla="*/ 83820 w 123825"/>
                        <a:gd name="connsiteY47" fmla="*/ 120968 h 123825"/>
                        <a:gd name="connsiteX48" fmla="*/ 80963 w 123825"/>
                        <a:gd name="connsiteY48" fmla="*/ 129540 h 123825"/>
                        <a:gd name="connsiteX49" fmla="*/ 77153 w 123825"/>
                        <a:gd name="connsiteY49" fmla="*/ 132398 h 123825"/>
                        <a:gd name="connsiteX50" fmla="*/ 58103 w 123825"/>
                        <a:gd name="connsiteY50" fmla="*/ 122873 h 123825"/>
                        <a:gd name="connsiteX51" fmla="*/ 73342 w 123825"/>
                        <a:gd name="connsiteY51" fmla="*/ 122873 h 123825"/>
                        <a:gd name="connsiteX52" fmla="*/ 76200 w 123825"/>
                        <a:gd name="connsiteY52" fmla="*/ 115253 h 123825"/>
                        <a:gd name="connsiteX53" fmla="*/ 79057 w 123825"/>
                        <a:gd name="connsiteY53" fmla="*/ 112395 h 123825"/>
                        <a:gd name="connsiteX54" fmla="*/ 88582 w 123825"/>
                        <a:gd name="connsiteY54" fmla="*/ 108585 h 123825"/>
                        <a:gd name="connsiteX55" fmla="*/ 93345 w 123825"/>
                        <a:gd name="connsiteY55" fmla="*/ 108585 h 123825"/>
                        <a:gd name="connsiteX56" fmla="*/ 100965 w 123825"/>
                        <a:gd name="connsiteY56" fmla="*/ 112395 h 123825"/>
                        <a:gd name="connsiteX57" fmla="*/ 111442 w 123825"/>
                        <a:gd name="connsiteY57" fmla="*/ 101918 h 123825"/>
                        <a:gd name="connsiteX58" fmla="*/ 107632 w 123825"/>
                        <a:gd name="connsiteY58" fmla="*/ 94298 h 123825"/>
                        <a:gd name="connsiteX59" fmla="*/ 107632 w 123825"/>
                        <a:gd name="connsiteY59" fmla="*/ 89535 h 123825"/>
                        <a:gd name="connsiteX60" fmla="*/ 111442 w 123825"/>
                        <a:gd name="connsiteY60" fmla="*/ 80010 h 123825"/>
                        <a:gd name="connsiteX61" fmla="*/ 114300 w 123825"/>
                        <a:gd name="connsiteY61" fmla="*/ 77153 h 123825"/>
                        <a:gd name="connsiteX62" fmla="*/ 121920 w 123825"/>
                        <a:gd name="connsiteY62" fmla="*/ 74295 h 123825"/>
                        <a:gd name="connsiteX63" fmla="*/ 121920 w 123825"/>
                        <a:gd name="connsiteY63" fmla="*/ 59055 h 123825"/>
                        <a:gd name="connsiteX64" fmla="*/ 114300 w 123825"/>
                        <a:gd name="connsiteY64" fmla="*/ 56198 h 123825"/>
                        <a:gd name="connsiteX65" fmla="*/ 111442 w 123825"/>
                        <a:gd name="connsiteY65" fmla="*/ 53340 h 123825"/>
                        <a:gd name="connsiteX66" fmla="*/ 107632 w 123825"/>
                        <a:gd name="connsiteY66" fmla="*/ 43815 h 123825"/>
                        <a:gd name="connsiteX67" fmla="*/ 107632 w 123825"/>
                        <a:gd name="connsiteY67" fmla="*/ 39053 h 123825"/>
                        <a:gd name="connsiteX68" fmla="*/ 111442 w 123825"/>
                        <a:gd name="connsiteY68" fmla="*/ 31433 h 123825"/>
                        <a:gd name="connsiteX69" fmla="*/ 100965 w 123825"/>
                        <a:gd name="connsiteY69" fmla="*/ 20955 h 123825"/>
                        <a:gd name="connsiteX70" fmla="*/ 93345 w 123825"/>
                        <a:gd name="connsiteY70" fmla="*/ 24765 h 123825"/>
                        <a:gd name="connsiteX71" fmla="*/ 88582 w 123825"/>
                        <a:gd name="connsiteY71" fmla="*/ 24765 h 123825"/>
                        <a:gd name="connsiteX72" fmla="*/ 79057 w 123825"/>
                        <a:gd name="connsiteY72" fmla="*/ 20955 h 123825"/>
                        <a:gd name="connsiteX73" fmla="*/ 76200 w 123825"/>
                        <a:gd name="connsiteY73" fmla="*/ 18098 h 123825"/>
                        <a:gd name="connsiteX74" fmla="*/ 73342 w 123825"/>
                        <a:gd name="connsiteY74" fmla="*/ 9525 h 123825"/>
                        <a:gd name="connsiteX75" fmla="*/ 65723 w 123825"/>
                        <a:gd name="connsiteY75" fmla="*/ 9525 h 123825"/>
                        <a:gd name="connsiteX76" fmla="*/ 58103 w 123825"/>
                        <a:gd name="connsiteY76" fmla="*/ 9525 h 123825"/>
                        <a:gd name="connsiteX77" fmla="*/ 55245 w 123825"/>
                        <a:gd name="connsiteY77" fmla="*/ 17145 h 123825"/>
                        <a:gd name="connsiteX78" fmla="*/ 52388 w 123825"/>
                        <a:gd name="connsiteY78" fmla="*/ 20003 h 123825"/>
                        <a:gd name="connsiteX79" fmla="*/ 42863 w 123825"/>
                        <a:gd name="connsiteY79" fmla="*/ 23813 h 123825"/>
                        <a:gd name="connsiteX80" fmla="*/ 38100 w 123825"/>
                        <a:gd name="connsiteY80" fmla="*/ 23813 h 123825"/>
                        <a:gd name="connsiteX81" fmla="*/ 30480 w 123825"/>
                        <a:gd name="connsiteY81" fmla="*/ 20003 h 123825"/>
                        <a:gd name="connsiteX82" fmla="*/ 20003 w 123825"/>
                        <a:gd name="connsiteY82" fmla="*/ 30480 h 123825"/>
                        <a:gd name="connsiteX83" fmla="*/ 23813 w 123825"/>
                        <a:gd name="connsiteY83" fmla="*/ 38100 h 123825"/>
                        <a:gd name="connsiteX84" fmla="*/ 23813 w 123825"/>
                        <a:gd name="connsiteY84" fmla="*/ 42863 h 123825"/>
                        <a:gd name="connsiteX85" fmla="*/ 20003 w 123825"/>
                        <a:gd name="connsiteY85" fmla="*/ 52388 h 123825"/>
                        <a:gd name="connsiteX86" fmla="*/ 17145 w 123825"/>
                        <a:gd name="connsiteY86" fmla="*/ 55245 h 123825"/>
                        <a:gd name="connsiteX87" fmla="*/ 9525 w 123825"/>
                        <a:gd name="connsiteY87" fmla="*/ 58103 h 123825"/>
                        <a:gd name="connsiteX88" fmla="*/ 9525 w 123825"/>
                        <a:gd name="connsiteY88" fmla="*/ 73343 h 123825"/>
                        <a:gd name="connsiteX89" fmla="*/ 17145 w 123825"/>
                        <a:gd name="connsiteY89" fmla="*/ 76200 h 123825"/>
                        <a:gd name="connsiteX90" fmla="*/ 20003 w 123825"/>
                        <a:gd name="connsiteY90" fmla="*/ 79058 h 123825"/>
                        <a:gd name="connsiteX91" fmla="*/ 23813 w 123825"/>
                        <a:gd name="connsiteY91" fmla="*/ 88583 h 123825"/>
                        <a:gd name="connsiteX92" fmla="*/ 23813 w 123825"/>
                        <a:gd name="connsiteY92" fmla="*/ 93345 h 123825"/>
                        <a:gd name="connsiteX93" fmla="*/ 20003 w 123825"/>
                        <a:gd name="connsiteY93" fmla="*/ 100965 h 123825"/>
                        <a:gd name="connsiteX94" fmla="*/ 30480 w 123825"/>
                        <a:gd name="connsiteY94" fmla="*/ 111443 h 123825"/>
                        <a:gd name="connsiteX95" fmla="*/ 38100 w 123825"/>
                        <a:gd name="connsiteY95" fmla="*/ 107633 h 123825"/>
                        <a:gd name="connsiteX96" fmla="*/ 42863 w 123825"/>
                        <a:gd name="connsiteY96" fmla="*/ 107633 h 123825"/>
                        <a:gd name="connsiteX97" fmla="*/ 52388 w 123825"/>
                        <a:gd name="connsiteY97" fmla="*/ 111443 h 123825"/>
                        <a:gd name="connsiteX98" fmla="*/ 55245 w 123825"/>
                        <a:gd name="connsiteY98" fmla="*/ 114300 h 123825"/>
                        <a:gd name="connsiteX99" fmla="*/ 58103 w 123825"/>
                        <a:gd name="connsiteY99" fmla="*/ 122873 h 12382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  <a:cxn ang="0">
                          <a:pos x="connsiteX45" y="connsiteY45"/>
                        </a:cxn>
                        <a:cxn ang="0">
                          <a:pos x="connsiteX46" y="connsiteY46"/>
                        </a:cxn>
                        <a:cxn ang="0">
                          <a:pos x="connsiteX47" y="connsiteY47"/>
                        </a:cxn>
                        <a:cxn ang="0">
                          <a:pos x="connsiteX48" y="connsiteY48"/>
                        </a:cxn>
                        <a:cxn ang="0">
                          <a:pos x="connsiteX49" y="connsiteY49"/>
                        </a:cxn>
                        <a:cxn ang="0">
                          <a:pos x="connsiteX50" y="connsiteY50"/>
                        </a:cxn>
                        <a:cxn ang="0">
                          <a:pos x="connsiteX51" y="connsiteY51"/>
                        </a:cxn>
                        <a:cxn ang="0">
                          <a:pos x="connsiteX52" y="connsiteY52"/>
                        </a:cxn>
                        <a:cxn ang="0">
                          <a:pos x="connsiteX53" y="connsiteY53"/>
                        </a:cxn>
                        <a:cxn ang="0">
                          <a:pos x="connsiteX54" y="connsiteY54"/>
                        </a:cxn>
                        <a:cxn ang="0">
                          <a:pos x="connsiteX55" y="connsiteY55"/>
                        </a:cxn>
                        <a:cxn ang="0">
                          <a:pos x="connsiteX56" y="connsiteY56"/>
                        </a:cxn>
                        <a:cxn ang="0">
                          <a:pos x="connsiteX57" y="connsiteY57"/>
                        </a:cxn>
                        <a:cxn ang="0">
                          <a:pos x="connsiteX58" y="connsiteY58"/>
                        </a:cxn>
                        <a:cxn ang="0">
                          <a:pos x="connsiteX59" y="connsiteY59"/>
                        </a:cxn>
                        <a:cxn ang="0">
                          <a:pos x="connsiteX60" y="connsiteY60"/>
                        </a:cxn>
                        <a:cxn ang="0">
                          <a:pos x="connsiteX61" y="connsiteY61"/>
                        </a:cxn>
                        <a:cxn ang="0">
                          <a:pos x="connsiteX62" y="connsiteY62"/>
                        </a:cxn>
                        <a:cxn ang="0">
                          <a:pos x="connsiteX63" y="connsiteY63"/>
                        </a:cxn>
                        <a:cxn ang="0">
                          <a:pos x="connsiteX64" y="connsiteY64"/>
                        </a:cxn>
                        <a:cxn ang="0">
                          <a:pos x="connsiteX65" y="connsiteY65"/>
                        </a:cxn>
                        <a:cxn ang="0">
                          <a:pos x="connsiteX66" y="connsiteY66"/>
                        </a:cxn>
                        <a:cxn ang="0">
                          <a:pos x="connsiteX67" y="connsiteY67"/>
                        </a:cxn>
                        <a:cxn ang="0">
                          <a:pos x="connsiteX68" y="connsiteY68"/>
                        </a:cxn>
                        <a:cxn ang="0">
                          <a:pos x="connsiteX69" y="connsiteY69"/>
                        </a:cxn>
                        <a:cxn ang="0">
                          <a:pos x="connsiteX70" y="connsiteY70"/>
                        </a:cxn>
                        <a:cxn ang="0">
                          <a:pos x="connsiteX71" y="connsiteY71"/>
                        </a:cxn>
                        <a:cxn ang="0">
                          <a:pos x="connsiteX72" y="connsiteY72"/>
                        </a:cxn>
                        <a:cxn ang="0">
                          <a:pos x="connsiteX73" y="connsiteY73"/>
                        </a:cxn>
                        <a:cxn ang="0">
                          <a:pos x="connsiteX74" y="connsiteY74"/>
                        </a:cxn>
                        <a:cxn ang="0">
                          <a:pos x="connsiteX75" y="connsiteY75"/>
                        </a:cxn>
                        <a:cxn ang="0">
                          <a:pos x="connsiteX76" y="connsiteY76"/>
                        </a:cxn>
                        <a:cxn ang="0">
                          <a:pos x="connsiteX77" y="connsiteY77"/>
                        </a:cxn>
                        <a:cxn ang="0">
                          <a:pos x="connsiteX78" y="connsiteY78"/>
                        </a:cxn>
                        <a:cxn ang="0">
                          <a:pos x="connsiteX79" y="connsiteY79"/>
                        </a:cxn>
                        <a:cxn ang="0">
                          <a:pos x="connsiteX80" y="connsiteY80"/>
                        </a:cxn>
                        <a:cxn ang="0">
                          <a:pos x="connsiteX81" y="connsiteY81"/>
                        </a:cxn>
                        <a:cxn ang="0">
                          <a:pos x="connsiteX82" y="connsiteY82"/>
                        </a:cxn>
                        <a:cxn ang="0">
                          <a:pos x="connsiteX83" y="connsiteY83"/>
                        </a:cxn>
                        <a:cxn ang="0">
                          <a:pos x="connsiteX84" y="connsiteY84"/>
                        </a:cxn>
                        <a:cxn ang="0">
                          <a:pos x="connsiteX85" y="connsiteY85"/>
                        </a:cxn>
                        <a:cxn ang="0">
                          <a:pos x="connsiteX86" y="connsiteY86"/>
                        </a:cxn>
                        <a:cxn ang="0">
                          <a:pos x="connsiteX87" y="connsiteY87"/>
                        </a:cxn>
                        <a:cxn ang="0">
                          <a:pos x="connsiteX88" y="connsiteY88"/>
                        </a:cxn>
                        <a:cxn ang="0">
                          <a:pos x="connsiteX89" y="connsiteY89"/>
                        </a:cxn>
                        <a:cxn ang="0">
                          <a:pos x="connsiteX90" y="connsiteY90"/>
                        </a:cxn>
                        <a:cxn ang="0">
                          <a:pos x="connsiteX91" y="connsiteY91"/>
                        </a:cxn>
                        <a:cxn ang="0">
                          <a:pos x="connsiteX92" y="connsiteY92"/>
                        </a:cxn>
                        <a:cxn ang="0">
                          <a:pos x="connsiteX93" y="connsiteY93"/>
                        </a:cxn>
                        <a:cxn ang="0">
                          <a:pos x="connsiteX94" y="connsiteY94"/>
                        </a:cxn>
                        <a:cxn ang="0">
                          <a:pos x="connsiteX95" y="connsiteY95"/>
                        </a:cxn>
                        <a:cxn ang="0">
                          <a:pos x="connsiteX96" y="connsiteY96"/>
                        </a:cxn>
                        <a:cxn ang="0">
                          <a:pos x="connsiteX97" y="connsiteY97"/>
                        </a:cxn>
                        <a:cxn ang="0">
                          <a:pos x="connsiteX98" y="connsiteY98"/>
                        </a:cxn>
                        <a:cxn ang="0">
                          <a:pos x="connsiteX99" y="connsiteY99"/>
                        </a:cxn>
                      </a:cxnLst>
                      <a:rect l="l" t="t" r="r" b="b"/>
                      <a:pathLst>
                        <a:path w="123825" h="123825">
                          <a:moveTo>
                            <a:pt x="77153" y="132398"/>
                          </a:moveTo>
                          <a:lnTo>
                            <a:pt x="55245" y="132398"/>
                          </a:lnTo>
                          <a:cubicBezTo>
                            <a:pt x="53340" y="132398"/>
                            <a:pt x="51435" y="131445"/>
                            <a:pt x="50482" y="129540"/>
                          </a:cubicBezTo>
                          <a:lnTo>
                            <a:pt x="47625" y="120968"/>
                          </a:lnTo>
                          <a:cubicBezTo>
                            <a:pt x="45720" y="120015"/>
                            <a:pt x="42863" y="119063"/>
                            <a:pt x="40957" y="118110"/>
                          </a:cubicBezTo>
                          <a:lnTo>
                            <a:pt x="32385" y="121920"/>
                          </a:lnTo>
                          <a:cubicBezTo>
                            <a:pt x="30480" y="122873"/>
                            <a:pt x="28575" y="122873"/>
                            <a:pt x="26670" y="120968"/>
                          </a:cubicBezTo>
                          <a:lnTo>
                            <a:pt x="11430" y="105728"/>
                          </a:lnTo>
                          <a:cubicBezTo>
                            <a:pt x="9525" y="103823"/>
                            <a:pt x="9525" y="101918"/>
                            <a:pt x="10478" y="100013"/>
                          </a:cubicBezTo>
                          <a:lnTo>
                            <a:pt x="14288" y="91440"/>
                          </a:lnTo>
                          <a:cubicBezTo>
                            <a:pt x="13335" y="89535"/>
                            <a:pt x="12382" y="86678"/>
                            <a:pt x="11430" y="84773"/>
                          </a:cubicBezTo>
                          <a:lnTo>
                            <a:pt x="2857" y="81915"/>
                          </a:lnTo>
                          <a:cubicBezTo>
                            <a:pt x="953" y="80963"/>
                            <a:pt x="0" y="79058"/>
                            <a:pt x="0" y="77153"/>
                          </a:cubicBezTo>
                          <a:lnTo>
                            <a:pt x="0" y="55245"/>
                          </a:lnTo>
                          <a:cubicBezTo>
                            <a:pt x="0" y="53340"/>
                            <a:pt x="953" y="51435"/>
                            <a:pt x="2857" y="50483"/>
                          </a:cubicBezTo>
                          <a:lnTo>
                            <a:pt x="11430" y="47625"/>
                          </a:lnTo>
                          <a:cubicBezTo>
                            <a:pt x="12382" y="45720"/>
                            <a:pt x="13335" y="42863"/>
                            <a:pt x="14288" y="40958"/>
                          </a:cubicBezTo>
                          <a:lnTo>
                            <a:pt x="10478" y="32385"/>
                          </a:lnTo>
                          <a:cubicBezTo>
                            <a:pt x="9525" y="30480"/>
                            <a:pt x="9525" y="28575"/>
                            <a:pt x="11430" y="26670"/>
                          </a:cubicBezTo>
                          <a:lnTo>
                            <a:pt x="26670" y="11430"/>
                          </a:lnTo>
                          <a:cubicBezTo>
                            <a:pt x="27622" y="10478"/>
                            <a:pt x="30480" y="9525"/>
                            <a:pt x="32385" y="10478"/>
                          </a:cubicBezTo>
                          <a:lnTo>
                            <a:pt x="40957" y="14288"/>
                          </a:lnTo>
                          <a:cubicBezTo>
                            <a:pt x="42863" y="13335"/>
                            <a:pt x="45720" y="12383"/>
                            <a:pt x="47625" y="11430"/>
                          </a:cubicBezTo>
                          <a:lnTo>
                            <a:pt x="50482" y="2858"/>
                          </a:lnTo>
                          <a:cubicBezTo>
                            <a:pt x="50482" y="953"/>
                            <a:pt x="52388" y="0"/>
                            <a:pt x="54292" y="0"/>
                          </a:cubicBezTo>
                          <a:lnTo>
                            <a:pt x="65723" y="0"/>
                          </a:lnTo>
                          <a:lnTo>
                            <a:pt x="77153" y="0"/>
                          </a:lnTo>
                          <a:cubicBezTo>
                            <a:pt x="79057" y="0"/>
                            <a:pt x="80963" y="953"/>
                            <a:pt x="81915" y="2858"/>
                          </a:cubicBezTo>
                          <a:lnTo>
                            <a:pt x="84773" y="11430"/>
                          </a:lnTo>
                          <a:cubicBezTo>
                            <a:pt x="86678" y="12383"/>
                            <a:pt x="89535" y="13335"/>
                            <a:pt x="91440" y="14288"/>
                          </a:cubicBezTo>
                          <a:lnTo>
                            <a:pt x="99060" y="10478"/>
                          </a:lnTo>
                          <a:cubicBezTo>
                            <a:pt x="100965" y="9525"/>
                            <a:pt x="102870" y="9525"/>
                            <a:pt x="104775" y="11430"/>
                          </a:cubicBezTo>
                          <a:lnTo>
                            <a:pt x="120015" y="26670"/>
                          </a:lnTo>
                          <a:cubicBezTo>
                            <a:pt x="121920" y="28575"/>
                            <a:pt x="121920" y="30480"/>
                            <a:pt x="120967" y="32385"/>
                          </a:cubicBezTo>
                          <a:lnTo>
                            <a:pt x="117157" y="40958"/>
                          </a:lnTo>
                          <a:cubicBezTo>
                            <a:pt x="118110" y="42863"/>
                            <a:pt x="119063" y="45720"/>
                            <a:pt x="120015" y="47625"/>
                          </a:cubicBezTo>
                          <a:lnTo>
                            <a:pt x="128588" y="50483"/>
                          </a:lnTo>
                          <a:cubicBezTo>
                            <a:pt x="130492" y="51435"/>
                            <a:pt x="131445" y="53340"/>
                            <a:pt x="131445" y="55245"/>
                          </a:cubicBezTo>
                          <a:lnTo>
                            <a:pt x="131445" y="77153"/>
                          </a:lnTo>
                          <a:cubicBezTo>
                            <a:pt x="131445" y="79058"/>
                            <a:pt x="130492" y="80963"/>
                            <a:pt x="128588" y="81915"/>
                          </a:cubicBezTo>
                          <a:lnTo>
                            <a:pt x="120015" y="84773"/>
                          </a:lnTo>
                          <a:cubicBezTo>
                            <a:pt x="119063" y="86678"/>
                            <a:pt x="118110" y="89535"/>
                            <a:pt x="117157" y="91440"/>
                          </a:cubicBezTo>
                          <a:lnTo>
                            <a:pt x="120967" y="100013"/>
                          </a:lnTo>
                          <a:cubicBezTo>
                            <a:pt x="121920" y="101918"/>
                            <a:pt x="121920" y="103823"/>
                            <a:pt x="120015" y="105728"/>
                          </a:cubicBezTo>
                          <a:lnTo>
                            <a:pt x="104775" y="120968"/>
                          </a:lnTo>
                          <a:cubicBezTo>
                            <a:pt x="103823" y="121920"/>
                            <a:pt x="100965" y="122873"/>
                            <a:pt x="99060" y="121920"/>
                          </a:cubicBezTo>
                          <a:lnTo>
                            <a:pt x="90488" y="118110"/>
                          </a:lnTo>
                          <a:cubicBezTo>
                            <a:pt x="88582" y="119063"/>
                            <a:pt x="85725" y="120015"/>
                            <a:pt x="83820" y="120968"/>
                          </a:cubicBezTo>
                          <a:lnTo>
                            <a:pt x="80963" y="129540"/>
                          </a:lnTo>
                          <a:cubicBezTo>
                            <a:pt x="80963" y="131445"/>
                            <a:pt x="79057" y="132398"/>
                            <a:pt x="77153" y="132398"/>
                          </a:cubicBezTo>
                          <a:close/>
                          <a:moveTo>
                            <a:pt x="58103" y="122873"/>
                          </a:moveTo>
                          <a:lnTo>
                            <a:pt x="73342" y="122873"/>
                          </a:lnTo>
                          <a:lnTo>
                            <a:pt x="76200" y="115253"/>
                          </a:lnTo>
                          <a:cubicBezTo>
                            <a:pt x="77153" y="113348"/>
                            <a:pt x="78105" y="112395"/>
                            <a:pt x="79057" y="112395"/>
                          </a:cubicBezTo>
                          <a:cubicBezTo>
                            <a:pt x="81915" y="111443"/>
                            <a:pt x="85725" y="110490"/>
                            <a:pt x="88582" y="108585"/>
                          </a:cubicBezTo>
                          <a:cubicBezTo>
                            <a:pt x="89535" y="107633"/>
                            <a:pt x="91440" y="107633"/>
                            <a:pt x="93345" y="108585"/>
                          </a:cubicBezTo>
                          <a:lnTo>
                            <a:pt x="100965" y="112395"/>
                          </a:lnTo>
                          <a:lnTo>
                            <a:pt x="111442" y="101918"/>
                          </a:lnTo>
                          <a:lnTo>
                            <a:pt x="107632" y="94298"/>
                          </a:lnTo>
                          <a:cubicBezTo>
                            <a:pt x="106680" y="93345"/>
                            <a:pt x="106680" y="91440"/>
                            <a:pt x="107632" y="89535"/>
                          </a:cubicBezTo>
                          <a:cubicBezTo>
                            <a:pt x="109538" y="86678"/>
                            <a:pt x="110490" y="82868"/>
                            <a:pt x="111442" y="80010"/>
                          </a:cubicBezTo>
                          <a:cubicBezTo>
                            <a:pt x="111442" y="78105"/>
                            <a:pt x="113348" y="77153"/>
                            <a:pt x="114300" y="77153"/>
                          </a:cubicBezTo>
                          <a:lnTo>
                            <a:pt x="121920" y="74295"/>
                          </a:lnTo>
                          <a:lnTo>
                            <a:pt x="121920" y="59055"/>
                          </a:lnTo>
                          <a:lnTo>
                            <a:pt x="114300" y="56198"/>
                          </a:lnTo>
                          <a:cubicBezTo>
                            <a:pt x="112395" y="55245"/>
                            <a:pt x="111442" y="54293"/>
                            <a:pt x="111442" y="53340"/>
                          </a:cubicBezTo>
                          <a:cubicBezTo>
                            <a:pt x="110490" y="50483"/>
                            <a:pt x="109538" y="46673"/>
                            <a:pt x="107632" y="43815"/>
                          </a:cubicBezTo>
                          <a:cubicBezTo>
                            <a:pt x="106680" y="42863"/>
                            <a:pt x="106680" y="40958"/>
                            <a:pt x="107632" y="39053"/>
                          </a:cubicBezTo>
                          <a:lnTo>
                            <a:pt x="111442" y="31433"/>
                          </a:lnTo>
                          <a:lnTo>
                            <a:pt x="100965" y="20955"/>
                          </a:lnTo>
                          <a:lnTo>
                            <a:pt x="93345" y="24765"/>
                          </a:lnTo>
                          <a:cubicBezTo>
                            <a:pt x="92392" y="25718"/>
                            <a:pt x="90488" y="25718"/>
                            <a:pt x="88582" y="24765"/>
                          </a:cubicBezTo>
                          <a:cubicBezTo>
                            <a:pt x="85725" y="22860"/>
                            <a:pt x="81915" y="21908"/>
                            <a:pt x="79057" y="20955"/>
                          </a:cubicBezTo>
                          <a:cubicBezTo>
                            <a:pt x="77153" y="20955"/>
                            <a:pt x="76200" y="19050"/>
                            <a:pt x="76200" y="18098"/>
                          </a:cubicBezTo>
                          <a:lnTo>
                            <a:pt x="73342" y="9525"/>
                          </a:lnTo>
                          <a:lnTo>
                            <a:pt x="65723" y="9525"/>
                          </a:lnTo>
                          <a:lnTo>
                            <a:pt x="58103" y="9525"/>
                          </a:lnTo>
                          <a:lnTo>
                            <a:pt x="55245" y="17145"/>
                          </a:lnTo>
                          <a:cubicBezTo>
                            <a:pt x="54292" y="19050"/>
                            <a:pt x="53340" y="20003"/>
                            <a:pt x="52388" y="20003"/>
                          </a:cubicBezTo>
                          <a:cubicBezTo>
                            <a:pt x="49530" y="20955"/>
                            <a:pt x="45720" y="21908"/>
                            <a:pt x="42863" y="23813"/>
                          </a:cubicBezTo>
                          <a:cubicBezTo>
                            <a:pt x="41910" y="24765"/>
                            <a:pt x="40005" y="24765"/>
                            <a:pt x="38100" y="23813"/>
                          </a:cubicBezTo>
                          <a:lnTo>
                            <a:pt x="30480" y="20003"/>
                          </a:lnTo>
                          <a:lnTo>
                            <a:pt x="20003" y="30480"/>
                          </a:lnTo>
                          <a:lnTo>
                            <a:pt x="23813" y="38100"/>
                          </a:lnTo>
                          <a:cubicBezTo>
                            <a:pt x="24765" y="39053"/>
                            <a:pt x="24765" y="40958"/>
                            <a:pt x="23813" y="42863"/>
                          </a:cubicBezTo>
                          <a:cubicBezTo>
                            <a:pt x="21907" y="45720"/>
                            <a:pt x="20955" y="49530"/>
                            <a:pt x="20003" y="52388"/>
                          </a:cubicBezTo>
                          <a:cubicBezTo>
                            <a:pt x="20003" y="54293"/>
                            <a:pt x="18097" y="55245"/>
                            <a:pt x="17145" y="55245"/>
                          </a:cubicBezTo>
                          <a:lnTo>
                            <a:pt x="9525" y="58103"/>
                          </a:lnTo>
                          <a:lnTo>
                            <a:pt x="9525" y="73343"/>
                          </a:lnTo>
                          <a:lnTo>
                            <a:pt x="17145" y="76200"/>
                          </a:lnTo>
                          <a:cubicBezTo>
                            <a:pt x="19050" y="77153"/>
                            <a:pt x="20003" y="78105"/>
                            <a:pt x="20003" y="79058"/>
                          </a:cubicBezTo>
                          <a:cubicBezTo>
                            <a:pt x="20955" y="81915"/>
                            <a:pt x="21907" y="85725"/>
                            <a:pt x="23813" y="88583"/>
                          </a:cubicBezTo>
                          <a:cubicBezTo>
                            <a:pt x="24765" y="89535"/>
                            <a:pt x="24765" y="91440"/>
                            <a:pt x="23813" y="93345"/>
                          </a:cubicBezTo>
                          <a:lnTo>
                            <a:pt x="20003" y="100965"/>
                          </a:lnTo>
                          <a:lnTo>
                            <a:pt x="30480" y="111443"/>
                          </a:lnTo>
                          <a:lnTo>
                            <a:pt x="38100" y="107633"/>
                          </a:lnTo>
                          <a:cubicBezTo>
                            <a:pt x="39053" y="106680"/>
                            <a:pt x="40957" y="106680"/>
                            <a:pt x="42863" y="107633"/>
                          </a:cubicBezTo>
                          <a:cubicBezTo>
                            <a:pt x="45720" y="109538"/>
                            <a:pt x="49530" y="110490"/>
                            <a:pt x="52388" y="111443"/>
                          </a:cubicBezTo>
                          <a:cubicBezTo>
                            <a:pt x="54292" y="111443"/>
                            <a:pt x="55245" y="113348"/>
                            <a:pt x="55245" y="114300"/>
                          </a:cubicBezTo>
                          <a:lnTo>
                            <a:pt x="58103" y="122873"/>
                          </a:lnTo>
                          <a:close/>
                        </a:path>
                      </a:pathLst>
                    </a:custGeom>
                    <a:grpFill/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Ubuntu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26" name="Freeform: Shape 187">
                      <a:extLst>
                        <a:ext uri="{FF2B5EF4-FFF2-40B4-BE49-F238E27FC236}">
                          <a16:creationId xmlns:a16="http://schemas.microsoft.com/office/drawing/2014/main" id="{D237A570-B5B2-C80F-BCAC-AAFCD8B2A59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151721" y="3341846"/>
                      <a:ext cx="47625" cy="47625"/>
                    </a:xfrm>
                    <a:custGeom>
                      <a:avLst/>
                      <a:gdLst>
                        <a:gd name="connsiteX0" fmla="*/ 25241 w 47625"/>
                        <a:gd name="connsiteY0" fmla="*/ 50006 h 47625"/>
                        <a:gd name="connsiteX1" fmla="*/ 7144 w 47625"/>
                        <a:gd name="connsiteY1" fmla="*/ 42386 h 47625"/>
                        <a:gd name="connsiteX2" fmla="*/ 7144 w 47625"/>
                        <a:gd name="connsiteY2" fmla="*/ 7144 h 47625"/>
                        <a:gd name="connsiteX3" fmla="*/ 42386 w 47625"/>
                        <a:gd name="connsiteY3" fmla="*/ 7144 h 47625"/>
                        <a:gd name="connsiteX4" fmla="*/ 42386 w 47625"/>
                        <a:gd name="connsiteY4" fmla="*/ 7144 h 47625"/>
                        <a:gd name="connsiteX5" fmla="*/ 42386 w 47625"/>
                        <a:gd name="connsiteY5" fmla="*/ 7144 h 47625"/>
                        <a:gd name="connsiteX6" fmla="*/ 50006 w 47625"/>
                        <a:gd name="connsiteY6" fmla="*/ 25241 h 47625"/>
                        <a:gd name="connsiteX7" fmla="*/ 42386 w 47625"/>
                        <a:gd name="connsiteY7" fmla="*/ 43339 h 47625"/>
                        <a:gd name="connsiteX8" fmla="*/ 25241 w 47625"/>
                        <a:gd name="connsiteY8" fmla="*/ 50006 h 47625"/>
                        <a:gd name="connsiteX9" fmla="*/ 25241 w 47625"/>
                        <a:gd name="connsiteY9" fmla="*/ 9049 h 47625"/>
                        <a:gd name="connsiteX10" fmla="*/ 13811 w 47625"/>
                        <a:gd name="connsiteY10" fmla="*/ 13811 h 47625"/>
                        <a:gd name="connsiteX11" fmla="*/ 13811 w 47625"/>
                        <a:gd name="connsiteY11" fmla="*/ 35719 h 47625"/>
                        <a:gd name="connsiteX12" fmla="*/ 35719 w 47625"/>
                        <a:gd name="connsiteY12" fmla="*/ 35719 h 47625"/>
                        <a:gd name="connsiteX13" fmla="*/ 41434 w 47625"/>
                        <a:gd name="connsiteY13" fmla="*/ 25241 h 47625"/>
                        <a:gd name="connsiteX14" fmla="*/ 36671 w 47625"/>
                        <a:gd name="connsiteY14" fmla="*/ 13811 h 47625"/>
                        <a:gd name="connsiteX15" fmla="*/ 36671 w 47625"/>
                        <a:gd name="connsiteY15" fmla="*/ 13811 h 47625"/>
                        <a:gd name="connsiteX16" fmla="*/ 25241 w 47625"/>
                        <a:gd name="connsiteY16" fmla="*/ 9049 h 4762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</a:cxnLst>
                      <a:rect l="l" t="t" r="r" b="b"/>
                      <a:pathLst>
                        <a:path w="47625" h="47625">
                          <a:moveTo>
                            <a:pt x="25241" y="50006"/>
                          </a:moveTo>
                          <a:cubicBezTo>
                            <a:pt x="18574" y="50006"/>
                            <a:pt x="11906" y="47149"/>
                            <a:pt x="7144" y="42386"/>
                          </a:cubicBezTo>
                          <a:cubicBezTo>
                            <a:pt x="-2381" y="32861"/>
                            <a:pt x="-2381" y="16669"/>
                            <a:pt x="7144" y="7144"/>
                          </a:cubicBezTo>
                          <a:cubicBezTo>
                            <a:pt x="16669" y="-2381"/>
                            <a:pt x="32861" y="-2381"/>
                            <a:pt x="42386" y="7144"/>
                          </a:cubicBezTo>
                          <a:lnTo>
                            <a:pt x="42386" y="7144"/>
                          </a:lnTo>
                          <a:lnTo>
                            <a:pt x="42386" y="7144"/>
                          </a:lnTo>
                          <a:cubicBezTo>
                            <a:pt x="47149" y="11906"/>
                            <a:pt x="50006" y="18574"/>
                            <a:pt x="50006" y="25241"/>
                          </a:cubicBezTo>
                          <a:cubicBezTo>
                            <a:pt x="50006" y="31909"/>
                            <a:pt x="47149" y="38576"/>
                            <a:pt x="42386" y="43339"/>
                          </a:cubicBezTo>
                          <a:cubicBezTo>
                            <a:pt x="38576" y="47149"/>
                            <a:pt x="31909" y="50006"/>
                            <a:pt x="25241" y="50006"/>
                          </a:cubicBezTo>
                          <a:close/>
                          <a:moveTo>
                            <a:pt x="25241" y="9049"/>
                          </a:moveTo>
                          <a:cubicBezTo>
                            <a:pt x="21431" y="9049"/>
                            <a:pt x="16669" y="10954"/>
                            <a:pt x="13811" y="13811"/>
                          </a:cubicBezTo>
                          <a:cubicBezTo>
                            <a:pt x="8096" y="19526"/>
                            <a:pt x="8096" y="30004"/>
                            <a:pt x="13811" y="35719"/>
                          </a:cubicBezTo>
                          <a:cubicBezTo>
                            <a:pt x="19526" y="41434"/>
                            <a:pt x="30004" y="41434"/>
                            <a:pt x="35719" y="35719"/>
                          </a:cubicBezTo>
                          <a:cubicBezTo>
                            <a:pt x="39529" y="32861"/>
                            <a:pt x="41434" y="29051"/>
                            <a:pt x="41434" y="25241"/>
                          </a:cubicBezTo>
                          <a:cubicBezTo>
                            <a:pt x="41434" y="21431"/>
                            <a:pt x="39529" y="16669"/>
                            <a:pt x="36671" y="13811"/>
                          </a:cubicBezTo>
                          <a:lnTo>
                            <a:pt x="36671" y="13811"/>
                          </a:lnTo>
                          <a:cubicBezTo>
                            <a:pt x="33814" y="10954"/>
                            <a:pt x="29051" y="9049"/>
                            <a:pt x="25241" y="9049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Ubuntu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22" name="Graphic 3">
                    <a:extLst>
                      <a:ext uri="{FF2B5EF4-FFF2-40B4-BE49-F238E27FC236}">
                        <a16:creationId xmlns:a16="http://schemas.microsoft.com/office/drawing/2014/main" id="{7EE1C2AF-F729-9925-5D34-526219AA33BB}"/>
                      </a:ext>
                    </a:extLst>
                  </p:cNvPr>
                  <p:cNvGrpSpPr/>
                  <p:nvPr/>
                </p:nvGrpSpPr>
                <p:grpSpPr>
                  <a:xfrm>
                    <a:off x="6119187" y="3443614"/>
                    <a:ext cx="114300" cy="114300"/>
                    <a:chOff x="6119187" y="3443614"/>
                    <a:chExt cx="114300" cy="114300"/>
                  </a:xfrm>
                  <a:grpFill/>
                </p:grpSpPr>
                <p:sp>
                  <p:nvSpPr>
                    <p:cNvPr id="223" name="Freeform: Shape 184">
                      <a:extLst>
                        <a:ext uri="{FF2B5EF4-FFF2-40B4-BE49-F238E27FC236}">
                          <a16:creationId xmlns:a16="http://schemas.microsoft.com/office/drawing/2014/main" id="{F92F7ADE-DEE9-C666-8CA7-20588EBE8E1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119187" y="3443614"/>
                      <a:ext cx="114300" cy="114300"/>
                    </a:xfrm>
                    <a:custGeom>
                      <a:avLst/>
                      <a:gdLst>
                        <a:gd name="connsiteX0" fmla="*/ 46346 w 114300"/>
                        <a:gd name="connsiteY0" fmla="*/ 113973 h 114300"/>
                        <a:gd name="connsiteX1" fmla="*/ 44441 w 114300"/>
                        <a:gd name="connsiteY1" fmla="*/ 113973 h 114300"/>
                        <a:gd name="connsiteX2" fmla="*/ 27296 w 114300"/>
                        <a:gd name="connsiteY2" fmla="*/ 107306 h 114300"/>
                        <a:gd name="connsiteX3" fmla="*/ 24438 w 114300"/>
                        <a:gd name="connsiteY3" fmla="*/ 102543 h 114300"/>
                        <a:gd name="connsiteX4" fmla="*/ 24438 w 114300"/>
                        <a:gd name="connsiteY4" fmla="*/ 94923 h 114300"/>
                        <a:gd name="connsiteX5" fmla="*/ 20628 w 114300"/>
                        <a:gd name="connsiteY5" fmla="*/ 91113 h 114300"/>
                        <a:gd name="connsiteX6" fmla="*/ 13008 w 114300"/>
                        <a:gd name="connsiteY6" fmla="*/ 91113 h 114300"/>
                        <a:gd name="connsiteX7" fmla="*/ 8246 w 114300"/>
                        <a:gd name="connsiteY7" fmla="*/ 88256 h 114300"/>
                        <a:gd name="connsiteX8" fmla="*/ 626 w 114300"/>
                        <a:gd name="connsiteY8" fmla="*/ 71111 h 114300"/>
                        <a:gd name="connsiteX9" fmla="*/ 1578 w 114300"/>
                        <a:gd name="connsiteY9" fmla="*/ 65396 h 114300"/>
                        <a:gd name="connsiteX10" fmla="*/ 7293 w 114300"/>
                        <a:gd name="connsiteY10" fmla="*/ 60633 h 114300"/>
                        <a:gd name="connsiteX11" fmla="*/ 7293 w 114300"/>
                        <a:gd name="connsiteY11" fmla="*/ 54918 h 114300"/>
                        <a:gd name="connsiteX12" fmla="*/ 1578 w 114300"/>
                        <a:gd name="connsiteY12" fmla="*/ 50156 h 114300"/>
                        <a:gd name="connsiteX13" fmla="*/ 626 w 114300"/>
                        <a:gd name="connsiteY13" fmla="*/ 44441 h 114300"/>
                        <a:gd name="connsiteX14" fmla="*/ 7293 w 114300"/>
                        <a:gd name="connsiteY14" fmla="*/ 27296 h 114300"/>
                        <a:gd name="connsiteX15" fmla="*/ 12056 w 114300"/>
                        <a:gd name="connsiteY15" fmla="*/ 24438 h 114300"/>
                        <a:gd name="connsiteX16" fmla="*/ 19676 w 114300"/>
                        <a:gd name="connsiteY16" fmla="*/ 24438 h 114300"/>
                        <a:gd name="connsiteX17" fmla="*/ 23486 w 114300"/>
                        <a:gd name="connsiteY17" fmla="*/ 20628 h 114300"/>
                        <a:gd name="connsiteX18" fmla="*/ 23486 w 114300"/>
                        <a:gd name="connsiteY18" fmla="*/ 13008 h 114300"/>
                        <a:gd name="connsiteX19" fmla="*/ 26343 w 114300"/>
                        <a:gd name="connsiteY19" fmla="*/ 8246 h 114300"/>
                        <a:gd name="connsiteX20" fmla="*/ 43488 w 114300"/>
                        <a:gd name="connsiteY20" fmla="*/ 626 h 114300"/>
                        <a:gd name="connsiteX21" fmla="*/ 49203 w 114300"/>
                        <a:gd name="connsiteY21" fmla="*/ 1578 h 114300"/>
                        <a:gd name="connsiteX22" fmla="*/ 53966 w 114300"/>
                        <a:gd name="connsiteY22" fmla="*/ 7293 h 114300"/>
                        <a:gd name="connsiteX23" fmla="*/ 59681 w 114300"/>
                        <a:gd name="connsiteY23" fmla="*/ 7293 h 114300"/>
                        <a:gd name="connsiteX24" fmla="*/ 64443 w 114300"/>
                        <a:gd name="connsiteY24" fmla="*/ 1578 h 114300"/>
                        <a:gd name="connsiteX25" fmla="*/ 70158 w 114300"/>
                        <a:gd name="connsiteY25" fmla="*/ 626 h 114300"/>
                        <a:gd name="connsiteX26" fmla="*/ 87303 w 114300"/>
                        <a:gd name="connsiteY26" fmla="*/ 7293 h 114300"/>
                        <a:gd name="connsiteX27" fmla="*/ 90161 w 114300"/>
                        <a:gd name="connsiteY27" fmla="*/ 12056 h 114300"/>
                        <a:gd name="connsiteX28" fmla="*/ 90161 w 114300"/>
                        <a:gd name="connsiteY28" fmla="*/ 19676 h 114300"/>
                        <a:gd name="connsiteX29" fmla="*/ 93971 w 114300"/>
                        <a:gd name="connsiteY29" fmla="*/ 23486 h 114300"/>
                        <a:gd name="connsiteX30" fmla="*/ 101591 w 114300"/>
                        <a:gd name="connsiteY30" fmla="*/ 23486 h 114300"/>
                        <a:gd name="connsiteX31" fmla="*/ 106353 w 114300"/>
                        <a:gd name="connsiteY31" fmla="*/ 26343 h 114300"/>
                        <a:gd name="connsiteX32" fmla="*/ 113973 w 114300"/>
                        <a:gd name="connsiteY32" fmla="*/ 43488 h 114300"/>
                        <a:gd name="connsiteX33" fmla="*/ 113021 w 114300"/>
                        <a:gd name="connsiteY33" fmla="*/ 49203 h 114300"/>
                        <a:gd name="connsiteX34" fmla="*/ 107306 w 114300"/>
                        <a:gd name="connsiteY34" fmla="*/ 53966 h 114300"/>
                        <a:gd name="connsiteX35" fmla="*/ 107306 w 114300"/>
                        <a:gd name="connsiteY35" fmla="*/ 59681 h 114300"/>
                        <a:gd name="connsiteX36" fmla="*/ 113021 w 114300"/>
                        <a:gd name="connsiteY36" fmla="*/ 64443 h 114300"/>
                        <a:gd name="connsiteX37" fmla="*/ 113973 w 114300"/>
                        <a:gd name="connsiteY37" fmla="*/ 70158 h 114300"/>
                        <a:gd name="connsiteX38" fmla="*/ 107306 w 114300"/>
                        <a:gd name="connsiteY38" fmla="*/ 87303 h 114300"/>
                        <a:gd name="connsiteX39" fmla="*/ 102543 w 114300"/>
                        <a:gd name="connsiteY39" fmla="*/ 90161 h 114300"/>
                        <a:gd name="connsiteX40" fmla="*/ 94923 w 114300"/>
                        <a:gd name="connsiteY40" fmla="*/ 90161 h 114300"/>
                        <a:gd name="connsiteX41" fmla="*/ 91113 w 114300"/>
                        <a:gd name="connsiteY41" fmla="*/ 93971 h 114300"/>
                        <a:gd name="connsiteX42" fmla="*/ 91113 w 114300"/>
                        <a:gd name="connsiteY42" fmla="*/ 101591 h 114300"/>
                        <a:gd name="connsiteX43" fmla="*/ 88256 w 114300"/>
                        <a:gd name="connsiteY43" fmla="*/ 106353 h 114300"/>
                        <a:gd name="connsiteX44" fmla="*/ 71111 w 114300"/>
                        <a:gd name="connsiteY44" fmla="*/ 113973 h 114300"/>
                        <a:gd name="connsiteX45" fmla="*/ 65396 w 114300"/>
                        <a:gd name="connsiteY45" fmla="*/ 113021 h 114300"/>
                        <a:gd name="connsiteX46" fmla="*/ 60633 w 114300"/>
                        <a:gd name="connsiteY46" fmla="*/ 107306 h 114300"/>
                        <a:gd name="connsiteX47" fmla="*/ 54918 w 114300"/>
                        <a:gd name="connsiteY47" fmla="*/ 107306 h 114300"/>
                        <a:gd name="connsiteX48" fmla="*/ 50156 w 114300"/>
                        <a:gd name="connsiteY48" fmla="*/ 113021 h 114300"/>
                        <a:gd name="connsiteX49" fmla="*/ 46346 w 114300"/>
                        <a:gd name="connsiteY49" fmla="*/ 113973 h 114300"/>
                        <a:gd name="connsiteX50" fmla="*/ 33963 w 114300"/>
                        <a:gd name="connsiteY50" fmla="*/ 98733 h 114300"/>
                        <a:gd name="connsiteX51" fmla="*/ 45393 w 114300"/>
                        <a:gd name="connsiteY51" fmla="*/ 103496 h 114300"/>
                        <a:gd name="connsiteX52" fmla="*/ 50156 w 114300"/>
                        <a:gd name="connsiteY52" fmla="*/ 98733 h 114300"/>
                        <a:gd name="connsiteX53" fmla="*/ 53966 w 114300"/>
                        <a:gd name="connsiteY53" fmla="*/ 96828 h 114300"/>
                        <a:gd name="connsiteX54" fmla="*/ 62538 w 114300"/>
                        <a:gd name="connsiteY54" fmla="*/ 96828 h 114300"/>
                        <a:gd name="connsiteX55" fmla="*/ 66348 w 114300"/>
                        <a:gd name="connsiteY55" fmla="*/ 98733 h 114300"/>
                        <a:gd name="connsiteX56" fmla="*/ 71111 w 114300"/>
                        <a:gd name="connsiteY56" fmla="*/ 103496 h 114300"/>
                        <a:gd name="connsiteX57" fmla="*/ 82541 w 114300"/>
                        <a:gd name="connsiteY57" fmla="*/ 98733 h 114300"/>
                        <a:gd name="connsiteX58" fmla="*/ 82541 w 114300"/>
                        <a:gd name="connsiteY58" fmla="*/ 92066 h 114300"/>
                        <a:gd name="connsiteX59" fmla="*/ 84446 w 114300"/>
                        <a:gd name="connsiteY59" fmla="*/ 88256 h 114300"/>
                        <a:gd name="connsiteX60" fmla="*/ 90161 w 114300"/>
                        <a:gd name="connsiteY60" fmla="*/ 82541 h 114300"/>
                        <a:gd name="connsiteX61" fmla="*/ 93971 w 114300"/>
                        <a:gd name="connsiteY61" fmla="*/ 80636 h 114300"/>
                        <a:gd name="connsiteX62" fmla="*/ 100638 w 114300"/>
                        <a:gd name="connsiteY62" fmla="*/ 80636 h 114300"/>
                        <a:gd name="connsiteX63" fmla="*/ 105401 w 114300"/>
                        <a:gd name="connsiteY63" fmla="*/ 69206 h 114300"/>
                        <a:gd name="connsiteX64" fmla="*/ 100638 w 114300"/>
                        <a:gd name="connsiteY64" fmla="*/ 64443 h 114300"/>
                        <a:gd name="connsiteX65" fmla="*/ 98733 w 114300"/>
                        <a:gd name="connsiteY65" fmla="*/ 60633 h 114300"/>
                        <a:gd name="connsiteX66" fmla="*/ 98733 w 114300"/>
                        <a:gd name="connsiteY66" fmla="*/ 52061 h 114300"/>
                        <a:gd name="connsiteX67" fmla="*/ 100638 w 114300"/>
                        <a:gd name="connsiteY67" fmla="*/ 48251 h 114300"/>
                        <a:gd name="connsiteX68" fmla="*/ 105401 w 114300"/>
                        <a:gd name="connsiteY68" fmla="*/ 43488 h 114300"/>
                        <a:gd name="connsiteX69" fmla="*/ 100638 w 114300"/>
                        <a:gd name="connsiteY69" fmla="*/ 32058 h 114300"/>
                        <a:gd name="connsiteX70" fmla="*/ 93971 w 114300"/>
                        <a:gd name="connsiteY70" fmla="*/ 32058 h 114300"/>
                        <a:gd name="connsiteX71" fmla="*/ 90161 w 114300"/>
                        <a:gd name="connsiteY71" fmla="*/ 30153 h 114300"/>
                        <a:gd name="connsiteX72" fmla="*/ 84446 w 114300"/>
                        <a:gd name="connsiteY72" fmla="*/ 24438 h 114300"/>
                        <a:gd name="connsiteX73" fmla="*/ 82541 w 114300"/>
                        <a:gd name="connsiteY73" fmla="*/ 20628 h 114300"/>
                        <a:gd name="connsiteX74" fmla="*/ 82541 w 114300"/>
                        <a:gd name="connsiteY74" fmla="*/ 13961 h 114300"/>
                        <a:gd name="connsiteX75" fmla="*/ 71111 w 114300"/>
                        <a:gd name="connsiteY75" fmla="*/ 9198 h 114300"/>
                        <a:gd name="connsiteX76" fmla="*/ 66348 w 114300"/>
                        <a:gd name="connsiteY76" fmla="*/ 13961 h 114300"/>
                        <a:gd name="connsiteX77" fmla="*/ 62538 w 114300"/>
                        <a:gd name="connsiteY77" fmla="*/ 15866 h 114300"/>
                        <a:gd name="connsiteX78" fmla="*/ 53966 w 114300"/>
                        <a:gd name="connsiteY78" fmla="*/ 15866 h 114300"/>
                        <a:gd name="connsiteX79" fmla="*/ 50156 w 114300"/>
                        <a:gd name="connsiteY79" fmla="*/ 13961 h 114300"/>
                        <a:gd name="connsiteX80" fmla="*/ 45393 w 114300"/>
                        <a:gd name="connsiteY80" fmla="*/ 9198 h 114300"/>
                        <a:gd name="connsiteX81" fmla="*/ 33963 w 114300"/>
                        <a:gd name="connsiteY81" fmla="*/ 14913 h 114300"/>
                        <a:gd name="connsiteX82" fmla="*/ 33963 w 114300"/>
                        <a:gd name="connsiteY82" fmla="*/ 21581 h 114300"/>
                        <a:gd name="connsiteX83" fmla="*/ 32058 w 114300"/>
                        <a:gd name="connsiteY83" fmla="*/ 25391 h 114300"/>
                        <a:gd name="connsiteX84" fmla="*/ 26343 w 114300"/>
                        <a:gd name="connsiteY84" fmla="*/ 31106 h 114300"/>
                        <a:gd name="connsiteX85" fmla="*/ 22533 w 114300"/>
                        <a:gd name="connsiteY85" fmla="*/ 33011 h 114300"/>
                        <a:gd name="connsiteX86" fmla="*/ 15866 w 114300"/>
                        <a:gd name="connsiteY86" fmla="*/ 33011 h 114300"/>
                        <a:gd name="connsiteX87" fmla="*/ 11103 w 114300"/>
                        <a:gd name="connsiteY87" fmla="*/ 44441 h 114300"/>
                        <a:gd name="connsiteX88" fmla="*/ 15866 w 114300"/>
                        <a:gd name="connsiteY88" fmla="*/ 49203 h 114300"/>
                        <a:gd name="connsiteX89" fmla="*/ 17771 w 114300"/>
                        <a:gd name="connsiteY89" fmla="*/ 53013 h 114300"/>
                        <a:gd name="connsiteX90" fmla="*/ 17771 w 114300"/>
                        <a:gd name="connsiteY90" fmla="*/ 61586 h 114300"/>
                        <a:gd name="connsiteX91" fmla="*/ 15866 w 114300"/>
                        <a:gd name="connsiteY91" fmla="*/ 65396 h 114300"/>
                        <a:gd name="connsiteX92" fmla="*/ 11103 w 114300"/>
                        <a:gd name="connsiteY92" fmla="*/ 70158 h 114300"/>
                        <a:gd name="connsiteX93" fmla="*/ 15866 w 114300"/>
                        <a:gd name="connsiteY93" fmla="*/ 81588 h 114300"/>
                        <a:gd name="connsiteX94" fmla="*/ 22533 w 114300"/>
                        <a:gd name="connsiteY94" fmla="*/ 81588 h 114300"/>
                        <a:gd name="connsiteX95" fmla="*/ 26343 w 114300"/>
                        <a:gd name="connsiteY95" fmla="*/ 83493 h 114300"/>
                        <a:gd name="connsiteX96" fmla="*/ 32058 w 114300"/>
                        <a:gd name="connsiteY96" fmla="*/ 89208 h 114300"/>
                        <a:gd name="connsiteX97" fmla="*/ 33963 w 114300"/>
                        <a:gd name="connsiteY97" fmla="*/ 93018 h 114300"/>
                        <a:gd name="connsiteX98" fmla="*/ 33963 w 114300"/>
                        <a:gd name="connsiteY98" fmla="*/ 98733 h 1143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  <a:cxn ang="0">
                          <a:pos x="connsiteX45" y="connsiteY45"/>
                        </a:cxn>
                        <a:cxn ang="0">
                          <a:pos x="connsiteX46" y="connsiteY46"/>
                        </a:cxn>
                        <a:cxn ang="0">
                          <a:pos x="connsiteX47" y="connsiteY47"/>
                        </a:cxn>
                        <a:cxn ang="0">
                          <a:pos x="connsiteX48" y="connsiteY48"/>
                        </a:cxn>
                        <a:cxn ang="0">
                          <a:pos x="connsiteX49" y="connsiteY49"/>
                        </a:cxn>
                        <a:cxn ang="0">
                          <a:pos x="connsiteX50" y="connsiteY50"/>
                        </a:cxn>
                        <a:cxn ang="0">
                          <a:pos x="connsiteX51" y="connsiteY51"/>
                        </a:cxn>
                        <a:cxn ang="0">
                          <a:pos x="connsiteX52" y="connsiteY52"/>
                        </a:cxn>
                        <a:cxn ang="0">
                          <a:pos x="connsiteX53" y="connsiteY53"/>
                        </a:cxn>
                        <a:cxn ang="0">
                          <a:pos x="connsiteX54" y="connsiteY54"/>
                        </a:cxn>
                        <a:cxn ang="0">
                          <a:pos x="connsiteX55" y="connsiteY55"/>
                        </a:cxn>
                        <a:cxn ang="0">
                          <a:pos x="connsiteX56" y="connsiteY56"/>
                        </a:cxn>
                        <a:cxn ang="0">
                          <a:pos x="connsiteX57" y="connsiteY57"/>
                        </a:cxn>
                        <a:cxn ang="0">
                          <a:pos x="connsiteX58" y="connsiteY58"/>
                        </a:cxn>
                        <a:cxn ang="0">
                          <a:pos x="connsiteX59" y="connsiteY59"/>
                        </a:cxn>
                        <a:cxn ang="0">
                          <a:pos x="connsiteX60" y="connsiteY60"/>
                        </a:cxn>
                        <a:cxn ang="0">
                          <a:pos x="connsiteX61" y="connsiteY61"/>
                        </a:cxn>
                        <a:cxn ang="0">
                          <a:pos x="connsiteX62" y="connsiteY62"/>
                        </a:cxn>
                        <a:cxn ang="0">
                          <a:pos x="connsiteX63" y="connsiteY63"/>
                        </a:cxn>
                        <a:cxn ang="0">
                          <a:pos x="connsiteX64" y="connsiteY64"/>
                        </a:cxn>
                        <a:cxn ang="0">
                          <a:pos x="connsiteX65" y="connsiteY65"/>
                        </a:cxn>
                        <a:cxn ang="0">
                          <a:pos x="connsiteX66" y="connsiteY66"/>
                        </a:cxn>
                        <a:cxn ang="0">
                          <a:pos x="connsiteX67" y="connsiteY67"/>
                        </a:cxn>
                        <a:cxn ang="0">
                          <a:pos x="connsiteX68" y="connsiteY68"/>
                        </a:cxn>
                        <a:cxn ang="0">
                          <a:pos x="connsiteX69" y="connsiteY69"/>
                        </a:cxn>
                        <a:cxn ang="0">
                          <a:pos x="connsiteX70" y="connsiteY70"/>
                        </a:cxn>
                        <a:cxn ang="0">
                          <a:pos x="connsiteX71" y="connsiteY71"/>
                        </a:cxn>
                        <a:cxn ang="0">
                          <a:pos x="connsiteX72" y="connsiteY72"/>
                        </a:cxn>
                        <a:cxn ang="0">
                          <a:pos x="connsiteX73" y="connsiteY73"/>
                        </a:cxn>
                        <a:cxn ang="0">
                          <a:pos x="connsiteX74" y="connsiteY74"/>
                        </a:cxn>
                        <a:cxn ang="0">
                          <a:pos x="connsiteX75" y="connsiteY75"/>
                        </a:cxn>
                        <a:cxn ang="0">
                          <a:pos x="connsiteX76" y="connsiteY76"/>
                        </a:cxn>
                        <a:cxn ang="0">
                          <a:pos x="connsiteX77" y="connsiteY77"/>
                        </a:cxn>
                        <a:cxn ang="0">
                          <a:pos x="connsiteX78" y="connsiteY78"/>
                        </a:cxn>
                        <a:cxn ang="0">
                          <a:pos x="connsiteX79" y="connsiteY79"/>
                        </a:cxn>
                        <a:cxn ang="0">
                          <a:pos x="connsiteX80" y="connsiteY80"/>
                        </a:cxn>
                        <a:cxn ang="0">
                          <a:pos x="connsiteX81" y="connsiteY81"/>
                        </a:cxn>
                        <a:cxn ang="0">
                          <a:pos x="connsiteX82" y="connsiteY82"/>
                        </a:cxn>
                        <a:cxn ang="0">
                          <a:pos x="connsiteX83" y="connsiteY83"/>
                        </a:cxn>
                        <a:cxn ang="0">
                          <a:pos x="connsiteX84" y="connsiteY84"/>
                        </a:cxn>
                        <a:cxn ang="0">
                          <a:pos x="connsiteX85" y="connsiteY85"/>
                        </a:cxn>
                        <a:cxn ang="0">
                          <a:pos x="connsiteX86" y="connsiteY86"/>
                        </a:cxn>
                        <a:cxn ang="0">
                          <a:pos x="connsiteX87" y="connsiteY87"/>
                        </a:cxn>
                        <a:cxn ang="0">
                          <a:pos x="connsiteX88" y="connsiteY88"/>
                        </a:cxn>
                        <a:cxn ang="0">
                          <a:pos x="connsiteX89" y="connsiteY89"/>
                        </a:cxn>
                        <a:cxn ang="0">
                          <a:pos x="connsiteX90" y="connsiteY90"/>
                        </a:cxn>
                        <a:cxn ang="0">
                          <a:pos x="connsiteX91" y="connsiteY91"/>
                        </a:cxn>
                        <a:cxn ang="0">
                          <a:pos x="connsiteX92" y="connsiteY92"/>
                        </a:cxn>
                        <a:cxn ang="0">
                          <a:pos x="connsiteX93" y="connsiteY93"/>
                        </a:cxn>
                        <a:cxn ang="0">
                          <a:pos x="connsiteX94" y="connsiteY94"/>
                        </a:cxn>
                        <a:cxn ang="0">
                          <a:pos x="connsiteX95" y="connsiteY95"/>
                        </a:cxn>
                        <a:cxn ang="0">
                          <a:pos x="connsiteX96" y="connsiteY96"/>
                        </a:cxn>
                        <a:cxn ang="0">
                          <a:pos x="connsiteX97" y="connsiteY97"/>
                        </a:cxn>
                        <a:cxn ang="0">
                          <a:pos x="connsiteX98" y="connsiteY98"/>
                        </a:cxn>
                      </a:cxnLst>
                      <a:rect l="l" t="t" r="r" b="b"/>
                      <a:pathLst>
                        <a:path w="114300" h="114300">
                          <a:moveTo>
                            <a:pt x="46346" y="113973"/>
                          </a:moveTo>
                          <a:cubicBezTo>
                            <a:pt x="45393" y="113973"/>
                            <a:pt x="45393" y="113973"/>
                            <a:pt x="44441" y="113973"/>
                          </a:cubicBezTo>
                          <a:lnTo>
                            <a:pt x="27296" y="107306"/>
                          </a:lnTo>
                          <a:cubicBezTo>
                            <a:pt x="25391" y="106353"/>
                            <a:pt x="24438" y="104448"/>
                            <a:pt x="24438" y="102543"/>
                          </a:cubicBezTo>
                          <a:lnTo>
                            <a:pt x="24438" y="94923"/>
                          </a:lnTo>
                          <a:cubicBezTo>
                            <a:pt x="23486" y="93971"/>
                            <a:pt x="21581" y="92066"/>
                            <a:pt x="20628" y="91113"/>
                          </a:cubicBezTo>
                          <a:lnTo>
                            <a:pt x="13008" y="91113"/>
                          </a:lnTo>
                          <a:cubicBezTo>
                            <a:pt x="11103" y="91113"/>
                            <a:pt x="9198" y="90161"/>
                            <a:pt x="8246" y="88256"/>
                          </a:cubicBezTo>
                          <a:lnTo>
                            <a:pt x="626" y="71111"/>
                          </a:lnTo>
                          <a:cubicBezTo>
                            <a:pt x="-327" y="69206"/>
                            <a:pt x="626" y="67301"/>
                            <a:pt x="1578" y="65396"/>
                          </a:cubicBezTo>
                          <a:lnTo>
                            <a:pt x="7293" y="60633"/>
                          </a:lnTo>
                          <a:cubicBezTo>
                            <a:pt x="7293" y="58728"/>
                            <a:pt x="7293" y="56823"/>
                            <a:pt x="7293" y="54918"/>
                          </a:cubicBezTo>
                          <a:lnTo>
                            <a:pt x="1578" y="50156"/>
                          </a:lnTo>
                          <a:cubicBezTo>
                            <a:pt x="-327" y="49203"/>
                            <a:pt x="-327" y="46346"/>
                            <a:pt x="626" y="44441"/>
                          </a:cubicBezTo>
                          <a:lnTo>
                            <a:pt x="7293" y="27296"/>
                          </a:lnTo>
                          <a:cubicBezTo>
                            <a:pt x="8246" y="25391"/>
                            <a:pt x="10151" y="24438"/>
                            <a:pt x="12056" y="24438"/>
                          </a:cubicBezTo>
                          <a:lnTo>
                            <a:pt x="19676" y="24438"/>
                          </a:lnTo>
                          <a:cubicBezTo>
                            <a:pt x="20628" y="23486"/>
                            <a:pt x="22533" y="21581"/>
                            <a:pt x="23486" y="20628"/>
                          </a:cubicBezTo>
                          <a:lnTo>
                            <a:pt x="23486" y="13008"/>
                          </a:lnTo>
                          <a:cubicBezTo>
                            <a:pt x="23486" y="11103"/>
                            <a:pt x="24438" y="9198"/>
                            <a:pt x="26343" y="8246"/>
                          </a:cubicBezTo>
                          <a:lnTo>
                            <a:pt x="43488" y="626"/>
                          </a:lnTo>
                          <a:cubicBezTo>
                            <a:pt x="45393" y="-327"/>
                            <a:pt x="47298" y="626"/>
                            <a:pt x="49203" y="1578"/>
                          </a:cubicBezTo>
                          <a:lnTo>
                            <a:pt x="53966" y="7293"/>
                          </a:lnTo>
                          <a:cubicBezTo>
                            <a:pt x="55871" y="7293"/>
                            <a:pt x="57776" y="7293"/>
                            <a:pt x="59681" y="7293"/>
                          </a:cubicBezTo>
                          <a:lnTo>
                            <a:pt x="64443" y="1578"/>
                          </a:lnTo>
                          <a:cubicBezTo>
                            <a:pt x="65396" y="-327"/>
                            <a:pt x="68253" y="-327"/>
                            <a:pt x="70158" y="626"/>
                          </a:cubicBezTo>
                          <a:lnTo>
                            <a:pt x="87303" y="7293"/>
                          </a:lnTo>
                          <a:cubicBezTo>
                            <a:pt x="89208" y="8246"/>
                            <a:pt x="90161" y="10151"/>
                            <a:pt x="90161" y="12056"/>
                          </a:cubicBezTo>
                          <a:lnTo>
                            <a:pt x="90161" y="19676"/>
                          </a:lnTo>
                          <a:cubicBezTo>
                            <a:pt x="91113" y="20628"/>
                            <a:pt x="93018" y="22533"/>
                            <a:pt x="93971" y="23486"/>
                          </a:cubicBezTo>
                          <a:lnTo>
                            <a:pt x="101591" y="23486"/>
                          </a:lnTo>
                          <a:cubicBezTo>
                            <a:pt x="103496" y="23486"/>
                            <a:pt x="105401" y="24438"/>
                            <a:pt x="106353" y="26343"/>
                          </a:cubicBezTo>
                          <a:lnTo>
                            <a:pt x="113973" y="43488"/>
                          </a:lnTo>
                          <a:cubicBezTo>
                            <a:pt x="114926" y="45393"/>
                            <a:pt x="113973" y="47298"/>
                            <a:pt x="113021" y="49203"/>
                          </a:cubicBezTo>
                          <a:lnTo>
                            <a:pt x="107306" y="53966"/>
                          </a:lnTo>
                          <a:cubicBezTo>
                            <a:pt x="107306" y="55871"/>
                            <a:pt x="107306" y="57776"/>
                            <a:pt x="107306" y="59681"/>
                          </a:cubicBezTo>
                          <a:lnTo>
                            <a:pt x="113021" y="64443"/>
                          </a:lnTo>
                          <a:cubicBezTo>
                            <a:pt x="114926" y="65396"/>
                            <a:pt x="114926" y="68253"/>
                            <a:pt x="113973" y="70158"/>
                          </a:cubicBezTo>
                          <a:lnTo>
                            <a:pt x="107306" y="87303"/>
                          </a:lnTo>
                          <a:cubicBezTo>
                            <a:pt x="106353" y="89208"/>
                            <a:pt x="104448" y="90161"/>
                            <a:pt x="102543" y="90161"/>
                          </a:cubicBezTo>
                          <a:lnTo>
                            <a:pt x="94923" y="90161"/>
                          </a:lnTo>
                          <a:cubicBezTo>
                            <a:pt x="93971" y="91113"/>
                            <a:pt x="92066" y="93018"/>
                            <a:pt x="91113" y="93971"/>
                          </a:cubicBezTo>
                          <a:lnTo>
                            <a:pt x="91113" y="101591"/>
                          </a:lnTo>
                          <a:cubicBezTo>
                            <a:pt x="91113" y="103496"/>
                            <a:pt x="90161" y="105401"/>
                            <a:pt x="88256" y="106353"/>
                          </a:cubicBezTo>
                          <a:lnTo>
                            <a:pt x="71111" y="113973"/>
                          </a:lnTo>
                          <a:cubicBezTo>
                            <a:pt x="69206" y="114926"/>
                            <a:pt x="67301" y="113973"/>
                            <a:pt x="65396" y="113021"/>
                          </a:cubicBezTo>
                          <a:lnTo>
                            <a:pt x="60633" y="107306"/>
                          </a:lnTo>
                          <a:cubicBezTo>
                            <a:pt x="58728" y="107306"/>
                            <a:pt x="56823" y="107306"/>
                            <a:pt x="54918" y="107306"/>
                          </a:cubicBezTo>
                          <a:lnTo>
                            <a:pt x="50156" y="113021"/>
                          </a:lnTo>
                          <a:cubicBezTo>
                            <a:pt x="49203" y="113021"/>
                            <a:pt x="48251" y="113973"/>
                            <a:pt x="46346" y="113973"/>
                          </a:cubicBezTo>
                          <a:close/>
                          <a:moveTo>
                            <a:pt x="33963" y="98733"/>
                          </a:moveTo>
                          <a:lnTo>
                            <a:pt x="45393" y="103496"/>
                          </a:lnTo>
                          <a:lnTo>
                            <a:pt x="50156" y="98733"/>
                          </a:lnTo>
                          <a:cubicBezTo>
                            <a:pt x="51108" y="97781"/>
                            <a:pt x="53013" y="96828"/>
                            <a:pt x="53966" y="96828"/>
                          </a:cubicBezTo>
                          <a:cubicBezTo>
                            <a:pt x="56823" y="96828"/>
                            <a:pt x="59681" y="96828"/>
                            <a:pt x="62538" y="96828"/>
                          </a:cubicBezTo>
                          <a:cubicBezTo>
                            <a:pt x="64443" y="96828"/>
                            <a:pt x="65396" y="96828"/>
                            <a:pt x="66348" y="98733"/>
                          </a:cubicBezTo>
                          <a:lnTo>
                            <a:pt x="71111" y="103496"/>
                          </a:lnTo>
                          <a:lnTo>
                            <a:pt x="82541" y="98733"/>
                          </a:lnTo>
                          <a:lnTo>
                            <a:pt x="82541" y="92066"/>
                          </a:lnTo>
                          <a:cubicBezTo>
                            <a:pt x="82541" y="90161"/>
                            <a:pt x="83493" y="89208"/>
                            <a:pt x="84446" y="88256"/>
                          </a:cubicBezTo>
                          <a:cubicBezTo>
                            <a:pt x="86351" y="86351"/>
                            <a:pt x="89208" y="84446"/>
                            <a:pt x="90161" y="82541"/>
                          </a:cubicBezTo>
                          <a:cubicBezTo>
                            <a:pt x="91113" y="81588"/>
                            <a:pt x="93018" y="80636"/>
                            <a:pt x="93971" y="80636"/>
                          </a:cubicBezTo>
                          <a:lnTo>
                            <a:pt x="100638" y="80636"/>
                          </a:lnTo>
                          <a:lnTo>
                            <a:pt x="105401" y="69206"/>
                          </a:lnTo>
                          <a:lnTo>
                            <a:pt x="100638" y="64443"/>
                          </a:lnTo>
                          <a:cubicBezTo>
                            <a:pt x="99686" y="63491"/>
                            <a:pt x="98733" y="61586"/>
                            <a:pt x="98733" y="60633"/>
                          </a:cubicBezTo>
                          <a:cubicBezTo>
                            <a:pt x="98733" y="57776"/>
                            <a:pt x="98733" y="54918"/>
                            <a:pt x="98733" y="52061"/>
                          </a:cubicBezTo>
                          <a:cubicBezTo>
                            <a:pt x="98733" y="50156"/>
                            <a:pt x="98733" y="49203"/>
                            <a:pt x="100638" y="48251"/>
                          </a:cubicBezTo>
                          <a:lnTo>
                            <a:pt x="105401" y="43488"/>
                          </a:lnTo>
                          <a:lnTo>
                            <a:pt x="100638" y="32058"/>
                          </a:lnTo>
                          <a:lnTo>
                            <a:pt x="93971" y="32058"/>
                          </a:lnTo>
                          <a:cubicBezTo>
                            <a:pt x="92066" y="32058"/>
                            <a:pt x="91113" y="31106"/>
                            <a:pt x="90161" y="30153"/>
                          </a:cubicBezTo>
                          <a:cubicBezTo>
                            <a:pt x="88256" y="28248"/>
                            <a:pt x="86351" y="25391"/>
                            <a:pt x="84446" y="24438"/>
                          </a:cubicBezTo>
                          <a:cubicBezTo>
                            <a:pt x="83493" y="23486"/>
                            <a:pt x="82541" y="21581"/>
                            <a:pt x="82541" y="20628"/>
                          </a:cubicBezTo>
                          <a:lnTo>
                            <a:pt x="82541" y="13961"/>
                          </a:lnTo>
                          <a:lnTo>
                            <a:pt x="71111" y="9198"/>
                          </a:lnTo>
                          <a:lnTo>
                            <a:pt x="66348" y="13961"/>
                          </a:lnTo>
                          <a:cubicBezTo>
                            <a:pt x="65396" y="14913"/>
                            <a:pt x="63491" y="15866"/>
                            <a:pt x="62538" y="15866"/>
                          </a:cubicBezTo>
                          <a:cubicBezTo>
                            <a:pt x="59681" y="15866"/>
                            <a:pt x="56823" y="15866"/>
                            <a:pt x="53966" y="15866"/>
                          </a:cubicBezTo>
                          <a:cubicBezTo>
                            <a:pt x="52061" y="15866"/>
                            <a:pt x="51108" y="15866"/>
                            <a:pt x="50156" y="13961"/>
                          </a:cubicBezTo>
                          <a:lnTo>
                            <a:pt x="45393" y="9198"/>
                          </a:lnTo>
                          <a:lnTo>
                            <a:pt x="33963" y="14913"/>
                          </a:lnTo>
                          <a:lnTo>
                            <a:pt x="33963" y="21581"/>
                          </a:lnTo>
                          <a:cubicBezTo>
                            <a:pt x="33963" y="23486"/>
                            <a:pt x="33011" y="24438"/>
                            <a:pt x="32058" y="25391"/>
                          </a:cubicBezTo>
                          <a:cubicBezTo>
                            <a:pt x="30153" y="27296"/>
                            <a:pt x="27296" y="29201"/>
                            <a:pt x="26343" y="31106"/>
                          </a:cubicBezTo>
                          <a:cubicBezTo>
                            <a:pt x="25391" y="32058"/>
                            <a:pt x="23486" y="33011"/>
                            <a:pt x="22533" y="33011"/>
                          </a:cubicBezTo>
                          <a:lnTo>
                            <a:pt x="15866" y="33011"/>
                          </a:lnTo>
                          <a:lnTo>
                            <a:pt x="11103" y="44441"/>
                          </a:lnTo>
                          <a:lnTo>
                            <a:pt x="15866" y="49203"/>
                          </a:lnTo>
                          <a:cubicBezTo>
                            <a:pt x="16818" y="50156"/>
                            <a:pt x="17771" y="52061"/>
                            <a:pt x="17771" y="53013"/>
                          </a:cubicBezTo>
                          <a:cubicBezTo>
                            <a:pt x="17771" y="55871"/>
                            <a:pt x="17771" y="58728"/>
                            <a:pt x="17771" y="61586"/>
                          </a:cubicBezTo>
                          <a:cubicBezTo>
                            <a:pt x="17771" y="63491"/>
                            <a:pt x="17771" y="64443"/>
                            <a:pt x="15866" y="65396"/>
                          </a:cubicBezTo>
                          <a:lnTo>
                            <a:pt x="11103" y="70158"/>
                          </a:lnTo>
                          <a:lnTo>
                            <a:pt x="15866" y="81588"/>
                          </a:lnTo>
                          <a:lnTo>
                            <a:pt x="22533" y="81588"/>
                          </a:lnTo>
                          <a:cubicBezTo>
                            <a:pt x="24438" y="81588"/>
                            <a:pt x="25391" y="82541"/>
                            <a:pt x="26343" y="83493"/>
                          </a:cubicBezTo>
                          <a:cubicBezTo>
                            <a:pt x="28248" y="85398"/>
                            <a:pt x="30153" y="88256"/>
                            <a:pt x="32058" y="89208"/>
                          </a:cubicBezTo>
                          <a:cubicBezTo>
                            <a:pt x="33011" y="90161"/>
                            <a:pt x="33963" y="92066"/>
                            <a:pt x="33963" y="93018"/>
                          </a:cubicBezTo>
                          <a:lnTo>
                            <a:pt x="33963" y="98733"/>
                          </a:lnTo>
                          <a:close/>
                        </a:path>
                      </a:pathLst>
                    </a:custGeom>
                    <a:grpFill/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Ubuntu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24" name="Freeform: Shape 185">
                      <a:extLst>
                        <a:ext uri="{FF2B5EF4-FFF2-40B4-BE49-F238E27FC236}">
                          <a16:creationId xmlns:a16="http://schemas.microsoft.com/office/drawing/2014/main" id="{69330F34-9468-EF00-33E0-C1AD5A25A49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154323" y="3476845"/>
                      <a:ext cx="38100" cy="38100"/>
                    </a:xfrm>
                    <a:custGeom>
                      <a:avLst/>
                      <a:gdLst>
                        <a:gd name="connsiteX0" fmla="*/ 22639 w 38100"/>
                        <a:gd name="connsiteY0" fmla="*/ 45499 h 38100"/>
                        <a:gd name="connsiteX1" fmla="*/ 14067 w 38100"/>
                        <a:gd name="connsiteY1" fmla="*/ 43594 h 38100"/>
                        <a:gd name="connsiteX2" fmla="*/ 1684 w 38100"/>
                        <a:gd name="connsiteY2" fmla="*/ 31212 h 38100"/>
                        <a:gd name="connsiteX3" fmla="*/ 14067 w 38100"/>
                        <a:gd name="connsiteY3" fmla="*/ 1684 h 38100"/>
                        <a:gd name="connsiteX4" fmla="*/ 43594 w 38100"/>
                        <a:gd name="connsiteY4" fmla="*/ 14067 h 38100"/>
                        <a:gd name="connsiteX5" fmla="*/ 43594 w 38100"/>
                        <a:gd name="connsiteY5" fmla="*/ 14067 h 38100"/>
                        <a:gd name="connsiteX6" fmla="*/ 31212 w 38100"/>
                        <a:gd name="connsiteY6" fmla="*/ 43594 h 38100"/>
                        <a:gd name="connsiteX7" fmla="*/ 22639 w 38100"/>
                        <a:gd name="connsiteY7" fmla="*/ 45499 h 38100"/>
                        <a:gd name="connsiteX8" fmla="*/ 22639 w 38100"/>
                        <a:gd name="connsiteY8" fmla="*/ 10257 h 38100"/>
                        <a:gd name="connsiteX9" fmla="*/ 17877 w 38100"/>
                        <a:gd name="connsiteY9" fmla="*/ 11209 h 38100"/>
                        <a:gd name="connsiteX10" fmla="*/ 11209 w 38100"/>
                        <a:gd name="connsiteY10" fmla="*/ 28354 h 38100"/>
                        <a:gd name="connsiteX11" fmla="*/ 17877 w 38100"/>
                        <a:gd name="connsiteY11" fmla="*/ 35022 h 38100"/>
                        <a:gd name="connsiteX12" fmla="*/ 27402 w 38100"/>
                        <a:gd name="connsiteY12" fmla="*/ 35022 h 38100"/>
                        <a:gd name="connsiteX13" fmla="*/ 34069 w 38100"/>
                        <a:gd name="connsiteY13" fmla="*/ 17877 h 38100"/>
                        <a:gd name="connsiteX14" fmla="*/ 22639 w 38100"/>
                        <a:gd name="connsiteY14" fmla="*/ 10257 h 381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</a:cxnLst>
                      <a:rect l="l" t="t" r="r" b="b"/>
                      <a:pathLst>
                        <a:path w="38100" h="38100">
                          <a:moveTo>
                            <a:pt x="22639" y="45499"/>
                          </a:moveTo>
                          <a:cubicBezTo>
                            <a:pt x="19782" y="45499"/>
                            <a:pt x="16924" y="44547"/>
                            <a:pt x="14067" y="43594"/>
                          </a:cubicBezTo>
                          <a:cubicBezTo>
                            <a:pt x="8352" y="41689"/>
                            <a:pt x="4542" y="36927"/>
                            <a:pt x="1684" y="31212"/>
                          </a:cubicBezTo>
                          <a:cubicBezTo>
                            <a:pt x="-3078" y="19782"/>
                            <a:pt x="2637" y="6447"/>
                            <a:pt x="14067" y="1684"/>
                          </a:cubicBezTo>
                          <a:cubicBezTo>
                            <a:pt x="25497" y="-3078"/>
                            <a:pt x="38832" y="2637"/>
                            <a:pt x="43594" y="14067"/>
                          </a:cubicBezTo>
                          <a:lnTo>
                            <a:pt x="43594" y="14067"/>
                          </a:lnTo>
                          <a:cubicBezTo>
                            <a:pt x="48357" y="25497"/>
                            <a:pt x="42642" y="38832"/>
                            <a:pt x="31212" y="43594"/>
                          </a:cubicBezTo>
                          <a:cubicBezTo>
                            <a:pt x="28354" y="44547"/>
                            <a:pt x="25497" y="45499"/>
                            <a:pt x="22639" y="45499"/>
                          </a:cubicBezTo>
                          <a:close/>
                          <a:moveTo>
                            <a:pt x="22639" y="10257"/>
                          </a:moveTo>
                          <a:cubicBezTo>
                            <a:pt x="20734" y="10257"/>
                            <a:pt x="19782" y="10257"/>
                            <a:pt x="17877" y="11209"/>
                          </a:cubicBezTo>
                          <a:cubicBezTo>
                            <a:pt x="11209" y="14067"/>
                            <a:pt x="8352" y="21687"/>
                            <a:pt x="11209" y="28354"/>
                          </a:cubicBezTo>
                          <a:cubicBezTo>
                            <a:pt x="12162" y="31212"/>
                            <a:pt x="15019" y="34069"/>
                            <a:pt x="17877" y="35022"/>
                          </a:cubicBezTo>
                          <a:cubicBezTo>
                            <a:pt x="20734" y="35974"/>
                            <a:pt x="24544" y="35974"/>
                            <a:pt x="27402" y="35022"/>
                          </a:cubicBezTo>
                          <a:cubicBezTo>
                            <a:pt x="34069" y="32164"/>
                            <a:pt x="36927" y="24544"/>
                            <a:pt x="34069" y="17877"/>
                          </a:cubicBezTo>
                          <a:cubicBezTo>
                            <a:pt x="32164" y="13114"/>
                            <a:pt x="27402" y="10257"/>
                            <a:pt x="22639" y="10257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Ubuntu"/>
                        <a:ea typeface="+mn-ea"/>
                        <a:cs typeface="+mn-cs"/>
                      </a:endParaRPr>
                    </a:p>
                  </p:txBody>
                </p:sp>
              </p:grpSp>
            </p:grpSp>
          </p:grpSp>
          <p:grpSp>
            <p:nvGrpSpPr>
              <p:cNvPr id="187" name="Group 186">
                <a:extLst>
                  <a:ext uri="{FF2B5EF4-FFF2-40B4-BE49-F238E27FC236}">
                    <a16:creationId xmlns:a16="http://schemas.microsoft.com/office/drawing/2014/main" id="{67775F16-5199-B83C-EF02-5E2D57CA339A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7463678" y="1918878"/>
                <a:ext cx="694917" cy="694917"/>
                <a:chOff x="3215680" y="1733455"/>
                <a:chExt cx="720080" cy="720080"/>
              </a:xfrm>
            </p:grpSpPr>
            <p:sp>
              <p:nvSpPr>
                <p:cNvPr id="214" name="Oval 213">
                  <a:extLst>
                    <a:ext uri="{FF2B5EF4-FFF2-40B4-BE49-F238E27FC236}">
                      <a16:creationId xmlns:a16="http://schemas.microsoft.com/office/drawing/2014/main" id="{C00CD254-0499-E904-E23A-89D5523029E4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3215680" y="1733455"/>
                  <a:ext cx="720080" cy="720080"/>
                </a:xfrm>
                <a:prstGeom prst="ellipse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600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Ubuntu"/>
                    <a:ea typeface="+mn-ea"/>
                    <a:cs typeface="+mn-cs"/>
                  </a:endParaRPr>
                </a:p>
              </p:txBody>
            </p:sp>
            <p:grpSp>
              <p:nvGrpSpPr>
                <p:cNvPr id="215" name="Graphic 2">
                  <a:extLst>
                    <a:ext uri="{FF2B5EF4-FFF2-40B4-BE49-F238E27FC236}">
                      <a16:creationId xmlns:a16="http://schemas.microsoft.com/office/drawing/2014/main" id="{74B4DA2E-1850-480C-848D-031A7F5B8CB3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3333921" y="1848457"/>
                  <a:ext cx="483569" cy="432667"/>
                  <a:chOff x="5875044" y="3160249"/>
                  <a:chExt cx="441940" cy="395420"/>
                </a:xfrm>
                <a:solidFill>
                  <a:schemeClr val="bg1"/>
                </a:solidFill>
              </p:grpSpPr>
              <p:sp>
                <p:nvSpPr>
                  <p:cNvPr id="216" name="Freeform: Shape 177">
                    <a:extLst>
                      <a:ext uri="{FF2B5EF4-FFF2-40B4-BE49-F238E27FC236}">
                        <a16:creationId xmlns:a16="http://schemas.microsoft.com/office/drawing/2014/main" id="{9A95D161-410D-D80E-A0D2-832281D1E7BA}"/>
                      </a:ext>
                    </a:extLst>
                  </p:cNvPr>
                  <p:cNvSpPr/>
                  <p:nvPr/>
                </p:nvSpPr>
                <p:spPr>
                  <a:xfrm>
                    <a:off x="6068996" y="3195680"/>
                    <a:ext cx="53473" cy="53474"/>
                  </a:xfrm>
                  <a:custGeom>
                    <a:avLst/>
                    <a:gdLst>
                      <a:gd name="connsiteX0" fmla="*/ 28876 w 53473"/>
                      <a:gd name="connsiteY0" fmla="*/ 0 h 53473"/>
                      <a:gd name="connsiteX1" fmla="*/ 0 w 53473"/>
                      <a:gd name="connsiteY1" fmla="*/ 29143 h 53473"/>
                      <a:gd name="connsiteX2" fmla="*/ 29143 w 53473"/>
                      <a:gd name="connsiteY2" fmla="*/ 58018 h 53473"/>
                      <a:gd name="connsiteX3" fmla="*/ 58019 w 53473"/>
                      <a:gd name="connsiteY3" fmla="*/ 28876 h 53473"/>
                      <a:gd name="connsiteX4" fmla="*/ 28876 w 53473"/>
                      <a:gd name="connsiteY4" fmla="*/ 0 h 53473"/>
                      <a:gd name="connsiteX5" fmla="*/ 28876 w 53473"/>
                      <a:gd name="connsiteY5" fmla="*/ 0 h 53473"/>
                      <a:gd name="connsiteX6" fmla="*/ 28876 w 53473"/>
                      <a:gd name="connsiteY6" fmla="*/ 44517 h 53473"/>
                      <a:gd name="connsiteX7" fmla="*/ 13369 w 53473"/>
                      <a:gd name="connsiteY7" fmla="*/ 28743 h 53473"/>
                      <a:gd name="connsiteX8" fmla="*/ 29143 w 53473"/>
                      <a:gd name="connsiteY8" fmla="*/ 13236 h 53473"/>
                      <a:gd name="connsiteX9" fmla="*/ 44651 w 53473"/>
                      <a:gd name="connsiteY9" fmla="*/ 28876 h 53473"/>
                      <a:gd name="connsiteX10" fmla="*/ 29010 w 53473"/>
                      <a:gd name="connsiteY10" fmla="*/ 44518 h 53473"/>
                      <a:gd name="connsiteX11" fmla="*/ 28876 w 53473"/>
                      <a:gd name="connsiteY11" fmla="*/ 44517 h 534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</a:cxnLst>
                    <a:rect l="l" t="t" r="r" b="b"/>
                    <a:pathLst>
                      <a:path w="53473" h="53473">
                        <a:moveTo>
                          <a:pt x="28876" y="0"/>
                        </a:moveTo>
                        <a:cubicBezTo>
                          <a:pt x="12855" y="74"/>
                          <a:pt x="-73" y="13122"/>
                          <a:pt x="0" y="29143"/>
                        </a:cubicBezTo>
                        <a:cubicBezTo>
                          <a:pt x="75" y="45165"/>
                          <a:pt x="13123" y="58092"/>
                          <a:pt x="29143" y="58018"/>
                        </a:cubicBezTo>
                        <a:cubicBezTo>
                          <a:pt x="45165" y="57944"/>
                          <a:pt x="58093" y="44897"/>
                          <a:pt x="58019" y="28876"/>
                        </a:cubicBezTo>
                        <a:cubicBezTo>
                          <a:pt x="57946" y="12855"/>
                          <a:pt x="44898" y="-73"/>
                          <a:pt x="28876" y="0"/>
                        </a:cubicBezTo>
                        <a:cubicBezTo>
                          <a:pt x="28876" y="0"/>
                          <a:pt x="28876" y="0"/>
                          <a:pt x="28876" y="0"/>
                        </a:cubicBezTo>
                        <a:close/>
                        <a:moveTo>
                          <a:pt x="28876" y="44517"/>
                        </a:moveTo>
                        <a:cubicBezTo>
                          <a:pt x="20239" y="44443"/>
                          <a:pt x="13295" y="37381"/>
                          <a:pt x="13369" y="28743"/>
                        </a:cubicBezTo>
                        <a:cubicBezTo>
                          <a:pt x="13444" y="20105"/>
                          <a:pt x="20505" y="13162"/>
                          <a:pt x="29143" y="13236"/>
                        </a:cubicBezTo>
                        <a:cubicBezTo>
                          <a:pt x="37729" y="13309"/>
                          <a:pt x="44651" y="20290"/>
                          <a:pt x="44651" y="28876"/>
                        </a:cubicBezTo>
                        <a:cubicBezTo>
                          <a:pt x="44651" y="37514"/>
                          <a:pt x="37648" y="44517"/>
                          <a:pt x="29010" y="44518"/>
                        </a:cubicBezTo>
                        <a:cubicBezTo>
                          <a:pt x="28966" y="44518"/>
                          <a:pt x="28920" y="44517"/>
                          <a:pt x="28876" y="44517"/>
                        </a:cubicBezTo>
                        <a:close/>
                      </a:path>
                    </a:pathLst>
                  </a:custGeom>
                  <a:grpFill/>
                  <a:ln w="132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17" name="Freeform: Shape 178">
                    <a:extLst>
                      <a:ext uri="{FF2B5EF4-FFF2-40B4-BE49-F238E27FC236}">
                        <a16:creationId xmlns:a16="http://schemas.microsoft.com/office/drawing/2014/main" id="{5A05D1AE-41E0-21BA-0890-4DAB42260A1B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>
                  <a:xfrm>
                    <a:off x="5875044" y="3160249"/>
                    <a:ext cx="441940" cy="395420"/>
                  </a:xfrm>
                  <a:custGeom>
                    <a:avLst/>
                    <a:gdLst>
                      <a:gd name="connsiteX0" fmla="*/ 505592 w 507998"/>
                      <a:gd name="connsiteY0" fmla="*/ 441256 h 454525"/>
                      <a:gd name="connsiteX1" fmla="*/ 483267 w 507998"/>
                      <a:gd name="connsiteY1" fmla="*/ 441256 h 454525"/>
                      <a:gd name="connsiteX2" fmla="*/ 483267 w 507998"/>
                      <a:gd name="connsiteY2" fmla="*/ 421203 h 454525"/>
                      <a:gd name="connsiteX3" fmla="*/ 473909 w 507998"/>
                      <a:gd name="connsiteY3" fmla="*/ 411845 h 454525"/>
                      <a:gd name="connsiteX4" fmla="*/ 464150 w 507998"/>
                      <a:gd name="connsiteY4" fmla="*/ 411845 h 454525"/>
                      <a:gd name="connsiteX5" fmla="*/ 464150 w 507998"/>
                      <a:gd name="connsiteY5" fmla="*/ 391392 h 454525"/>
                      <a:gd name="connsiteX6" fmla="*/ 454792 w 507998"/>
                      <a:gd name="connsiteY6" fmla="*/ 382034 h 454525"/>
                      <a:gd name="connsiteX7" fmla="*/ 436344 w 507998"/>
                      <a:gd name="connsiteY7" fmla="*/ 382034 h 454525"/>
                      <a:gd name="connsiteX8" fmla="*/ 436344 w 507998"/>
                      <a:gd name="connsiteY8" fmla="*/ 159718 h 454525"/>
                      <a:gd name="connsiteX9" fmla="*/ 439953 w 507998"/>
                      <a:gd name="connsiteY9" fmla="*/ 159718 h 454525"/>
                      <a:gd name="connsiteX10" fmla="*/ 449179 w 507998"/>
                      <a:gd name="connsiteY10" fmla="*/ 150495 h 454525"/>
                      <a:gd name="connsiteX11" fmla="*/ 449177 w 507998"/>
                      <a:gd name="connsiteY11" fmla="*/ 150360 h 454525"/>
                      <a:gd name="connsiteX12" fmla="*/ 449177 w 507998"/>
                      <a:gd name="connsiteY12" fmla="*/ 115335 h 454525"/>
                      <a:gd name="connsiteX13" fmla="*/ 440088 w 507998"/>
                      <a:gd name="connsiteY13" fmla="*/ 105978 h 454525"/>
                      <a:gd name="connsiteX14" fmla="*/ 439953 w 507998"/>
                      <a:gd name="connsiteY14" fmla="*/ 105977 h 454525"/>
                      <a:gd name="connsiteX15" fmla="*/ 415222 w 507998"/>
                      <a:gd name="connsiteY15" fmla="*/ 105977 h 454525"/>
                      <a:gd name="connsiteX16" fmla="*/ 266298 w 507998"/>
                      <a:gd name="connsiteY16" fmla="*/ 2906 h 454525"/>
                      <a:gd name="connsiteX17" fmla="*/ 245577 w 507998"/>
                      <a:gd name="connsiteY17" fmla="*/ 2906 h 454525"/>
                      <a:gd name="connsiteX18" fmla="*/ 96653 w 507998"/>
                      <a:gd name="connsiteY18" fmla="*/ 105977 h 454525"/>
                      <a:gd name="connsiteX19" fmla="*/ 72457 w 507998"/>
                      <a:gd name="connsiteY19" fmla="*/ 105977 h 454525"/>
                      <a:gd name="connsiteX20" fmla="*/ 63099 w 507998"/>
                      <a:gd name="connsiteY20" fmla="*/ 115335 h 454525"/>
                      <a:gd name="connsiteX21" fmla="*/ 63099 w 507998"/>
                      <a:gd name="connsiteY21" fmla="*/ 150360 h 454525"/>
                      <a:gd name="connsiteX22" fmla="*/ 72457 w 507998"/>
                      <a:gd name="connsiteY22" fmla="*/ 159718 h 454525"/>
                      <a:gd name="connsiteX23" fmla="*/ 74997 w 507998"/>
                      <a:gd name="connsiteY23" fmla="*/ 159718 h 454525"/>
                      <a:gd name="connsiteX24" fmla="*/ 74997 w 507998"/>
                      <a:gd name="connsiteY24" fmla="*/ 382034 h 454525"/>
                      <a:gd name="connsiteX25" fmla="*/ 57484 w 507998"/>
                      <a:gd name="connsiteY25" fmla="*/ 382034 h 454525"/>
                      <a:gd name="connsiteX26" fmla="*/ 48126 w 507998"/>
                      <a:gd name="connsiteY26" fmla="*/ 391392 h 454525"/>
                      <a:gd name="connsiteX27" fmla="*/ 48126 w 507998"/>
                      <a:gd name="connsiteY27" fmla="*/ 411845 h 454525"/>
                      <a:gd name="connsiteX28" fmla="*/ 38501 w 507998"/>
                      <a:gd name="connsiteY28" fmla="*/ 411845 h 454525"/>
                      <a:gd name="connsiteX29" fmla="*/ 29143 w 507998"/>
                      <a:gd name="connsiteY29" fmla="*/ 421203 h 454525"/>
                      <a:gd name="connsiteX30" fmla="*/ 29143 w 507998"/>
                      <a:gd name="connsiteY30" fmla="*/ 441256 h 454525"/>
                      <a:gd name="connsiteX31" fmla="*/ 6684 w 507998"/>
                      <a:gd name="connsiteY31" fmla="*/ 441256 h 454525"/>
                      <a:gd name="connsiteX32" fmla="*/ 0 w 507998"/>
                      <a:gd name="connsiteY32" fmla="*/ 447940 h 454525"/>
                      <a:gd name="connsiteX33" fmla="*/ 6684 w 507998"/>
                      <a:gd name="connsiteY33" fmla="*/ 454624 h 454525"/>
                      <a:gd name="connsiteX34" fmla="*/ 505592 w 507998"/>
                      <a:gd name="connsiteY34" fmla="*/ 454624 h 454525"/>
                      <a:gd name="connsiteX35" fmla="*/ 512276 w 507998"/>
                      <a:gd name="connsiteY35" fmla="*/ 447940 h 454525"/>
                      <a:gd name="connsiteX36" fmla="*/ 505592 w 507998"/>
                      <a:gd name="connsiteY36" fmla="*/ 441256 h 454525"/>
                      <a:gd name="connsiteX37" fmla="*/ 422975 w 507998"/>
                      <a:gd name="connsiteY37" fmla="*/ 381499 h 454525"/>
                      <a:gd name="connsiteX38" fmla="*/ 403190 w 507998"/>
                      <a:gd name="connsiteY38" fmla="*/ 381499 h 454525"/>
                      <a:gd name="connsiteX39" fmla="*/ 403190 w 507998"/>
                      <a:gd name="connsiteY39" fmla="*/ 159718 h 454525"/>
                      <a:gd name="connsiteX40" fmla="*/ 422975 w 507998"/>
                      <a:gd name="connsiteY40" fmla="*/ 159718 h 454525"/>
                      <a:gd name="connsiteX41" fmla="*/ 331536 w 507998"/>
                      <a:gd name="connsiteY41" fmla="*/ 381499 h 454525"/>
                      <a:gd name="connsiteX42" fmla="*/ 331536 w 507998"/>
                      <a:gd name="connsiteY42" fmla="*/ 159718 h 454525"/>
                      <a:gd name="connsiteX43" fmla="*/ 389822 w 507998"/>
                      <a:gd name="connsiteY43" fmla="*/ 159718 h 454525"/>
                      <a:gd name="connsiteX44" fmla="*/ 389822 w 507998"/>
                      <a:gd name="connsiteY44" fmla="*/ 382034 h 454525"/>
                      <a:gd name="connsiteX45" fmla="*/ 226728 w 507998"/>
                      <a:gd name="connsiteY45" fmla="*/ 381499 h 454525"/>
                      <a:gd name="connsiteX46" fmla="*/ 226728 w 507998"/>
                      <a:gd name="connsiteY46" fmla="*/ 159718 h 454525"/>
                      <a:gd name="connsiteX47" fmla="*/ 280201 w 507998"/>
                      <a:gd name="connsiteY47" fmla="*/ 159718 h 454525"/>
                      <a:gd name="connsiteX48" fmla="*/ 280201 w 507998"/>
                      <a:gd name="connsiteY48" fmla="*/ 382034 h 454525"/>
                      <a:gd name="connsiteX49" fmla="*/ 122454 w 507998"/>
                      <a:gd name="connsiteY49" fmla="*/ 381499 h 454525"/>
                      <a:gd name="connsiteX50" fmla="*/ 122454 w 507998"/>
                      <a:gd name="connsiteY50" fmla="*/ 159718 h 454525"/>
                      <a:gd name="connsiteX51" fmla="*/ 175126 w 507998"/>
                      <a:gd name="connsiteY51" fmla="*/ 159718 h 454525"/>
                      <a:gd name="connsiteX52" fmla="*/ 175126 w 507998"/>
                      <a:gd name="connsiteY52" fmla="*/ 382034 h 454525"/>
                      <a:gd name="connsiteX53" fmla="*/ 188494 w 507998"/>
                      <a:gd name="connsiteY53" fmla="*/ 159718 h 454525"/>
                      <a:gd name="connsiteX54" fmla="*/ 213894 w 507998"/>
                      <a:gd name="connsiteY54" fmla="*/ 159718 h 454525"/>
                      <a:gd name="connsiteX55" fmla="*/ 213894 w 507998"/>
                      <a:gd name="connsiteY55" fmla="*/ 382034 h 454525"/>
                      <a:gd name="connsiteX56" fmla="*/ 188494 w 507998"/>
                      <a:gd name="connsiteY56" fmla="*/ 382034 h 454525"/>
                      <a:gd name="connsiteX57" fmla="*/ 293302 w 507998"/>
                      <a:gd name="connsiteY57" fmla="*/ 159718 h 454525"/>
                      <a:gd name="connsiteX58" fmla="*/ 318167 w 507998"/>
                      <a:gd name="connsiteY58" fmla="*/ 159718 h 454525"/>
                      <a:gd name="connsiteX59" fmla="*/ 318167 w 507998"/>
                      <a:gd name="connsiteY59" fmla="*/ 382034 h 454525"/>
                      <a:gd name="connsiteX60" fmla="*/ 293302 w 507998"/>
                      <a:gd name="connsiteY60" fmla="*/ 382034 h 454525"/>
                      <a:gd name="connsiteX61" fmla="*/ 253197 w 507998"/>
                      <a:gd name="connsiteY61" fmla="*/ 14403 h 454525"/>
                      <a:gd name="connsiteX62" fmla="*/ 259614 w 507998"/>
                      <a:gd name="connsiteY62" fmla="*/ 14403 h 454525"/>
                      <a:gd name="connsiteX63" fmla="*/ 391693 w 507998"/>
                      <a:gd name="connsiteY63" fmla="*/ 105977 h 454525"/>
                      <a:gd name="connsiteX64" fmla="*/ 120315 w 507998"/>
                      <a:gd name="connsiteY64" fmla="*/ 105977 h 454525"/>
                      <a:gd name="connsiteX65" fmla="*/ 76467 w 507998"/>
                      <a:gd name="connsiteY65" fmla="*/ 119345 h 454525"/>
                      <a:gd name="connsiteX66" fmla="*/ 435809 w 507998"/>
                      <a:gd name="connsiteY66" fmla="*/ 119345 h 454525"/>
                      <a:gd name="connsiteX67" fmla="*/ 435809 w 507998"/>
                      <a:gd name="connsiteY67" fmla="*/ 146082 h 454525"/>
                      <a:gd name="connsiteX68" fmla="*/ 76467 w 507998"/>
                      <a:gd name="connsiteY68" fmla="*/ 146082 h 454525"/>
                      <a:gd name="connsiteX69" fmla="*/ 88365 w 507998"/>
                      <a:gd name="connsiteY69" fmla="*/ 159450 h 454525"/>
                      <a:gd name="connsiteX70" fmla="*/ 109086 w 507998"/>
                      <a:gd name="connsiteY70" fmla="*/ 159450 h 454525"/>
                      <a:gd name="connsiteX71" fmla="*/ 109086 w 507998"/>
                      <a:gd name="connsiteY71" fmla="*/ 382034 h 454525"/>
                      <a:gd name="connsiteX72" fmla="*/ 88365 w 507998"/>
                      <a:gd name="connsiteY72" fmla="*/ 382034 h 454525"/>
                      <a:gd name="connsiteX73" fmla="*/ 61628 w 507998"/>
                      <a:gd name="connsiteY73" fmla="*/ 395135 h 454525"/>
                      <a:gd name="connsiteX74" fmla="*/ 450781 w 507998"/>
                      <a:gd name="connsiteY74" fmla="*/ 395135 h 454525"/>
                      <a:gd name="connsiteX75" fmla="*/ 450781 w 507998"/>
                      <a:gd name="connsiteY75" fmla="*/ 411845 h 454525"/>
                      <a:gd name="connsiteX76" fmla="*/ 61494 w 507998"/>
                      <a:gd name="connsiteY76" fmla="*/ 411845 h 454525"/>
                      <a:gd name="connsiteX77" fmla="*/ 42511 w 507998"/>
                      <a:gd name="connsiteY77" fmla="*/ 425214 h 454525"/>
                      <a:gd name="connsiteX78" fmla="*/ 470299 w 507998"/>
                      <a:gd name="connsiteY78" fmla="*/ 425214 h 454525"/>
                      <a:gd name="connsiteX79" fmla="*/ 470299 w 507998"/>
                      <a:gd name="connsiteY79" fmla="*/ 441256 h 454525"/>
                      <a:gd name="connsiteX80" fmla="*/ 42511 w 507998"/>
                      <a:gd name="connsiteY80" fmla="*/ 441256 h 4545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</a:cxnLst>
                    <a:rect l="l" t="t" r="r" b="b"/>
                    <a:pathLst>
                      <a:path w="507998" h="454525">
                        <a:moveTo>
                          <a:pt x="505592" y="441256"/>
                        </a:moveTo>
                        <a:lnTo>
                          <a:pt x="483267" y="441256"/>
                        </a:lnTo>
                        <a:lnTo>
                          <a:pt x="483267" y="421203"/>
                        </a:lnTo>
                        <a:cubicBezTo>
                          <a:pt x="483267" y="416035"/>
                          <a:pt x="479077" y="411845"/>
                          <a:pt x="473909" y="411845"/>
                        </a:cubicBezTo>
                        <a:lnTo>
                          <a:pt x="464150" y="411845"/>
                        </a:lnTo>
                        <a:lnTo>
                          <a:pt x="464150" y="391392"/>
                        </a:lnTo>
                        <a:cubicBezTo>
                          <a:pt x="464150" y="386223"/>
                          <a:pt x="459960" y="382034"/>
                          <a:pt x="454792" y="382034"/>
                        </a:cubicBezTo>
                        <a:lnTo>
                          <a:pt x="436344" y="382034"/>
                        </a:lnTo>
                        <a:lnTo>
                          <a:pt x="436344" y="159718"/>
                        </a:lnTo>
                        <a:lnTo>
                          <a:pt x="439953" y="159718"/>
                        </a:lnTo>
                        <a:cubicBezTo>
                          <a:pt x="445048" y="159718"/>
                          <a:pt x="449177" y="155588"/>
                          <a:pt x="449179" y="150495"/>
                        </a:cubicBezTo>
                        <a:cubicBezTo>
                          <a:pt x="449179" y="150449"/>
                          <a:pt x="449177" y="150405"/>
                          <a:pt x="449177" y="150360"/>
                        </a:cubicBezTo>
                        <a:lnTo>
                          <a:pt x="449177" y="115335"/>
                        </a:lnTo>
                        <a:cubicBezTo>
                          <a:pt x="449251" y="110241"/>
                          <a:pt x="445181" y="106052"/>
                          <a:pt x="440088" y="105978"/>
                        </a:cubicBezTo>
                        <a:cubicBezTo>
                          <a:pt x="440043" y="105977"/>
                          <a:pt x="439998" y="105977"/>
                          <a:pt x="439953" y="105977"/>
                        </a:cubicBezTo>
                        <a:lnTo>
                          <a:pt x="415222" y="105977"/>
                        </a:lnTo>
                        <a:lnTo>
                          <a:pt x="266298" y="2906"/>
                        </a:lnTo>
                        <a:cubicBezTo>
                          <a:pt x="259935" y="-969"/>
                          <a:pt x="251940" y="-969"/>
                          <a:pt x="245577" y="2906"/>
                        </a:cubicBezTo>
                        <a:lnTo>
                          <a:pt x="96653" y="105977"/>
                        </a:lnTo>
                        <a:lnTo>
                          <a:pt x="72457" y="105977"/>
                        </a:lnTo>
                        <a:cubicBezTo>
                          <a:pt x="67288" y="105977"/>
                          <a:pt x="63099" y="110166"/>
                          <a:pt x="63099" y="115335"/>
                        </a:cubicBezTo>
                        <a:lnTo>
                          <a:pt x="63099" y="150360"/>
                        </a:lnTo>
                        <a:cubicBezTo>
                          <a:pt x="63099" y="155528"/>
                          <a:pt x="67288" y="159718"/>
                          <a:pt x="72457" y="159718"/>
                        </a:cubicBezTo>
                        <a:lnTo>
                          <a:pt x="74997" y="159718"/>
                        </a:lnTo>
                        <a:lnTo>
                          <a:pt x="74997" y="382034"/>
                        </a:lnTo>
                        <a:lnTo>
                          <a:pt x="57484" y="382034"/>
                        </a:lnTo>
                        <a:cubicBezTo>
                          <a:pt x="52346" y="382106"/>
                          <a:pt x="48198" y="386253"/>
                          <a:pt x="48126" y="391392"/>
                        </a:cubicBezTo>
                        <a:lnTo>
                          <a:pt x="48126" y="411845"/>
                        </a:lnTo>
                        <a:lnTo>
                          <a:pt x="38501" y="411845"/>
                        </a:lnTo>
                        <a:cubicBezTo>
                          <a:pt x="33333" y="411845"/>
                          <a:pt x="29143" y="416035"/>
                          <a:pt x="29143" y="421203"/>
                        </a:cubicBezTo>
                        <a:lnTo>
                          <a:pt x="29143" y="441256"/>
                        </a:lnTo>
                        <a:lnTo>
                          <a:pt x="6684" y="441256"/>
                        </a:lnTo>
                        <a:cubicBezTo>
                          <a:pt x="2993" y="441256"/>
                          <a:pt x="0" y="444249"/>
                          <a:pt x="0" y="447940"/>
                        </a:cubicBezTo>
                        <a:cubicBezTo>
                          <a:pt x="0" y="451631"/>
                          <a:pt x="2993" y="454624"/>
                          <a:pt x="6684" y="454624"/>
                        </a:cubicBezTo>
                        <a:lnTo>
                          <a:pt x="505592" y="454624"/>
                        </a:lnTo>
                        <a:cubicBezTo>
                          <a:pt x="509283" y="454624"/>
                          <a:pt x="512276" y="451631"/>
                          <a:pt x="512276" y="447940"/>
                        </a:cubicBezTo>
                        <a:cubicBezTo>
                          <a:pt x="512276" y="444249"/>
                          <a:pt x="509283" y="441256"/>
                          <a:pt x="505592" y="441256"/>
                        </a:cubicBezTo>
                        <a:close/>
                        <a:moveTo>
                          <a:pt x="422975" y="381499"/>
                        </a:moveTo>
                        <a:lnTo>
                          <a:pt x="403190" y="381499"/>
                        </a:lnTo>
                        <a:lnTo>
                          <a:pt x="403190" y="159718"/>
                        </a:lnTo>
                        <a:lnTo>
                          <a:pt x="422975" y="159718"/>
                        </a:lnTo>
                        <a:close/>
                        <a:moveTo>
                          <a:pt x="331536" y="381499"/>
                        </a:moveTo>
                        <a:lnTo>
                          <a:pt x="331536" y="159718"/>
                        </a:lnTo>
                        <a:lnTo>
                          <a:pt x="389822" y="159718"/>
                        </a:lnTo>
                        <a:lnTo>
                          <a:pt x="389822" y="382034"/>
                        </a:lnTo>
                        <a:close/>
                        <a:moveTo>
                          <a:pt x="226728" y="381499"/>
                        </a:moveTo>
                        <a:lnTo>
                          <a:pt x="226728" y="159718"/>
                        </a:lnTo>
                        <a:lnTo>
                          <a:pt x="280201" y="159718"/>
                        </a:lnTo>
                        <a:lnTo>
                          <a:pt x="280201" y="382034"/>
                        </a:lnTo>
                        <a:close/>
                        <a:moveTo>
                          <a:pt x="122454" y="381499"/>
                        </a:moveTo>
                        <a:lnTo>
                          <a:pt x="122454" y="159718"/>
                        </a:lnTo>
                        <a:lnTo>
                          <a:pt x="175126" y="159718"/>
                        </a:lnTo>
                        <a:lnTo>
                          <a:pt x="175126" y="382034"/>
                        </a:lnTo>
                        <a:close/>
                        <a:moveTo>
                          <a:pt x="188494" y="159718"/>
                        </a:moveTo>
                        <a:lnTo>
                          <a:pt x="213894" y="159718"/>
                        </a:lnTo>
                        <a:lnTo>
                          <a:pt x="213894" y="382034"/>
                        </a:lnTo>
                        <a:lnTo>
                          <a:pt x="188494" y="382034"/>
                        </a:lnTo>
                        <a:close/>
                        <a:moveTo>
                          <a:pt x="293302" y="159718"/>
                        </a:moveTo>
                        <a:lnTo>
                          <a:pt x="318167" y="159718"/>
                        </a:lnTo>
                        <a:lnTo>
                          <a:pt x="318167" y="382034"/>
                        </a:lnTo>
                        <a:lnTo>
                          <a:pt x="293302" y="382034"/>
                        </a:lnTo>
                        <a:close/>
                        <a:moveTo>
                          <a:pt x="253197" y="14403"/>
                        </a:moveTo>
                        <a:cubicBezTo>
                          <a:pt x="255166" y="13199"/>
                          <a:pt x="257645" y="13199"/>
                          <a:pt x="259614" y="14403"/>
                        </a:cubicBezTo>
                        <a:lnTo>
                          <a:pt x="391693" y="105977"/>
                        </a:lnTo>
                        <a:lnTo>
                          <a:pt x="120315" y="105977"/>
                        </a:lnTo>
                        <a:close/>
                        <a:moveTo>
                          <a:pt x="76467" y="119345"/>
                        </a:moveTo>
                        <a:lnTo>
                          <a:pt x="435809" y="119345"/>
                        </a:lnTo>
                        <a:lnTo>
                          <a:pt x="435809" y="146082"/>
                        </a:lnTo>
                        <a:lnTo>
                          <a:pt x="76467" y="146082"/>
                        </a:lnTo>
                        <a:close/>
                        <a:moveTo>
                          <a:pt x="88365" y="159450"/>
                        </a:moveTo>
                        <a:lnTo>
                          <a:pt x="109086" y="159450"/>
                        </a:lnTo>
                        <a:lnTo>
                          <a:pt x="109086" y="382034"/>
                        </a:lnTo>
                        <a:lnTo>
                          <a:pt x="88365" y="382034"/>
                        </a:lnTo>
                        <a:close/>
                        <a:moveTo>
                          <a:pt x="61628" y="395135"/>
                        </a:moveTo>
                        <a:lnTo>
                          <a:pt x="450781" y="395135"/>
                        </a:lnTo>
                        <a:lnTo>
                          <a:pt x="450781" y="411845"/>
                        </a:lnTo>
                        <a:lnTo>
                          <a:pt x="61494" y="411845"/>
                        </a:lnTo>
                        <a:close/>
                        <a:moveTo>
                          <a:pt x="42511" y="425214"/>
                        </a:moveTo>
                        <a:lnTo>
                          <a:pt x="470299" y="425214"/>
                        </a:lnTo>
                        <a:lnTo>
                          <a:pt x="470299" y="441256"/>
                        </a:lnTo>
                        <a:lnTo>
                          <a:pt x="42511" y="441256"/>
                        </a:lnTo>
                        <a:close/>
                      </a:path>
                    </a:pathLst>
                  </a:custGeom>
                  <a:grpFill/>
                  <a:ln w="132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188" name="Group 187">
                <a:extLst>
                  <a:ext uri="{FF2B5EF4-FFF2-40B4-BE49-F238E27FC236}">
                    <a16:creationId xmlns:a16="http://schemas.microsoft.com/office/drawing/2014/main" id="{A50CCCDB-13D8-A56B-E331-2FD367B4A2E1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4190589" y="1442056"/>
                <a:ext cx="1022265" cy="1022265"/>
                <a:chOff x="7680176" y="1733455"/>
                <a:chExt cx="720080" cy="720080"/>
              </a:xfrm>
            </p:grpSpPr>
            <p:sp>
              <p:nvSpPr>
                <p:cNvPr id="212" name="Oval 211">
                  <a:extLst>
                    <a:ext uri="{FF2B5EF4-FFF2-40B4-BE49-F238E27FC236}">
                      <a16:creationId xmlns:a16="http://schemas.microsoft.com/office/drawing/2014/main" id="{55C05DF2-4164-D657-9B44-6E8FD256CF8D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680176" y="1733455"/>
                  <a:ext cx="720080" cy="720080"/>
                </a:xfrm>
                <a:prstGeom prst="ellipse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600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Ubuntu"/>
                    <a:ea typeface="+mn-ea"/>
                    <a:cs typeface="+mn-cs"/>
                  </a:endParaRPr>
                </a:p>
              </p:txBody>
            </p:sp>
            <p:sp>
              <p:nvSpPr>
                <p:cNvPr id="213" name="Graphic 2">
                  <a:extLst>
                    <a:ext uri="{FF2B5EF4-FFF2-40B4-BE49-F238E27FC236}">
                      <a16:creationId xmlns:a16="http://schemas.microsoft.com/office/drawing/2014/main" id="{0C95B25B-588E-B7BA-BDFD-E8428CDD9805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791545" y="1844824"/>
                  <a:ext cx="497342" cy="497342"/>
                </a:xfrm>
                <a:custGeom>
                  <a:avLst/>
                  <a:gdLst>
                    <a:gd name="connsiteX0" fmla="*/ 228614 w 449554"/>
                    <a:gd name="connsiteY0" fmla="*/ 41 h 449554"/>
                    <a:gd name="connsiteX1" fmla="*/ 65140 w 449554"/>
                    <a:gd name="connsiteY1" fmla="*/ 65840 h 449554"/>
                    <a:gd name="connsiteX2" fmla="*/ 51517 w 449554"/>
                    <a:gd name="connsiteY2" fmla="*/ 80688 h 449554"/>
                    <a:gd name="connsiteX3" fmla="*/ 51517 w 449554"/>
                    <a:gd name="connsiteY3" fmla="*/ 80688 h 449554"/>
                    <a:gd name="connsiteX4" fmla="*/ 51517 w 449554"/>
                    <a:gd name="connsiteY4" fmla="*/ 82323 h 449554"/>
                    <a:gd name="connsiteX5" fmla="*/ 23 w 449554"/>
                    <a:gd name="connsiteY5" fmla="*/ 228633 h 449554"/>
                    <a:gd name="connsiteX6" fmla="*/ 233791 w 449554"/>
                    <a:gd name="connsiteY6" fmla="*/ 462401 h 449554"/>
                    <a:gd name="connsiteX7" fmla="*/ 236652 w 449554"/>
                    <a:gd name="connsiteY7" fmla="*/ 462401 h 449554"/>
                    <a:gd name="connsiteX8" fmla="*/ 462413 w 449554"/>
                    <a:gd name="connsiteY8" fmla="*/ 238611 h 449554"/>
                    <a:gd name="connsiteX9" fmla="*/ 462383 w 449554"/>
                    <a:gd name="connsiteY9" fmla="*/ 233809 h 449554"/>
                    <a:gd name="connsiteX10" fmla="*/ 228614 w 449554"/>
                    <a:gd name="connsiteY10" fmla="*/ 41 h 449554"/>
                    <a:gd name="connsiteX11" fmla="*/ 353264 w 449554"/>
                    <a:gd name="connsiteY11" fmla="*/ 221685 h 449554"/>
                    <a:gd name="connsiteX12" fmla="*/ 334328 w 449554"/>
                    <a:gd name="connsiteY12" fmla="*/ 112702 h 449554"/>
                    <a:gd name="connsiteX13" fmla="*/ 395903 w 449554"/>
                    <a:gd name="connsiteY13" fmla="*/ 94175 h 449554"/>
                    <a:gd name="connsiteX14" fmla="*/ 448079 w 449554"/>
                    <a:gd name="connsiteY14" fmla="*/ 222366 h 449554"/>
                    <a:gd name="connsiteX15" fmla="*/ 235426 w 449554"/>
                    <a:gd name="connsiteY15" fmla="*/ 16525 h 449554"/>
                    <a:gd name="connsiteX16" fmla="*/ 317163 w 449554"/>
                    <a:gd name="connsiteY16" fmla="*/ 101940 h 449554"/>
                    <a:gd name="connsiteX17" fmla="*/ 237061 w 449554"/>
                    <a:gd name="connsiteY17" fmla="*/ 110795 h 449554"/>
                    <a:gd name="connsiteX18" fmla="*/ 222893 w 449554"/>
                    <a:gd name="connsiteY18" fmla="*/ 110931 h 449554"/>
                    <a:gd name="connsiteX19" fmla="*/ 219760 w 449554"/>
                    <a:gd name="connsiteY19" fmla="*/ 110931 h 449554"/>
                    <a:gd name="connsiteX20" fmla="*/ 140611 w 449554"/>
                    <a:gd name="connsiteY20" fmla="*/ 104120 h 449554"/>
                    <a:gd name="connsiteX21" fmla="*/ 179572 w 449554"/>
                    <a:gd name="connsiteY21" fmla="*/ 38730 h 449554"/>
                    <a:gd name="connsiteX22" fmla="*/ 221803 w 449554"/>
                    <a:gd name="connsiteY22" fmla="*/ 16525 h 449554"/>
                    <a:gd name="connsiteX23" fmla="*/ 219623 w 449554"/>
                    <a:gd name="connsiteY23" fmla="*/ 124554 h 449554"/>
                    <a:gd name="connsiteX24" fmla="*/ 223165 w 449554"/>
                    <a:gd name="connsiteY24" fmla="*/ 124554 h 449554"/>
                    <a:gd name="connsiteX25" fmla="*/ 224255 w 449554"/>
                    <a:gd name="connsiteY25" fmla="*/ 221685 h 449554"/>
                    <a:gd name="connsiteX26" fmla="*/ 120313 w 449554"/>
                    <a:gd name="connsiteY26" fmla="*/ 221685 h 449554"/>
                    <a:gd name="connsiteX27" fmla="*/ 136251 w 449554"/>
                    <a:gd name="connsiteY27" fmla="*/ 117198 h 449554"/>
                    <a:gd name="connsiteX28" fmla="*/ 219623 w 449554"/>
                    <a:gd name="connsiteY28" fmla="*/ 124554 h 449554"/>
                    <a:gd name="connsiteX29" fmla="*/ 106690 w 449554"/>
                    <a:gd name="connsiteY29" fmla="*/ 221685 h 449554"/>
                    <a:gd name="connsiteX30" fmla="*/ 13646 w 449554"/>
                    <a:gd name="connsiteY30" fmla="*/ 221685 h 449554"/>
                    <a:gd name="connsiteX31" fmla="*/ 57103 w 449554"/>
                    <a:gd name="connsiteY31" fmla="*/ 96900 h 449554"/>
                    <a:gd name="connsiteX32" fmla="*/ 122629 w 449554"/>
                    <a:gd name="connsiteY32" fmla="*/ 114746 h 449554"/>
                    <a:gd name="connsiteX33" fmla="*/ 106690 w 449554"/>
                    <a:gd name="connsiteY33" fmla="*/ 221685 h 449554"/>
                    <a:gd name="connsiteX34" fmla="*/ 106690 w 449554"/>
                    <a:gd name="connsiteY34" fmla="*/ 235308 h 449554"/>
                    <a:gd name="connsiteX35" fmla="*/ 126034 w 449554"/>
                    <a:gd name="connsiteY35" fmla="*/ 352737 h 449554"/>
                    <a:gd name="connsiteX36" fmla="*/ 64732 w 449554"/>
                    <a:gd name="connsiteY36" fmla="*/ 367041 h 449554"/>
                    <a:gd name="connsiteX37" fmla="*/ 13646 w 449554"/>
                    <a:gd name="connsiteY37" fmla="*/ 235308 h 449554"/>
                    <a:gd name="connsiteX38" fmla="*/ 120313 w 449554"/>
                    <a:gd name="connsiteY38" fmla="*/ 235308 h 449554"/>
                    <a:gd name="connsiteX39" fmla="*/ 224391 w 449554"/>
                    <a:gd name="connsiteY39" fmla="*/ 235308 h 449554"/>
                    <a:gd name="connsiteX40" fmla="*/ 225754 w 449554"/>
                    <a:gd name="connsiteY40" fmla="*/ 345789 h 449554"/>
                    <a:gd name="connsiteX41" fmla="*/ 220849 w 449554"/>
                    <a:gd name="connsiteY41" fmla="*/ 345789 h 449554"/>
                    <a:gd name="connsiteX42" fmla="*/ 139112 w 449554"/>
                    <a:gd name="connsiteY42" fmla="*/ 350830 h 449554"/>
                    <a:gd name="connsiteX43" fmla="*/ 120313 w 449554"/>
                    <a:gd name="connsiteY43" fmla="*/ 235308 h 449554"/>
                    <a:gd name="connsiteX44" fmla="*/ 220713 w 449554"/>
                    <a:gd name="connsiteY44" fmla="*/ 359276 h 449554"/>
                    <a:gd name="connsiteX45" fmla="*/ 225890 w 449554"/>
                    <a:gd name="connsiteY45" fmla="*/ 359276 h 449554"/>
                    <a:gd name="connsiteX46" fmla="*/ 226980 w 449554"/>
                    <a:gd name="connsiteY46" fmla="*/ 447824 h 449554"/>
                    <a:gd name="connsiteX47" fmla="*/ 144153 w 449554"/>
                    <a:gd name="connsiteY47" fmla="*/ 363771 h 449554"/>
                    <a:gd name="connsiteX48" fmla="*/ 220713 w 449554"/>
                    <a:gd name="connsiteY48" fmla="*/ 359276 h 449554"/>
                    <a:gd name="connsiteX49" fmla="*/ 280518 w 449554"/>
                    <a:gd name="connsiteY49" fmla="*/ 425347 h 449554"/>
                    <a:gd name="connsiteX50" fmla="*/ 240603 w 449554"/>
                    <a:gd name="connsiteY50" fmla="*/ 447416 h 449554"/>
                    <a:gd name="connsiteX51" fmla="*/ 239513 w 449554"/>
                    <a:gd name="connsiteY51" fmla="*/ 359821 h 449554"/>
                    <a:gd name="connsiteX52" fmla="*/ 315664 w 449554"/>
                    <a:gd name="connsiteY52" fmla="*/ 370038 h 449554"/>
                    <a:gd name="connsiteX53" fmla="*/ 280518 w 449554"/>
                    <a:gd name="connsiteY53" fmla="*/ 425347 h 449554"/>
                    <a:gd name="connsiteX54" fmla="*/ 329015 w 449554"/>
                    <a:gd name="connsiteY54" fmla="*/ 372899 h 449554"/>
                    <a:gd name="connsiteX55" fmla="*/ 383506 w 449554"/>
                    <a:gd name="connsiteY55" fmla="*/ 389655 h 449554"/>
                    <a:gd name="connsiteX56" fmla="*/ 278747 w 449554"/>
                    <a:gd name="connsiteY56" fmla="*/ 444146 h 449554"/>
                    <a:gd name="connsiteX57" fmla="*/ 289645 w 449554"/>
                    <a:gd name="connsiteY57" fmla="*/ 434746 h 449554"/>
                    <a:gd name="connsiteX58" fmla="*/ 329015 w 449554"/>
                    <a:gd name="connsiteY58" fmla="*/ 372899 h 449554"/>
                    <a:gd name="connsiteX59" fmla="*/ 239376 w 449554"/>
                    <a:gd name="connsiteY59" fmla="*/ 345653 h 449554"/>
                    <a:gd name="connsiteX60" fmla="*/ 238014 w 449554"/>
                    <a:gd name="connsiteY60" fmla="*/ 234763 h 449554"/>
                    <a:gd name="connsiteX61" fmla="*/ 340594 w 449554"/>
                    <a:gd name="connsiteY61" fmla="*/ 234763 h 449554"/>
                    <a:gd name="connsiteX62" fmla="*/ 321250 w 449554"/>
                    <a:gd name="connsiteY62" fmla="*/ 357369 h 449554"/>
                    <a:gd name="connsiteX63" fmla="*/ 239376 w 449554"/>
                    <a:gd name="connsiteY63" fmla="*/ 346198 h 449554"/>
                    <a:gd name="connsiteX64" fmla="*/ 237878 w 449554"/>
                    <a:gd name="connsiteY64" fmla="*/ 221140 h 449554"/>
                    <a:gd name="connsiteX65" fmla="*/ 236788 w 449554"/>
                    <a:gd name="connsiteY65" fmla="*/ 123737 h 449554"/>
                    <a:gd name="connsiteX66" fmla="*/ 321386 w 449554"/>
                    <a:gd name="connsiteY66" fmla="*/ 114337 h 449554"/>
                    <a:gd name="connsiteX67" fmla="*/ 339641 w 449554"/>
                    <a:gd name="connsiteY67" fmla="*/ 221140 h 449554"/>
                    <a:gd name="connsiteX68" fmla="*/ 385958 w 449554"/>
                    <a:gd name="connsiteY68" fmla="*/ 82596 h 449554"/>
                    <a:gd name="connsiteX69" fmla="*/ 329696 w 449554"/>
                    <a:gd name="connsiteY69" fmla="*/ 99216 h 449554"/>
                    <a:gd name="connsiteX70" fmla="*/ 275205 w 449554"/>
                    <a:gd name="connsiteY70" fmla="*/ 19386 h 449554"/>
                    <a:gd name="connsiteX71" fmla="*/ 385958 w 449554"/>
                    <a:gd name="connsiteY71" fmla="*/ 82596 h 449554"/>
                    <a:gd name="connsiteX72" fmla="*/ 75494 w 449554"/>
                    <a:gd name="connsiteY72" fmla="*/ 75512 h 449554"/>
                    <a:gd name="connsiteX73" fmla="*/ 183114 w 449554"/>
                    <a:gd name="connsiteY73" fmla="*/ 17887 h 449554"/>
                    <a:gd name="connsiteX74" fmla="*/ 169491 w 449554"/>
                    <a:gd name="connsiteY74" fmla="*/ 29058 h 449554"/>
                    <a:gd name="connsiteX75" fmla="*/ 127124 w 449554"/>
                    <a:gd name="connsiteY75" fmla="*/ 101668 h 449554"/>
                    <a:gd name="connsiteX76" fmla="*/ 66230 w 449554"/>
                    <a:gd name="connsiteY76" fmla="*/ 85729 h 449554"/>
                    <a:gd name="connsiteX77" fmla="*/ 75494 w 449554"/>
                    <a:gd name="connsiteY77" fmla="*/ 75512 h 449554"/>
                    <a:gd name="connsiteX78" fmla="*/ 75494 w 449554"/>
                    <a:gd name="connsiteY78" fmla="*/ 378212 h 449554"/>
                    <a:gd name="connsiteX79" fmla="*/ 131483 w 449554"/>
                    <a:gd name="connsiteY79" fmla="*/ 365679 h 449554"/>
                    <a:gd name="connsiteX80" fmla="*/ 181343 w 449554"/>
                    <a:gd name="connsiteY80" fmla="*/ 441285 h 449554"/>
                    <a:gd name="connsiteX81" fmla="*/ 74812 w 449554"/>
                    <a:gd name="connsiteY81" fmla="*/ 378212 h 449554"/>
                    <a:gd name="connsiteX82" fmla="*/ 394405 w 449554"/>
                    <a:gd name="connsiteY82" fmla="*/ 379574 h 449554"/>
                    <a:gd name="connsiteX83" fmla="*/ 394405 w 449554"/>
                    <a:gd name="connsiteY83" fmla="*/ 378756 h 449554"/>
                    <a:gd name="connsiteX84" fmla="*/ 334192 w 449554"/>
                    <a:gd name="connsiteY84" fmla="*/ 360093 h 449554"/>
                    <a:gd name="connsiteX85" fmla="*/ 354217 w 449554"/>
                    <a:gd name="connsiteY85" fmla="*/ 235308 h 449554"/>
                    <a:gd name="connsiteX86" fmla="*/ 449577 w 449554"/>
                    <a:gd name="connsiteY86" fmla="*/ 235308 h 449554"/>
                    <a:gd name="connsiteX87" fmla="*/ 393723 w 449554"/>
                    <a:gd name="connsiteY87" fmla="*/ 379574 h 4495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</a:cxnLst>
                  <a:rect l="l" t="t" r="r" b="b"/>
                  <a:pathLst>
                    <a:path w="449554" h="449554">
                      <a:moveTo>
                        <a:pt x="228614" y="41"/>
                      </a:moveTo>
                      <a:cubicBezTo>
                        <a:pt x="167451" y="-1127"/>
                        <a:pt x="108440" y="22624"/>
                        <a:pt x="65140" y="65840"/>
                      </a:cubicBezTo>
                      <a:cubicBezTo>
                        <a:pt x="60372" y="70608"/>
                        <a:pt x="56013" y="75648"/>
                        <a:pt x="51517" y="80688"/>
                      </a:cubicBezTo>
                      <a:lnTo>
                        <a:pt x="51517" y="80688"/>
                      </a:lnTo>
                      <a:lnTo>
                        <a:pt x="51517" y="82323"/>
                      </a:lnTo>
                      <a:cubicBezTo>
                        <a:pt x="17516" y="123426"/>
                        <a:pt x="-740" y="175294"/>
                        <a:pt x="23" y="228633"/>
                      </a:cubicBezTo>
                      <a:cubicBezTo>
                        <a:pt x="2278" y="356794"/>
                        <a:pt x="105630" y="460146"/>
                        <a:pt x="233791" y="462401"/>
                      </a:cubicBezTo>
                      <a:lnTo>
                        <a:pt x="236652" y="462401"/>
                      </a:lnTo>
                      <a:cubicBezTo>
                        <a:pt x="360792" y="462946"/>
                        <a:pt x="461868" y="362751"/>
                        <a:pt x="462413" y="238611"/>
                      </a:cubicBezTo>
                      <a:cubicBezTo>
                        <a:pt x="462419" y="237011"/>
                        <a:pt x="462410" y="235410"/>
                        <a:pt x="462383" y="233809"/>
                      </a:cubicBezTo>
                      <a:cubicBezTo>
                        <a:pt x="460128" y="105648"/>
                        <a:pt x="356776" y="2296"/>
                        <a:pt x="228614" y="41"/>
                      </a:cubicBezTo>
                      <a:close/>
                      <a:moveTo>
                        <a:pt x="353264" y="221685"/>
                      </a:moveTo>
                      <a:cubicBezTo>
                        <a:pt x="352210" y="184638"/>
                        <a:pt x="345832" y="147934"/>
                        <a:pt x="334328" y="112702"/>
                      </a:cubicBezTo>
                      <a:cubicBezTo>
                        <a:pt x="355270" y="108009"/>
                        <a:pt x="375849" y="101817"/>
                        <a:pt x="395903" y="94175"/>
                      </a:cubicBezTo>
                      <a:cubicBezTo>
                        <a:pt x="426499" y="130261"/>
                        <a:pt x="444778" y="175171"/>
                        <a:pt x="448079" y="222366"/>
                      </a:cubicBezTo>
                      <a:close/>
                      <a:moveTo>
                        <a:pt x="235426" y="16525"/>
                      </a:moveTo>
                      <a:cubicBezTo>
                        <a:pt x="268393" y="20612"/>
                        <a:pt x="297546" y="53170"/>
                        <a:pt x="317163" y="101940"/>
                      </a:cubicBezTo>
                      <a:cubicBezTo>
                        <a:pt x="290756" y="107122"/>
                        <a:pt x="263962" y="110084"/>
                        <a:pt x="237061" y="110795"/>
                      </a:cubicBezTo>
                      <a:close/>
                      <a:moveTo>
                        <a:pt x="222893" y="110931"/>
                      </a:moveTo>
                      <a:lnTo>
                        <a:pt x="219760" y="110931"/>
                      </a:lnTo>
                      <a:cubicBezTo>
                        <a:pt x="193244" y="110621"/>
                        <a:pt x="166788" y="108345"/>
                        <a:pt x="140611" y="104120"/>
                      </a:cubicBezTo>
                      <a:cubicBezTo>
                        <a:pt x="148813" y="79807"/>
                        <a:pt x="162095" y="57517"/>
                        <a:pt x="179572" y="38730"/>
                      </a:cubicBezTo>
                      <a:cubicBezTo>
                        <a:pt x="190650" y="26659"/>
                        <a:pt x="205578" y="18810"/>
                        <a:pt x="221803" y="16525"/>
                      </a:cubicBezTo>
                      <a:close/>
                      <a:moveTo>
                        <a:pt x="219623" y="124554"/>
                      </a:moveTo>
                      <a:lnTo>
                        <a:pt x="223165" y="124554"/>
                      </a:lnTo>
                      <a:lnTo>
                        <a:pt x="224255" y="221685"/>
                      </a:lnTo>
                      <a:lnTo>
                        <a:pt x="120313" y="221685"/>
                      </a:lnTo>
                      <a:cubicBezTo>
                        <a:pt x="120626" y="186275"/>
                        <a:pt x="125993" y="151091"/>
                        <a:pt x="136251" y="117198"/>
                      </a:cubicBezTo>
                      <a:cubicBezTo>
                        <a:pt x="163809" y="121806"/>
                        <a:pt x="191684" y="124266"/>
                        <a:pt x="219623" y="124554"/>
                      </a:cubicBezTo>
                      <a:close/>
                      <a:moveTo>
                        <a:pt x="106690" y="221685"/>
                      </a:moveTo>
                      <a:lnTo>
                        <a:pt x="13646" y="221685"/>
                      </a:lnTo>
                      <a:cubicBezTo>
                        <a:pt x="14302" y="176493"/>
                        <a:pt x="29545" y="132723"/>
                        <a:pt x="57103" y="96900"/>
                      </a:cubicBezTo>
                      <a:cubicBezTo>
                        <a:pt x="78474" y="104459"/>
                        <a:pt x="100376" y="110424"/>
                        <a:pt x="122629" y="114746"/>
                      </a:cubicBezTo>
                      <a:cubicBezTo>
                        <a:pt x="112265" y="149454"/>
                        <a:pt x="106898" y="185463"/>
                        <a:pt x="106690" y="221685"/>
                      </a:cubicBezTo>
                      <a:close/>
                      <a:moveTo>
                        <a:pt x="106690" y="235308"/>
                      </a:moveTo>
                      <a:cubicBezTo>
                        <a:pt x="107017" y="275216"/>
                        <a:pt x="113543" y="314833"/>
                        <a:pt x="126034" y="352737"/>
                      </a:cubicBezTo>
                      <a:cubicBezTo>
                        <a:pt x="105277" y="355995"/>
                        <a:pt x="84787" y="360776"/>
                        <a:pt x="64732" y="367041"/>
                      </a:cubicBezTo>
                      <a:cubicBezTo>
                        <a:pt x="33858" y="329838"/>
                        <a:pt x="15927" y="283599"/>
                        <a:pt x="13646" y="235308"/>
                      </a:cubicBezTo>
                      <a:close/>
                      <a:moveTo>
                        <a:pt x="120313" y="235308"/>
                      </a:moveTo>
                      <a:lnTo>
                        <a:pt x="224391" y="235308"/>
                      </a:lnTo>
                      <a:lnTo>
                        <a:pt x="225754" y="345789"/>
                      </a:lnTo>
                      <a:lnTo>
                        <a:pt x="220849" y="345789"/>
                      </a:lnTo>
                      <a:cubicBezTo>
                        <a:pt x="193515" y="345389"/>
                        <a:pt x="166190" y="347074"/>
                        <a:pt x="139112" y="350830"/>
                      </a:cubicBezTo>
                      <a:cubicBezTo>
                        <a:pt x="126940" y="313519"/>
                        <a:pt x="120599" y="274553"/>
                        <a:pt x="120313" y="235308"/>
                      </a:cubicBezTo>
                      <a:close/>
                      <a:moveTo>
                        <a:pt x="220713" y="359276"/>
                      </a:moveTo>
                      <a:lnTo>
                        <a:pt x="225890" y="359276"/>
                      </a:lnTo>
                      <a:lnTo>
                        <a:pt x="226980" y="447824"/>
                      </a:lnTo>
                      <a:cubicBezTo>
                        <a:pt x="193467" y="445100"/>
                        <a:pt x="163497" y="412814"/>
                        <a:pt x="144153" y="363771"/>
                      </a:cubicBezTo>
                      <a:cubicBezTo>
                        <a:pt x="169528" y="360402"/>
                        <a:pt x="195117" y="358900"/>
                        <a:pt x="220713" y="359276"/>
                      </a:cubicBezTo>
                      <a:close/>
                      <a:moveTo>
                        <a:pt x="280518" y="425347"/>
                      </a:moveTo>
                      <a:cubicBezTo>
                        <a:pt x="269898" y="436761"/>
                        <a:pt x="255916" y="444492"/>
                        <a:pt x="240603" y="447416"/>
                      </a:cubicBezTo>
                      <a:lnTo>
                        <a:pt x="239513" y="359821"/>
                      </a:lnTo>
                      <a:cubicBezTo>
                        <a:pt x="265120" y="361281"/>
                        <a:pt x="290578" y="364696"/>
                        <a:pt x="315664" y="370038"/>
                      </a:cubicBezTo>
                      <a:cubicBezTo>
                        <a:pt x="307646" y="390578"/>
                        <a:pt x="295710" y="409364"/>
                        <a:pt x="280518" y="425347"/>
                      </a:cubicBezTo>
                      <a:close/>
                      <a:moveTo>
                        <a:pt x="329015" y="372899"/>
                      </a:moveTo>
                      <a:cubicBezTo>
                        <a:pt x="347492" y="377413"/>
                        <a:pt x="365686" y="383008"/>
                        <a:pt x="383506" y="389655"/>
                      </a:cubicBezTo>
                      <a:cubicBezTo>
                        <a:pt x="354524" y="417474"/>
                        <a:pt x="318163" y="436388"/>
                        <a:pt x="278747" y="444146"/>
                      </a:cubicBezTo>
                      <a:cubicBezTo>
                        <a:pt x="282573" y="441245"/>
                        <a:pt x="286213" y="438106"/>
                        <a:pt x="289645" y="434746"/>
                      </a:cubicBezTo>
                      <a:cubicBezTo>
                        <a:pt x="306706" y="416918"/>
                        <a:pt x="320084" y="395902"/>
                        <a:pt x="329015" y="372899"/>
                      </a:cubicBezTo>
                      <a:close/>
                      <a:moveTo>
                        <a:pt x="239376" y="345653"/>
                      </a:moveTo>
                      <a:lnTo>
                        <a:pt x="238014" y="234763"/>
                      </a:lnTo>
                      <a:lnTo>
                        <a:pt x="340594" y="234763"/>
                      </a:lnTo>
                      <a:cubicBezTo>
                        <a:pt x="341064" y="276427"/>
                        <a:pt x="334525" y="317873"/>
                        <a:pt x="321250" y="357369"/>
                      </a:cubicBezTo>
                      <a:cubicBezTo>
                        <a:pt x="294301" y="351466"/>
                        <a:pt x="266922" y="347730"/>
                        <a:pt x="239376" y="346198"/>
                      </a:cubicBezTo>
                      <a:close/>
                      <a:moveTo>
                        <a:pt x="237878" y="221140"/>
                      </a:moveTo>
                      <a:lnTo>
                        <a:pt x="236788" y="123737"/>
                      </a:lnTo>
                      <a:cubicBezTo>
                        <a:pt x="265205" y="123047"/>
                        <a:pt x="293510" y="119902"/>
                        <a:pt x="321386" y="114337"/>
                      </a:cubicBezTo>
                      <a:cubicBezTo>
                        <a:pt x="332628" y="148863"/>
                        <a:pt x="338777" y="184841"/>
                        <a:pt x="339641" y="221140"/>
                      </a:cubicBezTo>
                      <a:close/>
                      <a:moveTo>
                        <a:pt x="385958" y="82596"/>
                      </a:moveTo>
                      <a:cubicBezTo>
                        <a:pt x="367595" y="89380"/>
                        <a:pt x="348798" y="94932"/>
                        <a:pt x="329696" y="99216"/>
                      </a:cubicBezTo>
                      <a:cubicBezTo>
                        <a:pt x="319010" y="68205"/>
                        <a:pt x="300192" y="40634"/>
                        <a:pt x="275205" y="19386"/>
                      </a:cubicBezTo>
                      <a:cubicBezTo>
                        <a:pt x="317468" y="29278"/>
                        <a:pt x="355946" y="51238"/>
                        <a:pt x="385958" y="82596"/>
                      </a:cubicBezTo>
                      <a:close/>
                      <a:moveTo>
                        <a:pt x="75494" y="75512"/>
                      </a:moveTo>
                      <a:cubicBezTo>
                        <a:pt x="104812" y="45993"/>
                        <a:pt x="142293" y="25924"/>
                        <a:pt x="183114" y="17887"/>
                      </a:cubicBezTo>
                      <a:cubicBezTo>
                        <a:pt x="178279" y="21237"/>
                        <a:pt x="173724" y="24973"/>
                        <a:pt x="169491" y="29058"/>
                      </a:cubicBezTo>
                      <a:cubicBezTo>
                        <a:pt x="150256" y="49892"/>
                        <a:pt x="135798" y="74671"/>
                        <a:pt x="127124" y="101668"/>
                      </a:cubicBezTo>
                      <a:cubicBezTo>
                        <a:pt x="106470" y="97824"/>
                        <a:pt x="86119" y="92497"/>
                        <a:pt x="66230" y="85729"/>
                      </a:cubicBezTo>
                      <a:cubicBezTo>
                        <a:pt x="69227" y="81778"/>
                        <a:pt x="72224" y="78781"/>
                        <a:pt x="75494" y="75512"/>
                      </a:cubicBezTo>
                      <a:close/>
                      <a:moveTo>
                        <a:pt x="75494" y="378212"/>
                      </a:moveTo>
                      <a:cubicBezTo>
                        <a:pt x="93866" y="372826"/>
                        <a:pt x="112568" y="368639"/>
                        <a:pt x="131483" y="365679"/>
                      </a:cubicBezTo>
                      <a:cubicBezTo>
                        <a:pt x="141724" y="394552"/>
                        <a:pt x="158835" y="420501"/>
                        <a:pt x="181343" y="441285"/>
                      </a:cubicBezTo>
                      <a:cubicBezTo>
                        <a:pt x="140637" y="430627"/>
                        <a:pt x="103732" y="408776"/>
                        <a:pt x="74812" y="378212"/>
                      </a:cubicBezTo>
                      <a:close/>
                      <a:moveTo>
                        <a:pt x="394405" y="379574"/>
                      </a:moveTo>
                      <a:lnTo>
                        <a:pt x="394405" y="378756"/>
                      </a:lnTo>
                      <a:cubicBezTo>
                        <a:pt x="374747" y="371273"/>
                        <a:pt x="354635" y="365040"/>
                        <a:pt x="334192" y="360093"/>
                      </a:cubicBezTo>
                      <a:cubicBezTo>
                        <a:pt x="347730" y="319893"/>
                        <a:pt x="354496" y="277725"/>
                        <a:pt x="354217" y="235308"/>
                      </a:cubicBezTo>
                      <a:lnTo>
                        <a:pt x="449577" y="235308"/>
                      </a:lnTo>
                      <a:cubicBezTo>
                        <a:pt x="449893" y="288733"/>
                        <a:pt x="429933" y="340290"/>
                        <a:pt x="393723" y="379574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1344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Ubuntu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89" name="Group 188">
                <a:extLst>
                  <a:ext uri="{FF2B5EF4-FFF2-40B4-BE49-F238E27FC236}">
                    <a16:creationId xmlns:a16="http://schemas.microsoft.com/office/drawing/2014/main" id="{12BD2D2B-9FE4-2745-320C-DD8E09A54920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6010008" y="1465662"/>
                <a:ext cx="811405" cy="811405"/>
                <a:chOff x="9840416" y="2957992"/>
                <a:chExt cx="942015" cy="942015"/>
              </a:xfrm>
            </p:grpSpPr>
            <p:sp>
              <p:nvSpPr>
                <p:cNvPr id="210" name="Oval 209">
                  <a:extLst>
                    <a:ext uri="{FF2B5EF4-FFF2-40B4-BE49-F238E27FC236}">
                      <a16:creationId xmlns:a16="http://schemas.microsoft.com/office/drawing/2014/main" id="{47915DE9-C849-91C1-99DD-CB97AE7435BA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9840416" y="2957992"/>
                  <a:ext cx="942015" cy="942015"/>
                </a:xfrm>
                <a:prstGeom prst="ellipse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600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Ubuntu"/>
                    <a:ea typeface="+mn-ea"/>
                    <a:cs typeface="+mn-cs"/>
                  </a:endParaRPr>
                </a:p>
              </p:txBody>
            </p:sp>
            <p:sp>
              <p:nvSpPr>
                <p:cNvPr id="211" name="Graphic 2">
                  <a:extLst>
                    <a:ext uri="{FF2B5EF4-FFF2-40B4-BE49-F238E27FC236}">
                      <a16:creationId xmlns:a16="http://schemas.microsoft.com/office/drawing/2014/main" id="{9DFCF659-05EA-EF97-5CBF-E546C4116D1D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10052619" y="3125575"/>
                  <a:ext cx="517608" cy="606848"/>
                </a:xfrm>
                <a:custGeom>
                  <a:avLst/>
                  <a:gdLst>
                    <a:gd name="connsiteX0" fmla="*/ 407087 w 395062"/>
                    <a:gd name="connsiteY0" fmla="*/ 252295 h 463176"/>
                    <a:gd name="connsiteX1" fmla="*/ 407087 w 395062"/>
                    <a:gd name="connsiteY1" fmla="*/ 58033 h 463176"/>
                    <a:gd name="connsiteX2" fmla="*/ 382839 w 395062"/>
                    <a:gd name="connsiteY2" fmla="*/ 32559 h 463176"/>
                    <a:gd name="connsiteX3" fmla="*/ 207240 w 395062"/>
                    <a:gd name="connsiteY3" fmla="*/ 954 h 463176"/>
                    <a:gd name="connsiteX4" fmla="*/ 206287 w 395062"/>
                    <a:gd name="connsiteY4" fmla="*/ 954 h 463176"/>
                    <a:gd name="connsiteX5" fmla="*/ 204379 w 395062"/>
                    <a:gd name="connsiteY5" fmla="*/ 0 h 463176"/>
                    <a:gd name="connsiteX6" fmla="*/ 201791 w 395062"/>
                    <a:gd name="connsiteY6" fmla="*/ 0 h 463176"/>
                    <a:gd name="connsiteX7" fmla="*/ 200429 w 395062"/>
                    <a:gd name="connsiteY7" fmla="*/ 0 h 463176"/>
                    <a:gd name="connsiteX8" fmla="*/ 199475 w 395062"/>
                    <a:gd name="connsiteY8" fmla="*/ 0 h 463176"/>
                    <a:gd name="connsiteX9" fmla="*/ 24422 w 395062"/>
                    <a:gd name="connsiteY9" fmla="*/ 32559 h 463176"/>
                    <a:gd name="connsiteX10" fmla="*/ 37 w 395062"/>
                    <a:gd name="connsiteY10" fmla="*/ 58033 h 463176"/>
                    <a:gd name="connsiteX11" fmla="*/ 37 w 395062"/>
                    <a:gd name="connsiteY11" fmla="*/ 251477 h 463176"/>
                    <a:gd name="connsiteX12" fmla="*/ 201791 w 395062"/>
                    <a:gd name="connsiteY12" fmla="*/ 463176 h 463176"/>
                    <a:gd name="connsiteX13" fmla="*/ 203562 w 395062"/>
                    <a:gd name="connsiteY13" fmla="*/ 463176 h 463176"/>
                    <a:gd name="connsiteX14" fmla="*/ 203562 w 395062"/>
                    <a:gd name="connsiteY14" fmla="*/ 463176 h 463176"/>
                    <a:gd name="connsiteX15" fmla="*/ 205333 w 395062"/>
                    <a:gd name="connsiteY15" fmla="*/ 463176 h 463176"/>
                    <a:gd name="connsiteX16" fmla="*/ 407087 w 395062"/>
                    <a:gd name="connsiteY16" fmla="*/ 252295 h 463176"/>
                    <a:gd name="connsiteX17" fmla="*/ 203562 w 395062"/>
                    <a:gd name="connsiteY17" fmla="*/ 449553 h 463176"/>
                    <a:gd name="connsiteX18" fmla="*/ 68151 w 395062"/>
                    <a:gd name="connsiteY18" fmla="*/ 375990 h 463176"/>
                    <a:gd name="connsiteX19" fmla="*/ 68151 w 395062"/>
                    <a:gd name="connsiteY19" fmla="*/ 372720 h 463176"/>
                    <a:gd name="connsiteX20" fmla="*/ 68151 w 395062"/>
                    <a:gd name="connsiteY20" fmla="*/ 355556 h 463176"/>
                    <a:gd name="connsiteX21" fmla="*/ 133132 w 395062"/>
                    <a:gd name="connsiteY21" fmla="*/ 289076 h 463176"/>
                    <a:gd name="connsiteX22" fmla="*/ 177134 w 395062"/>
                    <a:gd name="connsiteY22" fmla="*/ 244393 h 463176"/>
                    <a:gd name="connsiteX23" fmla="*/ 204379 w 395062"/>
                    <a:gd name="connsiteY23" fmla="*/ 250387 h 463176"/>
                    <a:gd name="connsiteX24" fmla="*/ 204379 w 395062"/>
                    <a:gd name="connsiteY24" fmla="*/ 250387 h 463176"/>
                    <a:gd name="connsiteX25" fmla="*/ 230535 w 395062"/>
                    <a:gd name="connsiteY25" fmla="*/ 245211 h 463176"/>
                    <a:gd name="connsiteX26" fmla="*/ 274673 w 395062"/>
                    <a:gd name="connsiteY26" fmla="*/ 288804 h 463176"/>
                    <a:gd name="connsiteX27" fmla="*/ 340608 w 395062"/>
                    <a:gd name="connsiteY27" fmla="*/ 355692 h 463176"/>
                    <a:gd name="connsiteX28" fmla="*/ 340608 w 395062"/>
                    <a:gd name="connsiteY28" fmla="*/ 375581 h 463176"/>
                    <a:gd name="connsiteX29" fmla="*/ 203562 w 395062"/>
                    <a:gd name="connsiteY29" fmla="*/ 449553 h 463176"/>
                    <a:gd name="connsiteX30" fmla="*/ 240889 w 395062"/>
                    <a:gd name="connsiteY30" fmla="*/ 222733 h 463176"/>
                    <a:gd name="connsiteX31" fmla="*/ 204379 w 395062"/>
                    <a:gd name="connsiteY31" fmla="*/ 236765 h 463176"/>
                    <a:gd name="connsiteX32" fmla="*/ 204379 w 395062"/>
                    <a:gd name="connsiteY32" fmla="*/ 236765 h 463176"/>
                    <a:gd name="connsiteX33" fmla="*/ 167325 w 395062"/>
                    <a:gd name="connsiteY33" fmla="*/ 221643 h 463176"/>
                    <a:gd name="connsiteX34" fmla="*/ 147981 w 395062"/>
                    <a:gd name="connsiteY34" fmla="*/ 168514 h 463176"/>
                    <a:gd name="connsiteX35" fmla="*/ 147981 w 395062"/>
                    <a:gd name="connsiteY35" fmla="*/ 165790 h 463176"/>
                    <a:gd name="connsiteX36" fmla="*/ 147981 w 395062"/>
                    <a:gd name="connsiteY36" fmla="*/ 133367 h 463176"/>
                    <a:gd name="connsiteX37" fmla="*/ 203290 w 395062"/>
                    <a:gd name="connsiteY37" fmla="*/ 95360 h 463176"/>
                    <a:gd name="connsiteX38" fmla="*/ 259824 w 395062"/>
                    <a:gd name="connsiteY38" fmla="*/ 133504 h 463176"/>
                    <a:gd name="connsiteX39" fmla="*/ 259824 w 395062"/>
                    <a:gd name="connsiteY39" fmla="*/ 165926 h 463176"/>
                    <a:gd name="connsiteX40" fmla="*/ 258871 w 395062"/>
                    <a:gd name="connsiteY40" fmla="*/ 171648 h 463176"/>
                    <a:gd name="connsiteX41" fmla="*/ 240889 w 395062"/>
                    <a:gd name="connsiteY41" fmla="*/ 222324 h 463176"/>
                    <a:gd name="connsiteX42" fmla="*/ 354231 w 395062"/>
                    <a:gd name="connsiteY42" fmla="*/ 360460 h 463176"/>
                    <a:gd name="connsiteX43" fmla="*/ 354231 w 395062"/>
                    <a:gd name="connsiteY43" fmla="*/ 355283 h 463176"/>
                    <a:gd name="connsiteX44" fmla="*/ 275354 w 395062"/>
                    <a:gd name="connsiteY44" fmla="*/ 275453 h 463176"/>
                    <a:gd name="connsiteX45" fmla="*/ 244567 w 395062"/>
                    <a:gd name="connsiteY45" fmla="*/ 242759 h 463176"/>
                    <a:gd name="connsiteX46" fmla="*/ 244567 w 395062"/>
                    <a:gd name="connsiteY46" fmla="*/ 237718 h 463176"/>
                    <a:gd name="connsiteX47" fmla="*/ 251514 w 395062"/>
                    <a:gd name="connsiteY47" fmla="*/ 231179 h 463176"/>
                    <a:gd name="connsiteX48" fmla="*/ 272494 w 395062"/>
                    <a:gd name="connsiteY48" fmla="*/ 173827 h 463176"/>
                    <a:gd name="connsiteX49" fmla="*/ 273311 w 395062"/>
                    <a:gd name="connsiteY49" fmla="*/ 167969 h 463176"/>
                    <a:gd name="connsiteX50" fmla="*/ 273311 w 395062"/>
                    <a:gd name="connsiteY50" fmla="*/ 130643 h 463176"/>
                    <a:gd name="connsiteX51" fmla="*/ 203426 w 395062"/>
                    <a:gd name="connsiteY51" fmla="*/ 81601 h 463176"/>
                    <a:gd name="connsiteX52" fmla="*/ 134086 w 395062"/>
                    <a:gd name="connsiteY52" fmla="*/ 130643 h 463176"/>
                    <a:gd name="connsiteX53" fmla="*/ 134086 w 395062"/>
                    <a:gd name="connsiteY53" fmla="*/ 167969 h 463176"/>
                    <a:gd name="connsiteX54" fmla="*/ 134086 w 395062"/>
                    <a:gd name="connsiteY54" fmla="*/ 170694 h 463176"/>
                    <a:gd name="connsiteX55" fmla="*/ 156563 w 395062"/>
                    <a:gd name="connsiteY55" fmla="*/ 230498 h 463176"/>
                    <a:gd name="connsiteX56" fmla="*/ 162012 w 395062"/>
                    <a:gd name="connsiteY56" fmla="*/ 235675 h 463176"/>
                    <a:gd name="connsiteX57" fmla="*/ 162830 w 395062"/>
                    <a:gd name="connsiteY57" fmla="*/ 242759 h 463176"/>
                    <a:gd name="connsiteX58" fmla="*/ 132042 w 395062"/>
                    <a:gd name="connsiteY58" fmla="*/ 275453 h 463176"/>
                    <a:gd name="connsiteX59" fmla="*/ 53438 w 395062"/>
                    <a:gd name="connsiteY59" fmla="*/ 355283 h 463176"/>
                    <a:gd name="connsiteX60" fmla="*/ 53438 w 395062"/>
                    <a:gd name="connsiteY60" fmla="*/ 360732 h 463176"/>
                    <a:gd name="connsiteX61" fmla="*/ 13387 w 395062"/>
                    <a:gd name="connsiteY61" fmla="*/ 251750 h 463176"/>
                    <a:gd name="connsiteX62" fmla="*/ 13387 w 395062"/>
                    <a:gd name="connsiteY62" fmla="*/ 58033 h 463176"/>
                    <a:gd name="connsiteX63" fmla="*/ 24831 w 395062"/>
                    <a:gd name="connsiteY63" fmla="*/ 46181 h 463176"/>
                    <a:gd name="connsiteX64" fmla="*/ 203426 w 395062"/>
                    <a:gd name="connsiteY64" fmla="*/ 14440 h 463176"/>
                    <a:gd name="connsiteX65" fmla="*/ 381885 w 395062"/>
                    <a:gd name="connsiteY65" fmla="*/ 46181 h 463176"/>
                    <a:gd name="connsiteX66" fmla="*/ 393192 w 395062"/>
                    <a:gd name="connsiteY66" fmla="*/ 58033 h 463176"/>
                    <a:gd name="connsiteX67" fmla="*/ 393192 w 395062"/>
                    <a:gd name="connsiteY67" fmla="*/ 252840 h 463176"/>
                    <a:gd name="connsiteX68" fmla="*/ 354231 w 395062"/>
                    <a:gd name="connsiteY68" fmla="*/ 360460 h 4631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</a:cxnLst>
                  <a:rect l="l" t="t" r="r" b="b"/>
                  <a:pathLst>
                    <a:path w="395062" h="463176">
                      <a:moveTo>
                        <a:pt x="407087" y="252295"/>
                      </a:moveTo>
                      <a:lnTo>
                        <a:pt x="407087" y="58033"/>
                      </a:lnTo>
                      <a:cubicBezTo>
                        <a:pt x="407104" y="44429"/>
                        <a:pt x="396427" y="33213"/>
                        <a:pt x="382839" y="32559"/>
                      </a:cubicBezTo>
                      <a:cubicBezTo>
                        <a:pt x="341970" y="30515"/>
                        <a:pt x="243749" y="23431"/>
                        <a:pt x="207240" y="954"/>
                      </a:cubicBezTo>
                      <a:cubicBezTo>
                        <a:pt x="207240" y="954"/>
                        <a:pt x="207240" y="954"/>
                        <a:pt x="206287" y="954"/>
                      </a:cubicBezTo>
                      <a:lnTo>
                        <a:pt x="204379" y="0"/>
                      </a:lnTo>
                      <a:lnTo>
                        <a:pt x="201791" y="0"/>
                      </a:lnTo>
                      <a:lnTo>
                        <a:pt x="200429" y="0"/>
                      </a:lnTo>
                      <a:cubicBezTo>
                        <a:pt x="200429" y="0"/>
                        <a:pt x="199748" y="0"/>
                        <a:pt x="199475" y="0"/>
                      </a:cubicBezTo>
                      <a:cubicBezTo>
                        <a:pt x="163511" y="23431"/>
                        <a:pt x="65018" y="30515"/>
                        <a:pt x="24422" y="32559"/>
                      </a:cubicBezTo>
                      <a:cubicBezTo>
                        <a:pt x="10811" y="33211"/>
                        <a:pt x="94" y="44407"/>
                        <a:pt x="37" y="58033"/>
                      </a:cubicBezTo>
                      <a:lnTo>
                        <a:pt x="37" y="251477"/>
                      </a:lnTo>
                      <a:cubicBezTo>
                        <a:pt x="37" y="252976"/>
                        <a:pt x="-7728" y="406369"/>
                        <a:pt x="201791" y="463176"/>
                      </a:cubicBezTo>
                      <a:cubicBezTo>
                        <a:pt x="202374" y="463305"/>
                        <a:pt x="202979" y="463305"/>
                        <a:pt x="203562" y="463176"/>
                      </a:cubicBezTo>
                      <a:lnTo>
                        <a:pt x="203562" y="463176"/>
                      </a:lnTo>
                      <a:cubicBezTo>
                        <a:pt x="204145" y="463305"/>
                        <a:pt x="204750" y="463305"/>
                        <a:pt x="205333" y="463176"/>
                      </a:cubicBezTo>
                      <a:cubicBezTo>
                        <a:pt x="417168" y="405279"/>
                        <a:pt x="407223" y="253248"/>
                        <a:pt x="407087" y="252295"/>
                      </a:cubicBezTo>
                      <a:close/>
                      <a:moveTo>
                        <a:pt x="203562" y="449553"/>
                      </a:moveTo>
                      <a:cubicBezTo>
                        <a:pt x="152738" y="437374"/>
                        <a:pt x="106029" y="411999"/>
                        <a:pt x="68151" y="375990"/>
                      </a:cubicBezTo>
                      <a:lnTo>
                        <a:pt x="68151" y="372720"/>
                      </a:lnTo>
                      <a:cubicBezTo>
                        <a:pt x="68151" y="367135"/>
                        <a:pt x="68151" y="356509"/>
                        <a:pt x="68151" y="355556"/>
                      </a:cubicBezTo>
                      <a:cubicBezTo>
                        <a:pt x="67996" y="319359"/>
                        <a:pt x="96940" y="289747"/>
                        <a:pt x="133132" y="289076"/>
                      </a:cubicBezTo>
                      <a:cubicBezTo>
                        <a:pt x="157390" y="288350"/>
                        <a:pt x="176780" y="268660"/>
                        <a:pt x="177134" y="244393"/>
                      </a:cubicBezTo>
                      <a:cubicBezTo>
                        <a:pt x="185790" y="247989"/>
                        <a:pt x="195014" y="250018"/>
                        <a:pt x="204379" y="250387"/>
                      </a:cubicBezTo>
                      <a:lnTo>
                        <a:pt x="204379" y="250387"/>
                      </a:lnTo>
                      <a:cubicBezTo>
                        <a:pt x="213338" y="250243"/>
                        <a:pt x="222197" y="248488"/>
                        <a:pt x="230535" y="245211"/>
                      </a:cubicBezTo>
                      <a:cubicBezTo>
                        <a:pt x="231394" y="269133"/>
                        <a:pt x="250743" y="288243"/>
                        <a:pt x="274673" y="288804"/>
                      </a:cubicBezTo>
                      <a:cubicBezTo>
                        <a:pt x="311148" y="289542"/>
                        <a:pt x="340394" y="319210"/>
                        <a:pt x="340608" y="355692"/>
                      </a:cubicBezTo>
                      <a:lnTo>
                        <a:pt x="340608" y="375581"/>
                      </a:lnTo>
                      <a:cubicBezTo>
                        <a:pt x="302284" y="411942"/>
                        <a:pt x="254990" y="437470"/>
                        <a:pt x="203562" y="449553"/>
                      </a:cubicBezTo>
                      <a:close/>
                      <a:moveTo>
                        <a:pt x="240889" y="222733"/>
                      </a:moveTo>
                      <a:cubicBezTo>
                        <a:pt x="231054" y="232055"/>
                        <a:pt x="217926" y="237101"/>
                        <a:pt x="204379" y="236765"/>
                      </a:cubicBezTo>
                      <a:lnTo>
                        <a:pt x="204379" y="236765"/>
                      </a:lnTo>
                      <a:cubicBezTo>
                        <a:pt x="190580" y="236500"/>
                        <a:pt x="177371" y="231110"/>
                        <a:pt x="167325" y="221643"/>
                      </a:cubicBezTo>
                      <a:cubicBezTo>
                        <a:pt x="156209" y="205999"/>
                        <a:pt x="149526" y="187644"/>
                        <a:pt x="147981" y="168514"/>
                      </a:cubicBezTo>
                      <a:lnTo>
                        <a:pt x="147981" y="165790"/>
                      </a:lnTo>
                      <a:cubicBezTo>
                        <a:pt x="146269" y="155050"/>
                        <a:pt x="146269" y="144108"/>
                        <a:pt x="147981" y="133367"/>
                      </a:cubicBezTo>
                      <a:cubicBezTo>
                        <a:pt x="155337" y="94406"/>
                        <a:pt x="200974" y="95360"/>
                        <a:pt x="203290" y="95360"/>
                      </a:cubicBezTo>
                      <a:cubicBezTo>
                        <a:pt x="205606" y="95360"/>
                        <a:pt x="251514" y="94134"/>
                        <a:pt x="259824" y="133504"/>
                      </a:cubicBezTo>
                      <a:cubicBezTo>
                        <a:pt x="261541" y="144243"/>
                        <a:pt x="261541" y="155187"/>
                        <a:pt x="259824" y="165926"/>
                      </a:cubicBezTo>
                      <a:lnTo>
                        <a:pt x="258871" y="171648"/>
                      </a:lnTo>
                      <a:cubicBezTo>
                        <a:pt x="257714" y="189886"/>
                        <a:pt x="251486" y="207437"/>
                        <a:pt x="240889" y="222324"/>
                      </a:cubicBezTo>
                      <a:close/>
                      <a:moveTo>
                        <a:pt x="354231" y="360460"/>
                      </a:moveTo>
                      <a:lnTo>
                        <a:pt x="354231" y="355283"/>
                      </a:lnTo>
                      <a:cubicBezTo>
                        <a:pt x="353246" y="311976"/>
                        <a:pt x="318646" y="276959"/>
                        <a:pt x="275354" y="275453"/>
                      </a:cubicBezTo>
                      <a:cubicBezTo>
                        <a:pt x="257855" y="274861"/>
                        <a:pt x="244108" y="260263"/>
                        <a:pt x="244567" y="242759"/>
                      </a:cubicBezTo>
                      <a:cubicBezTo>
                        <a:pt x="244567" y="240988"/>
                        <a:pt x="244567" y="239353"/>
                        <a:pt x="244567" y="237718"/>
                      </a:cubicBezTo>
                      <a:cubicBezTo>
                        <a:pt x="247078" y="235757"/>
                        <a:pt x="249404" y="233567"/>
                        <a:pt x="251514" y="231179"/>
                      </a:cubicBezTo>
                      <a:cubicBezTo>
                        <a:pt x="263680" y="214371"/>
                        <a:pt x="270942" y="194518"/>
                        <a:pt x="272494" y="173827"/>
                      </a:cubicBezTo>
                      <a:lnTo>
                        <a:pt x="273311" y="167969"/>
                      </a:lnTo>
                      <a:cubicBezTo>
                        <a:pt x="275399" y="155615"/>
                        <a:pt x="275399" y="142997"/>
                        <a:pt x="273311" y="130643"/>
                      </a:cubicBezTo>
                      <a:cubicBezTo>
                        <a:pt x="264729" y="89774"/>
                        <a:pt x="223588" y="80920"/>
                        <a:pt x="203426" y="81601"/>
                      </a:cubicBezTo>
                      <a:cubicBezTo>
                        <a:pt x="183264" y="82282"/>
                        <a:pt x="142259" y="90319"/>
                        <a:pt x="134086" y="130643"/>
                      </a:cubicBezTo>
                      <a:cubicBezTo>
                        <a:pt x="131997" y="142997"/>
                        <a:pt x="131997" y="155615"/>
                        <a:pt x="134086" y="167969"/>
                      </a:cubicBezTo>
                      <a:lnTo>
                        <a:pt x="134086" y="170694"/>
                      </a:lnTo>
                      <a:cubicBezTo>
                        <a:pt x="135914" y="192322"/>
                        <a:pt x="143694" y="213020"/>
                        <a:pt x="156563" y="230498"/>
                      </a:cubicBezTo>
                      <a:cubicBezTo>
                        <a:pt x="158278" y="232328"/>
                        <a:pt x="160097" y="234056"/>
                        <a:pt x="162012" y="235675"/>
                      </a:cubicBezTo>
                      <a:cubicBezTo>
                        <a:pt x="162491" y="238008"/>
                        <a:pt x="162764" y="240377"/>
                        <a:pt x="162830" y="242759"/>
                      </a:cubicBezTo>
                      <a:cubicBezTo>
                        <a:pt x="163289" y="260263"/>
                        <a:pt x="149542" y="274861"/>
                        <a:pt x="132042" y="275453"/>
                      </a:cubicBezTo>
                      <a:cubicBezTo>
                        <a:pt x="88433" y="276124"/>
                        <a:pt x="53433" y="311668"/>
                        <a:pt x="53438" y="355283"/>
                      </a:cubicBezTo>
                      <a:lnTo>
                        <a:pt x="53438" y="360732"/>
                      </a:lnTo>
                      <a:cubicBezTo>
                        <a:pt x="27620" y="330284"/>
                        <a:pt x="13430" y="291670"/>
                        <a:pt x="13387" y="251750"/>
                      </a:cubicBezTo>
                      <a:lnTo>
                        <a:pt x="13387" y="58033"/>
                      </a:lnTo>
                      <a:cubicBezTo>
                        <a:pt x="13453" y="51672"/>
                        <a:pt x="18476" y="46470"/>
                        <a:pt x="24831" y="46181"/>
                      </a:cubicBezTo>
                      <a:cubicBezTo>
                        <a:pt x="65699" y="44138"/>
                        <a:pt x="162012" y="37054"/>
                        <a:pt x="203426" y="14440"/>
                      </a:cubicBezTo>
                      <a:cubicBezTo>
                        <a:pt x="244294" y="37054"/>
                        <a:pt x="341289" y="44138"/>
                        <a:pt x="381885" y="46181"/>
                      </a:cubicBezTo>
                      <a:cubicBezTo>
                        <a:pt x="388217" y="46473"/>
                        <a:pt x="393199" y="51695"/>
                        <a:pt x="393192" y="58033"/>
                      </a:cubicBezTo>
                      <a:lnTo>
                        <a:pt x="393192" y="252840"/>
                      </a:lnTo>
                      <a:cubicBezTo>
                        <a:pt x="393240" y="292174"/>
                        <a:pt x="379447" y="330272"/>
                        <a:pt x="354231" y="36046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1333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Ubuntu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90" name="Group 189">
                <a:extLst>
                  <a:ext uri="{FF2B5EF4-FFF2-40B4-BE49-F238E27FC236}">
                    <a16:creationId xmlns:a16="http://schemas.microsoft.com/office/drawing/2014/main" id="{24AE96EC-08EA-B4B7-82A3-153B6C3B535A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6137690" y="2324807"/>
                <a:ext cx="639036" cy="639036"/>
                <a:chOff x="8760296" y="2132856"/>
                <a:chExt cx="942016" cy="942016"/>
              </a:xfrm>
            </p:grpSpPr>
            <p:sp>
              <p:nvSpPr>
                <p:cNvPr id="200" name="Oval 199">
                  <a:extLst>
                    <a:ext uri="{FF2B5EF4-FFF2-40B4-BE49-F238E27FC236}">
                      <a16:creationId xmlns:a16="http://schemas.microsoft.com/office/drawing/2014/main" id="{6D993F4A-5316-B788-58C3-9BED46F77CDA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8760296" y="2132856"/>
                  <a:ext cx="942016" cy="942016"/>
                </a:xfrm>
                <a:prstGeom prst="ellipse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600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Ubuntu"/>
                    <a:ea typeface="+mn-ea"/>
                    <a:cs typeface="+mn-cs"/>
                  </a:endParaRPr>
                </a:p>
              </p:txBody>
            </p:sp>
            <p:grpSp>
              <p:nvGrpSpPr>
                <p:cNvPr id="201" name="Graphic 2">
                  <a:extLst>
                    <a:ext uri="{FF2B5EF4-FFF2-40B4-BE49-F238E27FC236}">
                      <a16:creationId xmlns:a16="http://schemas.microsoft.com/office/drawing/2014/main" id="{E0A06A82-BC58-517B-9315-1A54E3CC3E20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8978888" y="2351451"/>
                  <a:ext cx="504828" cy="504826"/>
                  <a:chOff x="5864412" y="3152586"/>
                  <a:chExt cx="463177" cy="463177"/>
                </a:xfrm>
                <a:solidFill>
                  <a:schemeClr val="bg1"/>
                </a:solidFill>
              </p:grpSpPr>
              <p:sp>
                <p:nvSpPr>
                  <p:cNvPr id="202" name="Freeform: Shape 163">
                    <a:extLst>
                      <a:ext uri="{FF2B5EF4-FFF2-40B4-BE49-F238E27FC236}">
                        <a16:creationId xmlns:a16="http://schemas.microsoft.com/office/drawing/2014/main" id="{2325C9E6-8538-3B28-CBC5-36B8B18F3871}"/>
                      </a:ext>
                    </a:extLst>
                  </p:cNvPr>
                  <p:cNvSpPr/>
                  <p:nvPr/>
                </p:nvSpPr>
                <p:spPr>
                  <a:xfrm>
                    <a:off x="5905278" y="3193455"/>
                    <a:ext cx="381440" cy="422308"/>
                  </a:xfrm>
                  <a:custGeom>
                    <a:avLst/>
                    <a:gdLst>
                      <a:gd name="connsiteX0" fmla="*/ 347385 w 381439"/>
                      <a:gd name="connsiteY0" fmla="*/ 163474 h 422308"/>
                      <a:gd name="connsiteX1" fmla="*/ 340574 w 381439"/>
                      <a:gd name="connsiteY1" fmla="*/ 163474 h 422308"/>
                      <a:gd name="connsiteX2" fmla="*/ 340574 w 381439"/>
                      <a:gd name="connsiteY2" fmla="*/ 97812 h 422308"/>
                      <a:gd name="connsiteX3" fmla="*/ 242762 w 381439"/>
                      <a:gd name="connsiteY3" fmla="*/ 0 h 422308"/>
                      <a:gd name="connsiteX4" fmla="*/ 138683 w 381439"/>
                      <a:gd name="connsiteY4" fmla="*/ 0 h 422308"/>
                      <a:gd name="connsiteX5" fmla="*/ 40871 w 381439"/>
                      <a:gd name="connsiteY5" fmla="*/ 97812 h 422308"/>
                      <a:gd name="connsiteX6" fmla="*/ 40871 w 381439"/>
                      <a:gd name="connsiteY6" fmla="*/ 163474 h 422308"/>
                      <a:gd name="connsiteX7" fmla="*/ 34060 w 381439"/>
                      <a:gd name="connsiteY7" fmla="*/ 163474 h 422308"/>
                      <a:gd name="connsiteX8" fmla="*/ 3 w 381439"/>
                      <a:gd name="connsiteY8" fmla="*/ 197531 h 422308"/>
                      <a:gd name="connsiteX9" fmla="*/ 3 w 381439"/>
                      <a:gd name="connsiteY9" fmla="*/ 211154 h 422308"/>
                      <a:gd name="connsiteX10" fmla="*/ 40871 w 381439"/>
                      <a:gd name="connsiteY10" fmla="*/ 258834 h 422308"/>
                      <a:gd name="connsiteX11" fmla="*/ 40871 w 381439"/>
                      <a:gd name="connsiteY11" fmla="*/ 279269 h 422308"/>
                      <a:gd name="connsiteX12" fmla="*/ 183911 w 381439"/>
                      <a:gd name="connsiteY12" fmla="*/ 422308 h 422308"/>
                      <a:gd name="connsiteX13" fmla="*/ 197534 w 381439"/>
                      <a:gd name="connsiteY13" fmla="*/ 422308 h 422308"/>
                      <a:gd name="connsiteX14" fmla="*/ 340574 w 381439"/>
                      <a:gd name="connsiteY14" fmla="*/ 279269 h 422308"/>
                      <a:gd name="connsiteX15" fmla="*/ 340574 w 381439"/>
                      <a:gd name="connsiteY15" fmla="*/ 258834 h 422308"/>
                      <a:gd name="connsiteX16" fmla="*/ 381442 w 381439"/>
                      <a:gd name="connsiteY16" fmla="*/ 211835 h 422308"/>
                      <a:gd name="connsiteX17" fmla="*/ 381442 w 381439"/>
                      <a:gd name="connsiteY17" fmla="*/ 198213 h 422308"/>
                      <a:gd name="connsiteX18" fmla="*/ 348073 w 381439"/>
                      <a:gd name="connsiteY18" fmla="*/ 163481 h 422308"/>
                      <a:gd name="connsiteX19" fmla="*/ 347385 w 381439"/>
                      <a:gd name="connsiteY19" fmla="*/ 163474 h 422308"/>
                      <a:gd name="connsiteX20" fmla="*/ 13625 w 381439"/>
                      <a:gd name="connsiteY20" fmla="*/ 211154 h 422308"/>
                      <a:gd name="connsiteX21" fmla="*/ 13625 w 381439"/>
                      <a:gd name="connsiteY21" fmla="*/ 197531 h 422308"/>
                      <a:gd name="connsiteX22" fmla="*/ 34060 w 381439"/>
                      <a:gd name="connsiteY22" fmla="*/ 177097 h 422308"/>
                      <a:gd name="connsiteX23" fmla="*/ 40871 w 381439"/>
                      <a:gd name="connsiteY23" fmla="*/ 177097 h 422308"/>
                      <a:gd name="connsiteX24" fmla="*/ 40871 w 381439"/>
                      <a:gd name="connsiteY24" fmla="*/ 245211 h 422308"/>
                      <a:gd name="connsiteX25" fmla="*/ 13625 w 381439"/>
                      <a:gd name="connsiteY25" fmla="*/ 211154 h 422308"/>
                      <a:gd name="connsiteX26" fmla="*/ 326951 w 381439"/>
                      <a:gd name="connsiteY26" fmla="*/ 279269 h 422308"/>
                      <a:gd name="connsiteX27" fmla="*/ 197534 w 381439"/>
                      <a:gd name="connsiteY27" fmla="*/ 408686 h 422308"/>
                      <a:gd name="connsiteX28" fmla="*/ 183911 w 381439"/>
                      <a:gd name="connsiteY28" fmla="*/ 408686 h 422308"/>
                      <a:gd name="connsiteX29" fmla="*/ 54494 w 381439"/>
                      <a:gd name="connsiteY29" fmla="*/ 279269 h 422308"/>
                      <a:gd name="connsiteX30" fmla="*/ 54494 w 381439"/>
                      <a:gd name="connsiteY30" fmla="*/ 97812 h 422308"/>
                      <a:gd name="connsiteX31" fmla="*/ 138683 w 381439"/>
                      <a:gd name="connsiteY31" fmla="*/ 13623 h 422308"/>
                      <a:gd name="connsiteX32" fmla="*/ 242762 w 381439"/>
                      <a:gd name="connsiteY32" fmla="*/ 13623 h 422308"/>
                      <a:gd name="connsiteX33" fmla="*/ 326951 w 381439"/>
                      <a:gd name="connsiteY33" fmla="*/ 97812 h 422308"/>
                      <a:gd name="connsiteX34" fmla="*/ 326951 w 381439"/>
                      <a:gd name="connsiteY34" fmla="*/ 122606 h 422308"/>
                      <a:gd name="connsiteX35" fmla="*/ 129420 w 381439"/>
                      <a:gd name="connsiteY35" fmla="*/ 122606 h 422308"/>
                      <a:gd name="connsiteX36" fmla="*/ 95363 w 381439"/>
                      <a:gd name="connsiteY36" fmla="*/ 88549 h 422308"/>
                      <a:gd name="connsiteX37" fmla="*/ 95363 w 381439"/>
                      <a:gd name="connsiteY37" fmla="*/ 86233 h 422308"/>
                      <a:gd name="connsiteX38" fmla="*/ 88551 w 381439"/>
                      <a:gd name="connsiteY38" fmla="*/ 79421 h 422308"/>
                      <a:gd name="connsiteX39" fmla="*/ 81740 w 381439"/>
                      <a:gd name="connsiteY39" fmla="*/ 86233 h 422308"/>
                      <a:gd name="connsiteX40" fmla="*/ 81740 w 381439"/>
                      <a:gd name="connsiteY40" fmla="*/ 88549 h 422308"/>
                      <a:gd name="connsiteX41" fmla="*/ 129420 w 381439"/>
                      <a:gd name="connsiteY41" fmla="*/ 136229 h 422308"/>
                      <a:gd name="connsiteX42" fmla="*/ 326951 w 381439"/>
                      <a:gd name="connsiteY42" fmla="*/ 136229 h 422308"/>
                      <a:gd name="connsiteX43" fmla="*/ 367820 w 381439"/>
                      <a:gd name="connsiteY43" fmla="*/ 211154 h 422308"/>
                      <a:gd name="connsiteX44" fmla="*/ 340574 w 381439"/>
                      <a:gd name="connsiteY44" fmla="*/ 245211 h 422308"/>
                      <a:gd name="connsiteX45" fmla="*/ 340574 w 381439"/>
                      <a:gd name="connsiteY45" fmla="*/ 177097 h 422308"/>
                      <a:gd name="connsiteX46" fmla="*/ 347385 w 381439"/>
                      <a:gd name="connsiteY46" fmla="*/ 177097 h 422308"/>
                      <a:gd name="connsiteX47" fmla="*/ 367820 w 381439"/>
                      <a:gd name="connsiteY47" fmla="*/ 197531 h 42230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</a:cxnLst>
                    <a:rect l="l" t="t" r="r" b="b"/>
                    <a:pathLst>
                      <a:path w="381439" h="422308">
                        <a:moveTo>
                          <a:pt x="347385" y="163474"/>
                        </a:moveTo>
                        <a:lnTo>
                          <a:pt x="340574" y="163474"/>
                        </a:lnTo>
                        <a:lnTo>
                          <a:pt x="340574" y="97812"/>
                        </a:lnTo>
                        <a:cubicBezTo>
                          <a:pt x="340499" y="43823"/>
                          <a:pt x="296751" y="75"/>
                          <a:pt x="242762" y="0"/>
                        </a:cubicBezTo>
                        <a:lnTo>
                          <a:pt x="138683" y="0"/>
                        </a:lnTo>
                        <a:cubicBezTo>
                          <a:pt x="84694" y="75"/>
                          <a:pt x="40946" y="43823"/>
                          <a:pt x="40871" y="97812"/>
                        </a:cubicBezTo>
                        <a:lnTo>
                          <a:pt x="40871" y="163474"/>
                        </a:lnTo>
                        <a:lnTo>
                          <a:pt x="34060" y="163474"/>
                        </a:lnTo>
                        <a:cubicBezTo>
                          <a:pt x="15250" y="163474"/>
                          <a:pt x="3" y="178722"/>
                          <a:pt x="3" y="197531"/>
                        </a:cubicBezTo>
                        <a:lnTo>
                          <a:pt x="3" y="211154"/>
                        </a:lnTo>
                        <a:cubicBezTo>
                          <a:pt x="-242" y="235042"/>
                          <a:pt x="17228" y="255423"/>
                          <a:pt x="40871" y="258834"/>
                        </a:cubicBezTo>
                        <a:lnTo>
                          <a:pt x="40871" y="279269"/>
                        </a:lnTo>
                        <a:cubicBezTo>
                          <a:pt x="40946" y="358236"/>
                          <a:pt x="104943" y="422234"/>
                          <a:pt x="183911" y="422308"/>
                        </a:cubicBezTo>
                        <a:lnTo>
                          <a:pt x="197534" y="422308"/>
                        </a:lnTo>
                        <a:cubicBezTo>
                          <a:pt x="276502" y="422234"/>
                          <a:pt x="340499" y="358236"/>
                          <a:pt x="340574" y="279269"/>
                        </a:cubicBezTo>
                        <a:lnTo>
                          <a:pt x="340574" y="258834"/>
                        </a:lnTo>
                        <a:cubicBezTo>
                          <a:pt x="363960" y="255458"/>
                          <a:pt x="381347" y="235464"/>
                          <a:pt x="381442" y="211835"/>
                        </a:cubicBezTo>
                        <a:lnTo>
                          <a:pt x="381442" y="198213"/>
                        </a:lnTo>
                        <a:cubicBezTo>
                          <a:pt x="381818" y="179408"/>
                          <a:pt x="366878" y="163857"/>
                          <a:pt x="348073" y="163481"/>
                        </a:cubicBezTo>
                        <a:cubicBezTo>
                          <a:pt x="347844" y="163477"/>
                          <a:pt x="347614" y="163474"/>
                          <a:pt x="347385" y="163474"/>
                        </a:cubicBezTo>
                        <a:close/>
                        <a:moveTo>
                          <a:pt x="13625" y="211154"/>
                        </a:moveTo>
                        <a:lnTo>
                          <a:pt x="13625" y="197531"/>
                        </a:lnTo>
                        <a:cubicBezTo>
                          <a:pt x="13625" y="186246"/>
                          <a:pt x="22774" y="177097"/>
                          <a:pt x="34060" y="177097"/>
                        </a:cubicBezTo>
                        <a:lnTo>
                          <a:pt x="40871" y="177097"/>
                        </a:lnTo>
                        <a:lnTo>
                          <a:pt x="40871" y="245211"/>
                        </a:lnTo>
                        <a:cubicBezTo>
                          <a:pt x="24758" y="241926"/>
                          <a:pt x="13294" y="227596"/>
                          <a:pt x="13625" y="211154"/>
                        </a:cubicBezTo>
                        <a:close/>
                        <a:moveTo>
                          <a:pt x="326951" y="279269"/>
                        </a:moveTo>
                        <a:cubicBezTo>
                          <a:pt x="326876" y="350712"/>
                          <a:pt x="268978" y="408611"/>
                          <a:pt x="197534" y="408686"/>
                        </a:cubicBezTo>
                        <a:lnTo>
                          <a:pt x="183911" y="408686"/>
                        </a:lnTo>
                        <a:cubicBezTo>
                          <a:pt x="112467" y="408611"/>
                          <a:pt x="54569" y="350712"/>
                          <a:pt x="54494" y="279269"/>
                        </a:cubicBezTo>
                        <a:lnTo>
                          <a:pt x="54494" y="97812"/>
                        </a:lnTo>
                        <a:cubicBezTo>
                          <a:pt x="54494" y="51316"/>
                          <a:pt x="92187" y="13623"/>
                          <a:pt x="138683" y="13623"/>
                        </a:cubicBezTo>
                        <a:lnTo>
                          <a:pt x="242762" y="13623"/>
                        </a:lnTo>
                        <a:cubicBezTo>
                          <a:pt x="289258" y="13623"/>
                          <a:pt x="326951" y="51316"/>
                          <a:pt x="326951" y="97812"/>
                        </a:cubicBezTo>
                        <a:lnTo>
                          <a:pt x="326951" y="122606"/>
                        </a:lnTo>
                        <a:lnTo>
                          <a:pt x="129420" y="122606"/>
                        </a:lnTo>
                        <a:cubicBezTo>
                          <a:pt x="110611" y="122606"/>
                          <a:pt x="95363" y="107358"/>
                          <a:pt x="95363" y="88549"/>
                        </a:cubicBezTo>
                        <a:lnTo>
                          <a:pt x="95363" y="86233"/>
                        </a:lnTo>
                        <a:cubicBezTo>
                          <a:pt x="95363" y="82471"/>
                          <a:pt x="92313" y="79421"/>
                          <a:pt x="88551" y="79421"/>
                        </a:cubicBezTo>
                        <a:cubicBezTo>
                          <a:pt x="84789" y="79421"/>
                          <a:pt x="81740" y="82471"/>
                          <a:pt x="81740" y="86233"/>
                        </a:cubicBezTo>
                        <a:lnTo>
                          <a:pt x="81740" y="88549"/>
                        </a:lnTo>
                        <a:cubicBezTo>
                          <a:pt x="81740" y="114882"/>
                          <a:pt x="103087" y="136229"/>
                          <a:pt x="129420" y="136229"/>
                        </a:cubicBezTo>
                        <a:lnTo>
                          <a:pt x="326951" y="136229"/>
                        </a:lnTo>
                        <a:close/>
                        <a:moveTo>
                          <a:pt x="367820" y="211154"/>
                        </a:moveTo>
                        <a:cubicBezTo>
                          <a:pt x="368151" y="227596"/>
                          <a:pt x="356687" y="241926"/>
                          <a:pt x="340574" y="245211"/>
                        </a:cubicBezTo>
                        <a:lnTo>
                          <a:pt x="340574" y="177097"/>
                        </a:lnTo>
                        <a:lnTo>
                          <a:pt x="347385" y="177097"/>
                        </a:lnTo>
                        <a:cubicBezTo>
                          <a:pt x="358670" y="177097"/>
                          <a:pt x="367820" y="186246"/>
                          <a:pt x="367820" y="197531"/>
                        </a:cubicBezTo>
                        <a:close/>
                      </a:path>
                    </a:pathLst>
                  </a:custGeom>
                  <a:grpFill/>
                  <a:ln w="1344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03" name="Freeform: Shape 164">
                    <a:extLst>
                      <a:ext uri="{FF2B5EF4-FFF2-40B4-BE49-F238E27FC236}">
                        <a16:creationId xmlns:a16="http://schemas.microsoft.com/office/drawing/2014/main" id="{E81156EE-8A4E-6E29-4CE1-2904083B6CF7}"/>
                      </a:ext>
                    </a:extLst>
                  </p:cNvPr>
                  <p:cNvSpPr/>
                  <p:nvPr/>
                </p:nvSpPr>
                <p:spPr>
                  <a:xfrm>
                    <a:off x="6014263" y="3363740"/>
                    <a:ext cx="40869" cy="40869"/>
                  </a:xfrm>
                  <a:custGeom>
                    <a:avLst/>
                    <a:gdLst>
                      <a:gd name="connsiteX0" fmla="*/ 40869 w 40868"/>
                      <a:gd name="connsiteY0" fmla="*/ 20434 h 40868"/>
                      <a:gd name="connsiteX1" fmla="*/ 20434 w 40868"/>
                      <a:gd name="connsiteY1" fmla="*/ 40869 h 40868"/>
                      <a:gd name="connsiteX2" fmla="*/ 0 w 40868"/>
                      <a:gd name="connsiteY2" fmla="*/ 20434 h 40868"/>
                      <a:gd name="connsiteX3" fmla="*/ 20434 w 40868"/>
                      <a:gd name="connsiteY3" fmla="*/ 0 h 40868"/>
                      <a:gd name="connsiteX4" fmla="*/ 40869 w 40868"/>
                      <a:gd name="connsiteY4" fmla="*/ 20434 h 4086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0868" h="40868">
                        <a:moveTo>
                          <a:pt x="40869" y="20434"/>
                        </a:moveTo>
                        <a:cubicBezTo>
                          <a:pt x="40869" y="31720"/>
                          <a:pt x="31720" y="40869"/>
                          <a:pt x="20434" y="40869"/>
                        </a:cubicBezTo>
                        <a:cubicBezTo>
                          <a:pt x="9149" y="40869"/>
                          <a:pt x="0" y="31720"/>
                          <a:pt x="0" y="20434"/>
                        </a:cubicBezTo>
                        <a:cubicBezTo>
                          <a:pt x="0" y="9149"/>
                          <a:pt x="9149" y="0"/>
                          <a:pt x="20434" y="0"/>
                        </a:cubicBezTo>
                        <a:cubicBezTo>
                          <a:pt x="31720" y="0"/>
                          <a:pt x="40869" y="9149"/>
                          <a:pt x="40869" y="20434"/>
                        </a:cubicBezTo>
                        <a:close/>
                      </a:path>
                    </a:pathLst>
                  </a:custGeom>
                  <a:grpFill/>
                  <a:ln w="1344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04" name="Freeform: Shape 165">
                    <a:extLst>
                      <a:ext uri="{FF2B5EF4-FFF2-40B4-BE49-F238E27FC236}">
                        <a16:creationId xmlns:a16="http://schemas.microsoft.com/office/drawing/2014/main" id="{D6BF95BD-C6C4-5774-625A-B62EF478A455}"/>
                      </a:ext>
                    </a:extLst>
                  </p:cNvPr>
                  <p:cNvSpPr/>
                  <p:nvPr/>
                </p:nvSpPr>
                <p:spPr>
                  <a:xfrm>
                    <a:off x="6136869" y="3363740"/>
                    <a:ext cx="40869" cy="40869"/>
                  </a:xfrm>
                  <a:custGeom>
                    <a:avLst/>
                    <a:gdLst>
                      <a:gd name="connsiteX0" fmla="*/ 40869 w 40868"/>
                      <a:gd name="connsiteY0" fmla="*/ 20434 h 40868"/>
                      <a:gd name="connsiteX1" fmla="*/ 20434 w 40868"/>
                      <a:gd name="connsiteY1" fmla="*/ 40869 h 40868"/>
                      <a:gd name="connsiteX2" fmla="*/ 0 w 40868"/>
                      <a:gd name="connsiteY2" fmla="*/ 20434 h 40868"/>
                      <a:gd name="connsiteX3" fmla="*/ 20434 w 40868"/>
                      <a:gd name="connsiteY3" fmla="*/ 0 h 40868"/>
                      <a:gd name="connsiteX4" fmla="*/ 40869 w 40868"/>
                      <a:gd name="connsiteY4" fmla="*/ 20434 h 4086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0868" h="40868">
                        <a:moveTo>
                          <a:pt x="40869" y="20434"/>
                        </a:moveTo>
                        <a:cubicBezTo>
                          <a:pt x="40869" y="31720"/>
                          <a:pt x="31720" y="40869"/>
                          <a:pt x="20434" y="40869"/>
                        </a:cubicBezTo>
                        <a:cubicBezTo>
                          <a:pt x="9149" y="40869"/>
                          <a:pt x="0" y="31720"/>
                          <a:pt x="0" y="20434"/>
                        </a:cubicBezTo>
                        <a:cubicBezTo>
                          <a:pt x="0" y="9149"/>
                          <a:pt x="9149" y="0"/>
                          <a:pt x="20434" y="0"/>
                        </a:cubicBezTo>
                        <a:cubicBezTo>
                          <a:pt x="31720" y="0"/>
                          <a:pt x="40869" y="9149"/>
                          <a:pt x="40869" y="20434"/>
                        </a:cubicBezTo>
                        <a:close/>
                      </a:path>
                    </a:pathLst>
                  </a:custGeom>
                  <a:grpFill/>
                  <a:ln w="1344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05" name="Freeform: Shape 166">
                    <a:extLst>
                      <a:ext uri="{FF2B5EF4-FFF2-40B4-BE49-F238E27FC236}">
                        <a16:creationId xmlns:a16="http://schemas.microsoft.com/office/drawing/2014/main" id="{511B5E18-2498-17A1-D268-70A0772285C1}"/>
                      </a:ext>
                    </a:extLst>
                  </p:cNvPr>
                  <p:cNvSpPr/>
                  <p:nvPr/>
                </p:nvSpPr>
                <p:spPr>
                  <a:xfrm>
                    <a:off x="6007452" y="3479398"/>
                    <a:ext cx="177097" cy="54491"/>
                  </a:xfrm>
                  <a:custGeom>
                    <a:avLst/>
                    <a:gdLst>
                      <a:gd name="connsiteX0" fmla="*/ 88549 w 177097"/>
                      <a:gd name="connsiteY0" fmla="*/ 54628 h 54491"/>
                      <a:gd name="connsiteX1" fmla="*/ 1363 w 177097"/>
                      <a:gd name="connsiteY1" fmla="*/ 10899 h 54491"/>
                      <a:gd name="connsiteX2" fmla="*/ 2725 w 177097"/>
                      <a:gd name="connsiteY2" fmla="*/ 1363 h 54491"/>
                      <a:gd name="connsiteX3" fmla="*/ 12261 w 177097"/>
                      <a:gd name="connsiteY3" fmla="*/ 2725 h 54491"/>
                      <a:gd name="connsiteX4" fmla="*/ 145765 w 177097"/>
                      <a:gd name="connsiteY4" fmla="*/ 21797 h 54491"/>
                      <a:gd name="connsiteX5" fmla="*/ 164837 w 177097"/>
                      <a:gd name="connsiteY5" fmla="*/ 2725 h 54491"/>
                      <a:gd name="connsiteX6" fmla="*/ 174373 w 177097"/>
                      <a:gd name="connsiteY6" fmla="*/ 1363 h 54491"/>
                      <a:gd name="connsiteX7" fmla="*/ 175735 w 177097"/>
                      <a:gd name="connsiteY7" fmla="*/ 10899 h 54491"/>
                      <a:gd name="connsiteX8" fmla="*/ 88549 w 177097"/>
                      <a:gd name="connsiteY8" fmla="*/ 54628 h 5449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77097" h="54491">
                        <a:moveTo>
                          <a:pt x="88549" y="54628"/>
                        </a:moveTo>
                        <a:cubicBezTo>
                          <a:pt x="54181" y="54770"/>
                          <a:pt x="21801" y="38530"/>
                          <a:pt x="1363" y="10899"/>
                        </a:cubicBezTo>
                        <a:cubicBezTo>
                          <a:pt x="-895" y="7889"/>
                          <a:pt x="-284" y="3620"/>
                          <a:pt x="2725" y="1363"/>
                        </a:cubicBezTo>
                        <a:cubicBezTo>
                          <a:pt x="5753" y="-818"/>
                          <a:pt x="9964" y="-216"/>
                          <a:pt x="12261" y="2725"/>
                        </a:cubicBezTo>
                        <a:cubicBezTo>
                          <a:pt x="43861" y="44858"/>
                          <a:pt x="103632" y="53397"/>
                          <a:pt x="145765" y="21797"/>
                        </a:cubicBezTo>
                        <a:cubicBezTo>
                          <a:pt x="152993" y="16375"/>
                          <a:pt x="159415" y="9953"/>
                          <a:pt x="164837" y="2725"/>
                        </a:cubicBezTo>
                        <a:cubicBezTo>
                          <a:pt x="167094" y="-284"/>
                          <a:pt x="171364" y="-895"/>
                          <a:pt x="174373" y="1363"/>
                        </a:cubicBezTo>
                        <a:cubicBezTo>
                          <a:pt x="177382" y="3620"/>
                          <a:pt x="177993" y="7889"/>
                          <a:pt x="175735" y="10899"/>
                        </a:cubicBezTo>
                        <a:cubicBezTo>
                          <a:pt x="155297" y="38530"/>
                          <a:pt x="122917" y="54770"/>
                          <a:pt x="88549" y="54628"/>
                        </a:cubicBezTo>
                        <a:close/>
                      </a:path>
                    </a:pathLst>
                  </a:custGeom>
                  <a:grpFill/>
                  <a:ln w="1344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06" name="Freeform: Shape 167">
                    <a:extLst>
                      <a:ext uri="{FF2B5EF4-FFF2-40B4-BE49-F238E27FC236}">
                        <a16:creationId xmlns:a16="http://schemas.microsoft.com/office/drawing/2014/main" id="{D472057D-8F75-3187-FED8-FA48795272C6}"/>
                      </a:ext>
                    </a:extLst>
                  </p:cNvPr>
                  <p:cNvSpPr/>
                  <p:nvPr/>
                </p:nvSpPr>
                <p:spPr>
                  <a:xfrm>
                    <a:off x="6232229" y="3152586"/>
                    <a:ext cx="95360" cy="95360"/>
                  </a:xfrm>
                  <a:custGeom>
                    <a:avLst/>
                    <a:gdLst>
                      <a:gd name="connsiteX0" fmla="*/ 88549 w 95359"/>
                      <a:gd name="connsiteY0" fmla="*/ 95360 h 95359"/>
                      <a:gd name="connsiteX1" fmla="*/ 81737 w 95359"/>
                      <a:gd name="connsiteY1" fmla="*/ 88549 h 95359"/>
                      <a:gd name="connsiteX2" fmla="*/ 81737 w 95359"/>
                      <a:gd name="connsiteY2" fmla="*/ 13623 h 95359"/>
                      <a:gd name="connsiteX3" fmla="*/ 6811 w 95359"/>
                      <a:gd name="connsiteY3" fmla="*/ 13623 h 95359"/>
                      <a:gd name="connsiteX4" fmla="*/ 0 w 95359"/>
                      <a:gd name="connsiteY4" fmla="*/ 6811 h 95359"/>
                      <a:gd name="connsiteX5" fmla="*/ 6811 w 95359"/>
                      <a:gd name="connsiteY5" fmla="*/ 0 h 95359"/>
                      <a:gd name="connsiteX6" fmla="*/ 88549 w 95359"/>
                      <a:gd name="connsiteY6" fmla="*/ 0 h 95359"/>
                      <a:gd name="connsiteX7" fmla="*/ 95360 w 95359"/>
                      <a:gd name="connsiteY7" fmla="*/ 6811 h 95359"/>
                      <a:gd name="connsiteX8" fmla="*/ 95360 w 95359"/>
                      <a:gd name="connsiteY8" fmla="*/ 88549 h 95359"/>
                      <a:gd name="connsiteX9" fmla="*/ 88549 w 95359"/>
                      <a:gd name="connsiteY9" fmla="*/ 95360 h 953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95359" h="95359">
                        <a:moveTo>
                          <a:pt x="88549" y="95360"/>
                        </a:moveTo>
                        <a:cubicBezTo>
                          <a:pt x="84787" y="95360"/>
                          <a:pt x="81737" y="92310"/>
                          <a:pt x="81737" y="88549"/>
                        </a:cubicBezTo>
                        <a:lnTo>
                          <a:pt x="81737" y="13623"/>
                        </a:lnTo>
                        <a:lnTo>
                          <a:pt x="6811" y="13623"/>
                        </a:lnTo>
                        <a:cubicBezTo>
                          <a:pt x="3050" y="13623"/>
                          <a:pt x="0" y="10573"/>
                          <a:pt x="0" y="6811"/>
                        </a:cubicBezTo>
                        <a:cubicBezTo>
                          <a:pt x="0" y="3050"/>
                          <a:pt x="3050" y="0"/>
                          <a:pt x="6811" y="0"/>
                        </a:cubicBezTo>
                        <a:lnTo>
                          <a:pt x="88549" y="0"/>
                        </a:lnTo>
                        <a:cubicBezTo>
                          <a:pt x="92310" y="0"/>
                          <a:pt x="95360" y="3050"/>
                          <a:pt x="95360" y="6811"/>
                        </a:cubicBezTo>
                        <a:lnTo>
                          <a:pt x="95360" y="88549"/>
                        </a:lnTo>
                        <a:cubicBezTo>
                          <a:pt x="95360" y="92310"/>
                          <a:pt x="92310" y="95360"/>
                          <a:pt x="88549" y="95360"/>
                        </a:cubicBezTo>
                        <a:close/>
                      </a:path>
                    </a:pathLst>
                  </a:custGeom>
                  <a:grpFill/>
                  <a:ln w="1344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07" name="Freeform: Shape 168">
                    <a:extLst>
                      <a:ext uri="{FF2B5EF4-FFF2-40B4-BE49-F238E27FC236}">
                        <a16:creationId xmlns:a16="http://schemas.microsoft.com/office/drawing/2014/main" id="{F767681B-0B47-DA11-62BF-140C3746B40D}"/>
                      </a:ext>
                    </a:extLst>
                  </p:cNvPr>
                  <p:cNvSpPr/>
                  <p:nvPr/>
                </p:nvSpPr>
                <p:spPr>
                  <a:xfrm>
                    <a:off x="5864412" y="3152586"/>
                    <a:ext cx="95360" cy="95360"/>
                  </a:xfrm>
                  <a:custGeom>
                    <a:avLst/>
                    <a:gdLst>
                      <a:gd name="connsiteX0" fmla="*/ 6811 w 95359"/>
                      <a:gd name="connsiteY0" fmla="*/ 95360 h 95359"/>
                      <a:gd name="connsiteX1" fmla="*/ 0 w 95359"/>
                      <a:gd name="connsiteY1" fmla="*/ 88549 h 95359"/>
                      <a:gd name="connsiteX2" fmla="*/ 0 w 95359"/>
                      <a:gd name="connsiteY2" fmla="*/ 6811 h 95359"/>
                      <a:gd name="connsiteX3" fmla="*/ 6811 w 95359"/>
                      <a:gd name="connsiteY3" fmla="*/ 0 h 95359"/>
                      <a:gd name="connsiteX4" fmla="*/ 88549 w 95359"/>
                      <a:gd name="connsiteY4" fmla="*/ 0 h 95359"/>
                      <a:gd name="connsiteX5" fmla="*/ 95360 w 95359"/>
                      <a:gd name="connsiteY5" fmla="*/ 6811 h 95359"/>
                      <a:gd name="connsiteX6" fmla="*/ 88549 w 95359"/>
                      <a:gd name="connsiteY6" fmla="*/ 13623 h 95359"/>
                      <a:gd name="connsiteX7" fmla="*/ 13623 w 95359"/>
                      <a:gd name="connsiteY7" fmla="*/ 13623 h 95359"/>
                      <a:gd name="connsiteX8" fmla="*/ 13623 w 95359"/>
                      <a:gd name="connsiteY8" fmla="*/ 88549 h 95359"/>
                      <a:gd name="connsiteX9" fmla="*/ 6811 w 95359"/>
                      <a:gd name="connsiteY9" fmla="*/ 95360 h 953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95359" h="95359">
                        <a:moveTo>
                          <a:pt x="6811" y="95360"/>
                        </a:moveTo>
                        <a:cubicBezTo>
                          <a:pt x="3050" y="95360"/>
                          <a:pt x="0" y="92310"/>
                          <a:pt x="0" y="88549"/>
                        </a:cubicBezTo>
                        <a:lnTo>
                          <a:pt x="0" y="6811"/>
                        </a:lnTo>
                        <a:cubicBezTo>
                          <a:pt x="0" y="3050"/>
                          <a:pt x="3050" y="0"/>
                          <a:pt x="6811" y="0"/>
                        </a:cubicBezTo>
                        <a:lnTo>
                          <a:pt x="88549" y="0"/>
                        </a:lnTo>
                        <a:cubicBezTo>
                          <a:pt x="92310" y="0"/>
                          <a:pt x="95360" y="3050"/>
                          <a:pt x="95360" y="6811"/>
                        </a:cubicBezTo>
                        <a:cubicBezTo>
                          <a:pt x="95360" y="10573"/>
                          <a:pt x="92310" y="13623"/>
                          <a:pt x="88549" y="13623"/>
                        </a:cubicBezTo>
                        <a:lnTo>
                          <a:pt x="13623" y="13623"/>
                        </a:lnTo>
                        <a:lnTo>
                          <a:pt x="13623" y="88549"/>
                        </a:lnTo>
                        <a:cubicBezTo>
                          <a:pt x="13623" y="92310"/>
                          <a:pt x="10573" y="95360"/>
                          <a:pt x="6811" y="95360"/>
                        </a:cubicBezTo>
                        <a:close/>
                      </a:path>
                    </a:pathLst>
                  </a:custGeom>
                  <a:grpFill/>
                  <a:ln w="1344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08" name="Freeform: Shape 169">
                    <a:extLst>
                      <a:ext uri="{FF2B5EF4-FFF2-40B4-BE49-F238E27FC236}">
                        <a16:creationId xmlns:a16="http://schemas.microsoft.com/office/drawing/2014/main" id="{13A3A597-C65B-27D7-A6E4-9C9ACEE0277C}"/>
                      </a:ext>
                    </a:extLst>
                  </p:cNvPr>
                  <p:cNvSpPr/>
                  <p:nvPr/>
                </p:nvSpPr>
                <p:spPr>
                  <a:xfrm>
                    <a:off x="6232229" y="3520403"/>
                    <a:ext cx="95360" cy="95360"/>
                  </a:xfrm>
                  <a:custGeom>
                    <a:avLst/>
                    <a:gdLst>
                      <a:gd name="connsiteX0" fmla="*/ 88549 w 95359"/>
                      <a:gd name="connsiteY0" fmla="*/ 95360 h 95359"/>
                      <a:gd name="connsiteX1" fmla="*/ 6811 w 95359"/>
                      <a:gd name="connsiteY1" fmla="*/ 95360 h 95359"/>
                      <a:gd name="connsiteX2" fmla="*/ 0 w 95359"/>
                      <a:gd name="connsiteY2" fmla="*/ 88549 h 95359"/>
                      <a:gd name="connsiteX3" fmla="*/ 6811 w 95359"/>
                      <a:gd name="connsiteY3" fmla="*/ 81737 h 95359"/>
                      <a:gd name="connsiteX4" fmla="*/ 81737 w 95359"/>
                      <a:gd name="connsiteY4" fmla="*/ 81737 h 95359"/>
                      <a:gd name="connsiteX5" fmla="*/ 81737 w 95359"/>
                      <a:gd name="connsiteY5" fmla="*/ 6811 h 95359"/>
                      <a:gd name="connsiteX6" fmla="*/ 88549 w 95359"/>
                      <a:gd name="connsiteY6" fmla="*/ 0 h 95359"/>
                      <a:gd name="connsiteX7" fmla="*/ 95360 w 95359"/>
                      <a:gd name="connsiteY7" fmla="*/ 6811 h 95359"/>
                      <a:gd name="connsiteX8" fmla="*/ 95360 w 95359"/>
                      <a:gd name="connsiteY8" fmla="*/ 88549 h 95359"/>
                      <a:gd name="connsiteX9" fmla="*/ 88549 w 95359"/>
                      <a:gd name="connsiteY9" fmla="*/ 95360 h 953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95359" h="95359">
                        <a:moveTo>
                          <a:pt x="88549" y="95360"/>
                        </a:moveTo>
                        <a:lnTo>
                          <a:pt x="6811" y="95360"/>
                        </a:lnTo>
                        <a:cubicBezTo>
                          <a:pt x="3050" y="95360"/>
                          <a:pt x="0" y="92310"/>
                          <a:pt x="0" y="88549"/>
                        </a:cubicBezTo>
                        <a:cubicBezTo>
                          <a:pt x="0" y="84787"/>
                          <a:pt x="3050" y="81737"/>
                          <a:pt x="6811" y="81737"/>
                        </a:cubicBezTo>
                        <a:lnTo>
                          <a:pt x="81737" y="81737"/>
                        </a:lnTo>
                        <a:lnTo>
                          <a:pt x="81737" y="6811"/>
                        </a:lnTo>
                        <a:cubicBezTo>
                          <a:pt x="81737" y="3050"/>
                          <a:pt x="84787" y="0"/>
                          <a:pt x="88549" y="0"/>
                        </a:cubicBezTo>
                        <a:cubicBezTo>
                          <a:pt x="92310" y="0"/>
                          <a:pt x="95360" y="3050"/>
                          <a:pt x="95360" y="6811"/>
                        </a:cubicBezTo>
                        <a:lnTo>
                          <a:pt x="95360" y="88549"/>
                        </a:lnTo>
                        <a:cubicBezTo>
                          <a:pt x="95360" y="92310"/>
                          <a:pt x="92310" y="95360"/>
                          <a:pt x="88549" y="95360"/>
                        </a:cubicBezTo>
                        <a:close/>
                      </a:path>
                    </a:pathLst>
                  </a:custGeom>
                  <a:grpFill/>
                  <a:ln w="1344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09" name="Freeform: Shape 170">
                    <a:extLst>
                      <a:ext uri="{FF2B5EF4-FFF2-40B4-BE49-F238E27FC236}">
                        <a16:creationId xmlns:a16="http://schemas.microsoft.com/office/drawing/2014/main" id="{840EF555-0FF6-CDB6-0A4A-54C83BAC8667}"/>
                      </a:ext>
                    </a:extLst>
                  </p:cNvPr>
                  <p:cNvSpPr/>
                  <p:nvPr/>
                </p:nvSpPr>
                <p:spPr>
                  <a:xfrm>
                    <a:off x="5864412" y="3520403"/>
                    <a:ext cx="95360" cy="95360"/>
                  </a:xfrm>
                  <a:custGeom>
                    <a:avLst/>
                    <a:gdLst>
                      <a:gd name="connsiteX0" fmla="*/ 88549 w 95359"/>
                      <a:gd name="connsiteY0" fmla="*/ 95360 h 95359"/>
                      <a:gd name="connsiteX1" fmla="*/ 6811 w 95359"/>
                      <a:gd name="connsiteY1" fmla="*/ 95360 h 95359"/>
                      <a:gd name="connsiteX2" fmla="*/ 0 w 95359"/>
                      <a:gd name="connsiteY2" fmla="*/ 88549 h 95359"/>
                      <a:gd name="connsiteX3" fmla="*/ 0 w 95359"/>
                      <a:gd name="connsiteY3" fmla="*/ 6811 h 95359"/>
                      <a:gd name="connsiteX4" fmla="*/ 6811 w 95359"/>
                      <a:gd name="connsiteY4" fmla="*/ 0 h 95359"/>
                      <a:gd name="connsiteX5" fmla="*/ 13623 w 95359"/>
                      <a:gd name="connsiteY5" fmla="*/ 6811 h 95359"/>
                      <a:gd name="connsiteX6" fmla="*/ 13623 w 95359"/>
                      <a:gd name="connsiteY6" fmla="*/ 81737 h 95359"/>
                      <a:gd name="connsiteX7" fmla="*/ 88549 w 95359"/>
                      <a:gd name="connsiteY7" fmla="*/ 81737 h 95359"/>
                      <a:gd name="connsiteX8" fmla="*/ 95360 w 95359"/>
                      <a:gd name="connsiteY8" fmla="*/ 88549 h 95359"/>
                      <a:gd name="connsiteX9" fmla="*/ 88549 w 95359"/>
                      <a:gd name="connsiteY9" fmla="*/ 95360 h 953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95359" h="95359">
                        <a:moveTo>
                          <a:pt x="88549" y="95360"/>
                        </a:moveTo>
                        <a:lnTo>
                          <a:pt x="6811" y="95360"/>
                        </a:lnTo>
                        <a:cubicBezTo>
                          <a:pt x="3050" y="95360"/>
                          <a:pt x="0" y="92310"/>
                          <a:pt x="0" y="88549"/>
                        </a:cubicBezTo>
                        <a:lnTo>
                          <a:pt x="0" y="6811"/>
                        </a:lnTo>
                        <a:cubicBezTo>
                          <a:pt x="0" y="3050"/>
                          <a:pt x="3050" y="0"/>
                          <a:pt x="6811" y="0"/>
                        </a:cubicBezTo>
                        <a:cubicBezTo>
                          <a:pt x="10573" y="0"/>
                          <a:pt x="13623" y="3050"/>
                          <a:pt x="13623" y="6811"/>
                        </a:cubicBezTo>
                        <a:lnTo>
                          <a:pt x="13623" y="81737"/>
                        </a:lnTo>
                        <a:lnTo>
                          <a:pt x="88549" y="81737"/>
                        </a:lnTo>
                        <a:cubicBezTo>
                          <a:pt x="92310" y="81737"/>
                          <a:pt x="95360" y="84787"/>
                          <a:pt x="95360" y="88549"/>
                        </a:cubicBezTo>
                        <a:cubicBezTo>
                          <a:pt x="95360" y="92310"/>
                          <a:pt x="92310" y="95360"/>
                          <a:pt x="88549" y="95360"/>
                        </a:cubicBezTo>
                        <a:close/>
                      </a:path>
                    </a:pathLst>
                  </a:custGeom>
                  <a:grpFill/>
                  <a:ln w="1344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Ubuntu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191" name="Group 190">
                <a:extLst>
                  <a:ext uri="{FF2B5EF4-FFF2-40B4-BE49-F238E27FC236}">
                    <a16:creationId xmlns:a16="http://schemas.microsoft.com/office/drawing/2014/main" id="{47D0017C-30B2-0C4F-9AED-09C6D2E23761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7560920" y="1366996"/>
                <a:ext cx="486842" cy="486842"/>
                <a:chOff x="7382619" y="1700808"/>
                <a:chExt cx="432048" cy="432048"/>
              </a:xfrm>
            </p:grpSpPr>
            <p:sp>
              <p:nvSpPr>
                <p:cNvPr id="198" name="Oval 197">
                  <a:extLst>
                    <a:ext uri="{FF2B5EF4-FFF2-40B4-BE49-F238E27FC236}">
                      <a16:creationId xmlns:a16="http://schemas.microsoft.com/office/drawing/2014/main" id="{4C0650F3-FAEB-72DB-9A67-7F2E65E6AA52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382619" y="1700808"/>
                  <a:ext cx="432048" cy="432048"/>
                </a:xfrm>
                <a:prstGeom prst="ellipse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600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Ubuntu"/>
                    <a:ea typeface="+mn-ea"/>
                    <a:cs typeface="+mn-cs"/>
                  </a:endParaRPr>
                </a:p>
              </p:txBody>
            </p:sp>
            <p:sp>
              <p:nvSpPr>
                <p:cNvPr id="199" name="Graphic 3">
                  <a:extLst>
                    <a:ext uri="{FF2B5EF4-FFF2-40B4-BE49-F238E27FC236}">
                      <a16:creationId xmlns:a16="http://schemas.microsoft.com/office/drawing/2014/main" id="{8872D640-5BE7-ABFE-AFD5-FB43D9648895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430277" y="1787847"/>
                  <a:ext cx="336734" cy="257969"/>
                </a:xfrm>
                <a:custGeom>
                  <a:avLst/>
                  <a:gdLst>
                    <a:gd name="connsiteX0" fmla="*/ 1949017 w 1949016"/>
                    <a:gd name="connsiteY0" fmla="*/ 645190 h 1478560"/>
                    <a:gd name="connsiteX1" fmla="*/ 1841485 w 1949016"/>
                    <a:gd name="connsiteY1" fmla="*/ 598145 h 1478560"/>
                    <a:gd name="connsiteX2" fmla="*/ 1841485 w 1949016"/>
                    <a:gd name="connsiteY2" fmla="*/ 598145 h 1478560"/>
                    <a:gd name="connsiteX3" fmla="*/ 1707070 w 1949016"/>
                    <a:gd name="connsiteY3" fmla="*/ 678794 h 1478560"/>
                    <a:gd name="connsiteX4" fmla="*/ 1666745 w 1949016"/>
                    <a:gd name="connsiteY4" fmla="*/ 678794 h 1478560"/>
                    <a:gd name="connsiteX5" fmla="*/ 1666745 w 1949016"/>
                    <a:gd name="connsiteY5" fmla="*/ 349478 h 1478560"/>
                    <a:gd name="connsiteX6" fmla="*/ 1646583 w 1949016"/>
                    <a:gd name="connsiteY6" fmla="*/ 329316 h 1478560"/>
                    <a:gd name="connsiteX7" fmla="*/ 1646583 w 1949016"/>
                    <a:gd name="connsiteY7" fmla="*/ 329316 h 1478560"/>
                    <a:gd name="connsiteX8" fmla="*/ 1303825 w 1949016"/>
                    <a:gd name="connsiteY8" fmla="*/ 329316 h 1478560"/>
                    <a:gd name="connsiteX9" fmla="*/ 1283663 w 1949016"/>
                    <a:gd name="connsiteY9" fmla="*/ 349478 h 1478560"/>
                    <a:gd name="connsiteX10" fmla="*/ 1283663 w 1949016"/>
                    <a:gd name="connsiteY10" fmla="*/ 349478 h 1478560"/>
                    <a:gd name="connsiteX11" fmla="*/ 1283663 w 1949016"/>
                    <a:gd name="connsiteY11" fmla="*/ 349478 h 1478560"/>
                    <a:gd name="connsiteX12" fmla="*/ 1283663 w 1949016"/>
                    <a:gd name="connsiteY12" fmla="*/ 423406 h 1478560"/>
                    <a:gd name="connsiteX13" fmla="*/ 1283663 w 1949016"/>
                    <a:gd name="connsiteY13" fmla="*/ 423406 h 1478560"/>
                    <a:gd name="connsiteX14" fmla="*/ 1297104 w 1949016"/>
                    <a:gd name="connsiteY14" fmla="*/ 450289 h 1478560"/>
                    <a:gd name="connsiteX15" fmla="*/ 1364312 w 1949016"/>
                    <a:gd name="connsiteY15" fmla="*/ 551100 h 1478560"/>
                    <a:gd name="connsiteX16" fmla="*/ 1330708 w 1949016"/>
                    <a:gd name="connsiteY16" fmla="*/ 631749 h 1478560"/>
                    <a:gd name="connsiteX17" fmla="*/ 1250059 w 1949016"/>
                    <a:gd name="connsiteY17" fmla="*/ 665352 h 1478560"/>
                    <a:gd name="connsiteX18" fmla="*/ 1135806 w 1949016"/>
                    <a:gd name="connsiteY18" fmla="*/ 551100 h 1478560"/>
                    <a:gd name="connsiteX19" fmla="*/ 1209734 w 1949016"/>
                    <a:gd name="connsiteY19" fmla="*/ 443568 h 1478560"/>
                    <a:gd name="connsiteX20" fmla="*/ 1223176 w 1949016"/>
                    <a:gd name="connsiteY20" fmla="*/ 423406 h 1478560"/>
                    <a:gd name="connsiteX21" fmla="*/ 1223176 w 1949016"/>
                    <a:gd name="connsiteY21" fmla="*/ 349478 h 1478560"/>
                    <a:gd name="connsiteX22" fmla="*/ 1223176 w 1949016"/>
                    <a:gd name="connsiteY22" fmla="*/ 349478 h 1478560"/>
                    <a:gd name="connsiteX23" fmla="*/ 1223176 w 1949016"/>
                    <a:gd name="connsiteY23" fmla="*/ 349478 h 1478560"/>
                    <a:gd name="connsiteX24" fmla="*/ 1182852 w 1949016"/>
                    <a:gd name="connsiteY24" fmla="*/ 336037 h 1478560"/>
                    <a:gd name="connsiteX25" fmla="*/ 1182852 w 1949016"/>
                    <a:gd name="connsiteY25" fmla="*/ 336037 h 1478560"/>
                    <a:gd name="connsiteX26" fmla="*/ 826652 w 1949016"/>
                    <a:gd name="connsiteY26" fmla="*/ 336037 h 1478560"/>
                    <a:gd name="connsiteX27" fmla="*/ 826652 w 1949016"/>
                    <a:gd name="connsiteY27" fmla="*/ 336037 h 1478560"/>
                    <a:gd name="connsiteX28" fmla="*/ 826652 w 1949016"/>
                    <a:gd name="connsiteY28" fmla="*/ 336037 h 1478560"/>
                    <a:gd name="connsiteX29" fmla="*/ 497335 w 1949016"/>
                    <a:gd name="connsiteY29" fmla="*/ 336037 h 1478560"/>
                    <a:gd name="connsiteX30" fmla="*/ 497335 w 1949016"/>
                    <a:gd name="connsiteY30" fmla="*/ 295712 h 1478560"/>
                    <a:gd name="connsiteX31" fmla="*/ 584705 w 1949016"/>
                    <a:gd name="connsiteY31" fmla="*/ 154577 h 1478560"/>
                    <a:gd name="connsiteX32" fmla="*/ 537660 w 1949016"/>
                    <a:gd name="connsiteY32" fmla="*/ 47045 h 1478560"/>
                    <a:gd name="connsiteX33" fmla="*/ 423407 w 1949016"/>
                    <a:gd name="connsiteY33" fmla="*/ 0 h 1478560"/>
                    <a:gd name="connsiteX34" fmla="*/ 423407 w 1949016"/>
                    <a:gd name="connsiteY34" fmla="*/ 0 h 1478560"/>
                    <a:gd name="connsiteX35" fmla="*/ 268830 w 1949016"/>
                    <a:gd name="connsiteY35" fmla="*/ 154577 h 1478560"/>
                    <a:gd name="connsiteX36" fmla="*/ 349479 w 1949016"/>
                    <a:gd name="connsiteY36" fmla="*/ 288991 h 1478560"/>
                    <a:gd name="connsiteX37" fmla="*/ 349479 w 1949016"/>
                    <a:gd name="connsiteY37" fmla="*/ 329316 h 1478560"/>
                    <a:gd name="connsiteX38" fmla="*/ 20162 w 1949016"/>
                    <a:gd name="connsiteY38" fmla="*/ 336037 h 1478560"/>
                    <a:gd name="connsiteX39" fmla="*/ 0 w 1949016"/>
                    <a:gd name="connsiteY39" fmla="*/ 356199 h 1478560"/>
                    <a:gd name="connsiteX40" fmla="*/ 0 w 1949016"/>
                    <a:gd name="connsiteY40" fmla="*/ 698956 h 1478560"/>
                    <a:gd name="connsiteX41" fmla="*/ 20162 w 1949016"/>
                    <a:gd name="connsiteY41" fmla="*/ 719118 h 1478560"/>
                    <a:gd name="connsiteX42" fmla="*/ 20162 w 1949016"/>
                    <a:gd name="connsiteY42" fmla="*/ 719118 h 1478560"/>
                    <a:gd name="connsiteX43" fmla="*/ 20162 w 1949016"/>
                    <a:gd name="connsiteY43" fmla="*/ 719118 h 1478560"/>
                    <a:gd name="connsiteX44" fmla="*/ 20162 w 1949016"/>
                    <a:gd name="connsiteY44" fmla="*/ 719118 h 1478560"/>
                    <a:gd name="connsiteX45" fmla="*/ 94090 w 1949016"/>
                    <a:gd name="connsiteY45" fmla="*/ 719118 h 1478560"/>
                    <a:gd name="connsiteX46" fmla="*/ 94090 w 1949016"/>
                    <a:gd name="connsiteY46" fmla="*/ 719118 h 1478560"/>
                    <a:gd name="connsiteX47" fmla="*/ 120973 w 1949016"/>
                    <a:gd name="connsiteY47" fmla="*/ 705677 h 1478560"/>
                    <a:gd name="connsiteX48" fmla="*/ 221785 w 1949016"/>
                    <a:gd name="connsiteY48" fmla="*/ 638469 h 1478560"/>
                    <a:gd name="connsiteX49" fmla="*/ 221785 w 1949016"/>
                    <a:gd name="connsiteY49" fmla="*/ 638469 h 1478560"/>
                    <a:gd name="connsiteX50" fmla="*/ 336037 w 1949016"/>
                    <a:gd name="connsiteY50" fmla="*/ 752722 h 1478560"/>
                    <a:gd name="connsiteX51" fmla="*/ 221785 w 1949016"/>
                    <a:gd name="connsiteY51" fmla="*/ 873695 h 1478560"/>
                    <a:gd name="connsiteX52" fmla="*/ 221785 w 1949016"/>
                    <a:gd name="connsiteY52" fmla="*/ 873695 h 1478560"/>
                    <a:gd name="connsiteX53" fmla="*/ 114253 w 1949016"/>
                    <a:gd name="connsiteY53" fmla="*/ 799767 h 1478560"/>
                    <a:gd name="connsiteX54" fmla="*/ 94090 w 1949016"/>
                    <a:gd name="connsiteY54" fmla="*/ 786325 h 1478560"/>
                    <a:gd name="connsiteX55" fmla="*/ 20162 w 1949016"/>
                    <a:gd name="connsiteY55" fmla="*/ 786325 h 1478560"/>
                    <a:gd name="connsiteX56" fmla="*/ 20162 w 1949016"/>
                    <a:gd name="connsiteY56" fmla="*/ 786325 h 1478560"/>
                    <a:gd name="connsiteX57" fmla="*/ 20162 w 1949016"/>
                    <a:gd name="connsiteY57" fmla="*/ 786325 h 1478560"/>
                    <a:gd name="connsiteX58" fmla="*/ 20162 w 1949016"/>
                    <a:gd name="connsiteY58" fmla="*/ 786325 h 1478560"/>
                    <a:gd name="connsiteX59" fmla="*/ 20162 w 1949016"/>
                    <a:gd name="connsiteY59" fmla="*/ 786325 h 1478560"/>
                    <a:gd name="connsiteX60" fmla="*/ 0 w 1949016"/>
                    <a:gd name="connsiteY60" fmla="*/ 806488 h 1478560"/>
                    <a:gd name="connsiteX61" fmla="*/ 0 w 1949016"/>
                    <a:gd name="connsiteY61" fmla="*/ 1162686 h 1478560"/>
                    <a:gd name="connsiteX62" fmla="*/ 20162 w 1949016"/>
                    <a:gd name="connsiteY62" fmla="*/ 1182849 h 1478560"/>
                    <a:gd name="connsiteX63" fmla="*/ 20162 w 1949016"/>
                    <a:gd name="connsiteY63" fmla="*/ 1182849 h 1478560"/>
                    <a:gd name="connsiteX64" fmla="*/ 356200 w 1949016"/>
                    <a:gd name="connsiteY64" fmla="*/ 1182849 h 1478560"/>
                    <a:gd name="connsiteX65" fmla="*/ 356200 w 1949016"/>
                    <a:gd name="connsiteY65" fmla="*/ 1223173 h 1478560"/>
                    <a:gd name="connsiteX66" fmla="*/ 268830 w 1949016"/>
                    <a:gd name="connsiteY66" fmla="*/ 1364308 h 1478560"/>
                    <a:gd name="connsiteX67" fmla="*/ 315875 w 1949016"/>
                    <a:gd name="connsiteY67" fmla="*/ 1471840 h 1478560"/>
                    <a:gd name="connsiteX68" fmla="*/ 423407 w 1949016"/>
                    <a:gd name="connsiteY68" fmla="*/ 1518885 h 1478560"/>
                    <a:gd name="connsiteX69" fmla="*/ 423407 w 1949016"/>
                    <a:gd name="connsiteY69" fmla="*/ 1518885 h 1478560"/>
                    <a:gd name="connsiteX70" fmla="*/ 537660 w 1949016"/>
                    <a:gd name="connsiteY70" fmla="*/ 1478561 h 1478560"/>
                    <a:gd name="connsiteX71" fmla="*/ 584705 w 1949016"/>
                    <a:gd name="connsiteY71" fmla="*/ 1371029 h 1478560"/>
                    <a:gd name="connsiteX72" fmla="*/ 510777 w 1949016"/>
                    <a:gd name="connsiteY72" fmla="*/ 1236614 h 1478560"/>
                    <a:gd name="connsiteX73" fmla="*/ 510777 w 1949016"/>
                    <a:gd name="connsiteY73" fmla="*/ 1189569 h 1478560"/>
                    <a:gd name="connsiteX74" fmla="*/ 833373 w 1949016"/>
                    <a:gd name="connsiteY74" fmla="*/ 1189569 h 1478560"/>
                    <a:gd name="connsiteX75" fmla="*/ 833373 w 1949016"/>
                    <a:gd name="connsiteY75" fmla="*/ 1189569 h 1478560"/>
                    <a:gd name="connsiteX76" fmla="*/ 833373 w 1949016"/>
                    <a:gd name="connsiteY76" fmla="*/ 1189569 h 1478560"/>
                    <a:gd name="connsiteX77" fmla="*/ 1189572 w 1949016"/>
                    <a:gd name="connsiteY77" fmla="*/ 1189569 h 1478560"/>
                    <a:gd name="connsiteX78" fmla="*/ 1203014 w 1949016"/>
                    <a:gd name="connsiteY78" fmla="*/ 1182849 h 1478560"/>
                    <a:gd name="connsiteX79" fmla="*/ 1209734 w 1949016"/>
                    <a:gd name="connsiteY79" fmla="*/ 1169407 h 1478560"/>
                    <a:gd name="connsiteX80" fmla="*/ 1209734 w 1949016"/>
                    <a:gd name="connsiteY80" fmla="*/ 1095479 h 1478560"/>
                    <a:gd name="connsiteX81" fmla="*/ 1196293 w 1949016"/>
                    <a:gd name="connsiteY81" fmla="*/ 1075317 h 1478560"/>
                    <a:gd name="connsiteX82" fmla="*/ 1122365 w 1949016"/>
                    <a:gd name="connsiteY82" fmla="*/ 967785 h 1478560"/>
                    <a:gd name="connsiteX83" fmla="*/ 1155969 w 1949016"/>
                    <a:gd name="connsiteY83" fmla="*/ 887136 h 1478560"/>
                    <a:gd name="connsiteX84" fmla="*/ 1236617 w 1949016"/>
                    <a:gd name="connsiteY84" fmla="*/ 853533 h 1478560"/>
                    <a:gd name="connsiteX85" fmla="*/ 1236617 w 1949016"/>
                    <a:gd name="connsiteY85" fmla="*/ 853533 h 1478560"/>
                    <a:gd name="connsiteX86" fmla="*/ 1317266 w 1949016"/>
                    <a:gd name="connsiteY86" fmla="*/ 887136 h 1478560"/>
                    <a:gd name="connsiteX87" fmla="*/ 1350870 w 1949016"/>
                    <a:gd name="connsiteY87" fmla="*/ 967785 h 1478560"/>
                    <a:gd name="connsiteX88" fmla="*/ 1283663 w 1949016"/>
                    <a:gd name="connsiteY88" fmla="*/ 1068596 h 1478560"/>
                    <a:gd name="connsiteX89" fmla="*/ 1270221 w 1949016"/>
                    <a:gd name="connsiteY89" fmla="*/ 1088758 h 1478560"/>
                    <a:gd name="connsiteX90" fmla="*/ 1270221 w 1949016"/>
                    <a:gd name="connsiteY90" fmla="*/ 1162686 h 1478560"/>
                    <a:gd name="connsiteX91" fmla="*/ 1276942 w 1949016"/>
                    <a:gd name="connsiteY91" fmla="*/ 1176128 h 1478560"/>
                    <a:gd name="connsiteX92" fmla="*/ 1290383 w 1949016"/>
                    <a:gd name="connsiteY92" fmla="*/ 1182849 h 1478560"/>
                    <a:gd name="connsiteX93" fmla="*/ 1290383 w 1949016"/>
                    <a:gd name="connsiteY93" fmla="*/ 1182849 h 1478560"/>
                    <a:gd name="connsiteX94" fmla="*/ 1633141 w 1949016"/>
                    <a:gd name="connsiteY94" fmla="*/ 1182849 h 1478560"/>
                    <a:gd name="connsiteX95" fmla="*/ 1653304 w 1949016"/>
                    <a:gd name="connsiteY95" fmla="*/ 1162686 h 1478560"/>
                    <a:gd name="connsiteX96" fmla="*/ 1653304 w 1949016"/>
                    <a:gd name="connsiteY96" fmla="*/ 833371 h 1478560"/>
                    <a:gd name="connsiteX97" fmla="*/ 1693628 w 1949016"/>
                    <a:gd name="connsiteY97" fmla="*/ 833371 h 1478560"/>
                    <a:gd name="connsiteX98" fmla="*/ 1828043 w 1949016"/>
                    <a:gd name="connsiteY98" fmla="*/ 914019 h 1478560"/>
                    <a:gd name="connsiteX99" fmla="*/ 1828043 w 1949016"/>
                    <a:gd name="connsiteY99" fmla="*/ 914019 h 1478560"/>
                    <a:gd name="connsiteX100" fmla="*/ 1935575 w 1949016"/>
                    <a:gd name="connsiteY100" fmla="*/ 866974 h 1478560"/>
                    <a:gd name="connsiteX101" fmla="*/ 1982620 w 1949016"/>
                    <a:gd name="connsiteY101" fmla="*/ 759443 h 1478560"/>
                    <a:gd name="connsiteX102" fmla="*/ 1949017 w 1949016"/>
                    <a:gd name="connsiteY102" fmla="*/ 645190 h 1478560"/>
                    <a:gd name="connsiteX103" fmla="*/ 483894 w 1949016"/>
                    <a:gd name="connsiteY103" fmla="*/ 1142524 h 1478560"/>
                    <a:gd name="connsiteX104" fmla="*/ 463732 w 1949016"/>
                    <a:gd name="connsiteY104" fmla="*/ 1162686 h 1478560"/>
                    <a:gd name="connsiteX105" fmla="*/ 463732 w 1949016"/>
                    <a:gd name="connsiteY105" fmla="*/ 1162686 h 1478560"/>
                    <a:gd name="connsiteX106" fmla="*/ 463732 w 1949016"/>
                    <a:gd name="connsiteY106" fmla="*/ 1162686 h 1478560"/>
                    <a:gd name="connsiteX107" fmla="*/ 463732 w 1949016"/>
                    <a:gd name="connsiteY107" fmla="*/ 1236614 h 1478560"/>
                    <a:gd name="connsiteX108" fmla="*/ 463732 w 1949016"/>
                    <a:gd name="connsiteY108" fmla="*/ 1236614 h 1478560"/>
                    <a:gd name="connsiteX109" fmla="*/ 477173 w 1949016"/>
                    <a:gd name="connsiteY109" fmla="*/ 1263497 h 1478560"/>
                    <a:gd name="connsiteX110" fmla="*/ 544381 w 1949016"/>
                    <a:gd name="connsiteY110" fmla="*/ 1364308 h 1478560"/>
                    <a:gd name="connsiteX111" fmla="*/ 510777 w 1949016"/>
                    <a:gd name="connsiteY111" fmla="*/ 1444957 h 1478560"/>
                    <a:gd name="connsiteX112" fmla="*/ 423407 w 1949016"/>
                    <a:gd name="connsiteY112" fmla="*/ 1478561 h 1478560"/>
                    <a:gd name="connsiteX113" fmla="*/ 423407 w 1949016"/>
                    <a:gd name="connsiteY113" fmla="*/ 1478561 h 1478560"/>
                    <a:gd name="connsiteX114" fmla="*/ 342758 w 1949016"/>
                    <a:gd name="connsiteY114" fmla="*/ 1444957 h 1478560"/>
                    <a:gd name="connsiteX115" fmla="*/ 309154 w 1949016"/>
                    <a:gd name="connsiteY115" fmla="*/ 1364308 h 1478560"/>
                    <a:gd name="connsiteX116" fmla="*/ 383083 w 1949016"/>
                    <a:gd name="connsiteY116" fmla="*/ 1256777 h 1478560"/>
                    <a:gd name="connsiteX117" fmla="*/ 396524 w 1949016"/>
                    <a:gd name="connsiteY117" fmla="*/ 1236614 h 1478560"/>
                    <a:gd name="connsiteX118" fmla="*/ 396524 w 1949016"/>
                    <a:gd name="connsiteY118" fmla="*/ 1162686 h 1478560"/>
                    <a:gd name="connsiteX119" fmla="*/ 396524 w 1949016"/>
                    <a:gd name="connsiteY119" fmla="*/ 1162686 h 1478560"/>
                    <a:gd name="connsiteX120" fmla="*/ 396524 w 1949016"/>
                    <a:gd name="connsiteY120" fmla="*/ 1162686 h 1478560"/>
                    <a:gd name="connsiteX121" fmla="*/ 376362 w 1949016"/>
                    <a:gd name="connsiteY121" fmla="*/ 1142524 h 1478560"/>
                    <a:gd name="connsiteX122" fmla="*/ 376362 w 1949016"/>
                    <a:gd name="connsiteY122" fmla="*/ 1142524 h 1478560"/>
                    <a:gd name="connsiteX123" fmla="*/ 40324 w 1949016"/>
                    <a:gd name="connsiteY123" fmla="*/ 1142524 h 1478560"/>
                    <a:gd name="connsiteX124" fmla="*/ 40324 w 1949016"/>
                    <a:gd name="connsiteY124" fmla="*/ 833371 h 1478560"/>
                    <a:gd name="connsiteX125" fmla="*/ 80649 w 1949016"/>
                    <a:gd name="connsiteY125" fmla="*/ 833371 h 1478560"/>
                    <a:gd name="connsiteX126" fmla="*/ 221785 w 1949016"/>
                    <a:gd name="connsiteY126" fmla="*/ 920740 h 1478560"/>
                    <a:gd name="connsiteX127" fmla="*/ 221785 w 1949016"/>
                    <a:gd name="connsiteY127" fmla="*/ 920740 h 1478560"/>
                    <a:gd name="connsiteX128" fmla="*/ 376362 w 1949016"/>
                    <a:gd name="connsiteY128" fmla="*/ 766163 h 1478560"/>
                    <a:gd name="connsiteX129" fmla="*/ 221785 w 1949016"/>
                    <a:gd name="connsiteY129" fmla="*/ 604866 h 1478560"/>
                    <a:gd name="connsiteX130" fmla="*/ 221785 w 1949016"/>
                    <a:gd name="connsiteY130" fmla="*/ 604866 h 1478560"/>
                    <a:gd name="connsiteX131" fmla="*/ 87370 w 1949016"/>
                    <a:gd name="connsiteY131" fmla="*/ 678794 h 1478560"/>
                    <a:gd name="connsiteX132" fmla="*/ 40324 w 1949016"/>
                    <a:gd name="connsiteY132" fmla="*/ 678794 h 1478560"/>
                    <a:gd name="connsiteX133" fmla="*/ 40324 w 1949016"/>
                    <a:gd name="connsiteY133" fmla="*/ 376361 h 1478560"/>
                    <a:gd name="connsiteX134" fmla="*/ 369641 w 1949016"/>
                    <a:gd name="connsiteY134" fmla="*/ 376361 h 1478560"/>
                    <a:gd name="connsiteX135" fmla="*/ 383083 w 1949016"/>
                    <a:gd name="connsiteY135" fmla="*/ 369640 h 1478560"/>
                    <a:gd name="connsiteX136" fmla="*/ 389803 w 1949016"/>
                    <a:gd name="connsiteY136" fmla="*/ 356199 h 1478560"/>
                    <a:gd name="connsiteX137" fmla="*/ 389803 w 1949016"/>
                    <a:gd name="connsiteY137" fmla="*/ 275550 h 1478560"/>
                    <a:gd name="connsiteX138" fmla="*/ 376362 w 1949016"/>
                    <a:gd name="connsiteY138" fmla="*/ 255388 h 1478560"/>
                    <a:gd name="connsiteX139" fmla="*/ 309154 w 1949016"/>
                    <a:gd name="connsiteY139" fmla="*/ 154577 h 1478560"/>
                    <a:gd name="connsiteX140" fmla="*/ 423407 w 1949016"/>
                    <a:gd name="connsiteY140" fmla="*/ 40324 h 1478560"/>
                    <a:gd name="connsiteX141" fmla="*/ 504056 w 1949016"/>
                    <a:gd name="connsiteY141" fmla="*/ 73928 h 1478560"/>
                    <a:gd name="connsiteX142" fmla="*/ 537660 w 1949016"/>
                    <a:gd name="connsiteY142" fmla="*/ 154577 h 1478560"/>
                    <a:gd name="connsiteX143" fmla="*/ 470452 w 1949016"/>
                    <a:gd name="connsiteY143" fmla="*/ 262109 h 1478560"/>
                    <a:gd name="connsiteX144" fmla="*/ 457011 w 1949016"/>
                    <a:gd name="connsiteY144" fmla="*/ 282271 h 1478560"/>
                    <a:gd name="connsiteX145" fmla="*/ 457011 w 1949016"/>
                    <a:gd name="connsiteY145" fmla="*/ 362919 h 1478560"/>
                    <a:gd name="connsiteX146" fmla="*/ 477173 w 1949016"/>
                    <a:gd name="connsiteY146" fmla="*/ 383082 h 1478560"/>
                    <a:gd name="connsiteX147" fmla="*/ 477173 w 1949016"/>
                    <a:gd name="connsiteY147" fmla="*/ 383082 h 1478560"/>
                    <a:gd name="connsiteX148" fmla="*/ 806490 w 1949016"/>
                    <a:gd name="connsiteY148" fmla="*/ 383082 h 1478560"/>
                    <a:gd name="connsiteX149" fmla="*/ 806490 w 1949016"/>
                    <a:gd name="connsiteY149" fmla="*/ 631749 h 1478560"/>
                    <a:gd name="connsiteX150" fmla="*/ 806490 w 1949016"/>
                    <a:gd name="connsiteY150" fmla="*/ 685515 h 1478560"/>
                    <a:gd name="connsiteX151" fmla="*/ 766165 w 1949016"/>
                    <a:gd name="connsiteY151" fmla="*/ 685515 h 1478560"/>
                    <a:gd name="connsiteX152" fmla="*/ 631750 w 1949016"/>
                    <a:gd name="connsiteY152" fmla="*/ 604866 h 1478560"/>
                    <a:gd name="connsiteX153" fmla="*/ 631750 w 1949016"/>
                    <a:gd name="connsiteY153" fmla="*/ 604866 h 1478560"/>
                    <a:gd name="connsiteX154" fmla="*/ 517497 w 1949016"/>
                    <a:gd name="connsiteY154" fmla="*/ 651911 h 1478560"/>
                    <a:gd name="connsiteX155" fmla="*/ 470452 w 1949016"/>
                    <a:gd name="connsiteY155" fmla="*/ 759443 h 1478560"/>
                    <a:gd name="connsiteX156" fmla="*/ 517497 w 1949016"/>
                    <a:gd name="connsiteY156" fmla="*/ 866974 h 1478560"/>
                    <a:gd name="connsiteX157" fmla="*/ 625029 w 1949016"/>
                    <a:gd name="connsiteY157" fmla="*/ 914019 h 1478560"/>
                    <a:gd name="connsiteX158" fmla="*/ 625029 w 1949016"/>
                    <a:gd name="connsiteY158" fmla="*/ 914019 h 1478560"/>
                    <a:gd name="connsiteX159" fmla="*/ 766165 w 1949016"/>
                    <a:gd name="connsiteY159" fmla="*/ 826650 h 1478560"/>
                    <a:gd name="connsiteX160" fmla="*/ 799769 w 1949016"/>
                    <a:gd name="connsiteY160" fmla="*/ 826650 h 1478560"/>
                    <a:gd name="connsiteX161" fmla="*/ 799769 w 1949016"/>
                    <a:gd name="connsiteY161" fmla="*/ 1135803 h 1478560"/>
                    <a:gd name="connsiteX162" fmla="*/ 483894 w 1949016"/>
                    <a:gd name="connsiteY162" fmla="*/ 1142524 h 1478560"/>
                    <a:gd name="connsiteX163" fmla="*/ 1915413 w 1949016"/>
                    <a:gd name="connsiteY163" fmla="*/ 840091 h 1478560"/>
                    <a:gd name="connsiteX164" fmla="*/ 1834764 w 1949016"/>
                    <a:gd name="connsiteY164" fmla="*/ 873695 h 1478560"/>
                    <a:gd name="connsiteX165" fmla="*/ 1834764 w 1949016"/>
                    <a:gd name="connsiteY165" fmla="*/ 873695 h 1478560"/>
                    <a:gd name="connsiteX166" fmla="*/ 1733953 w 1949016"/>
                    <a:gd name="connsiteY166" fmla="*/ 806488 h 1478560"/>
                    <a:gd name="connsiteX167" fmla="*/ 1713790 w 1949016"/>
                    <a:gd name="connsiteY167" fmla="*/ 793046 h 1478560"/>
                    <a:gd name="connsiteX168" fmla="*/ 1713790 w 1949016"/>
                    <a:gd name="connsiteY168" fmla="*/ 793046 h 1478560"/>
                    <a:gd name="connsiteX169" fmla="*/ 1633141 w 1949016"/>
                    <a:gd name="connsiteY169" fmla="*/ 793046 h 1478560"/>
                    <a:gd name="connsiteX170" fmla="*/ 1612979 w 1949016"/>
                    <a:gd name="connsiteY170" fmla="*/ 813208 h 1478560"/>
                    <a:gd name="connsiteX171" fmla="*/ 1612979 w 1949016"/>
                    <a:gd name="connsiteY171" fmla="*/ 1142524 h 1478560"/>
                    <a:gd name="connsiteX172" fmla="*/ 1310546 w 1949016"/>
                    <a:gd name="connsiteY172" fmla="*/ 1142524 h 1478560"/>
                    <a:gd name="connsiteX173" fmla="*/ 1310546 w 1949016"/>
                    <a:gd name="connsiteY173" fmla="*/ 1102200 h 1478560"/>
                    <a:gd name="connsiteX174" fmla="*/ 1384474 w 1949016"/>
                    <a:gd name="connsiteY174" fmla="*/ 967785 h 1478560"/>
                    <a:gd name="connsiteX175" fmla="*/ 1337429 w 1949016"/>
                    <a:gd name="connsiteY175" fmla="*/ 860254 h 1478560"/>
                    <a:gd name="connsiteX176" fmla="*/ 1229897 w 1949016"/>
                    <a:gd name="connsiteY176" fmla="*/ 813208 h 1478560"/>
                    <a:gd name="connsiteX177" fmla="*/ 1229897 w 1949016"/>
                    <a:gd name="connsiteY177" fmla="*/ 813208 h 1478560"/>
                    <a:gd name="connsiteX178" fmla="*/ 1122365 w 1949016"/>
                    <a:gd name="connsiteY178" fmla="*/ 860254 h 1478560"/>
                    <a:gd name="connsiteX179" fmla="*/ 1075320 w 1949016"/>
                    <a:gd name="connsiteY179" fmla="*/ 967785 h 1478560"/>
                    <a:gd name="connsiteX180" fmla="*/ 1162689 w 1949016"/>
                    <a:gd name="connsiteY180" fmla="*/ 1108921 h 1478560"/>
                    <a:gd name="connsiteX181" fmla="*/ 1162689 w 1949016"/>
                    <a:gd name="connsiteY181" fmla="*/ 1142524 h 1478560"/>
                    <a:gd name="connsiteX182" fmla="*/ 853535 w 1949016"/>
                    <a:gd name="connsiteY182" fmla="*/ 1142524 h 1478560"/>
                    <a:gd name="connsiteX183" fmla="*/ 853535 w 1949016"/>
                    <a:gd name="connsiteY183" fmla="*/ 819929 h 1478560"/>
                    <a:gd name="connsiteX184" fmla="*/ 853535 w 1949016"/>
                    <a:gd name="connsiteY184" fmla="*/ 819929 h 1478560"/>
                    <a:gd name="connsiteX185" fmla="*/ 853535 w 1949016"/>
                    <a:gd name="connsiteY185" fmla="*/ 806488 h 1478560"/>
                    <a:gd name="connsiteX186" fmla="*/ 846814 w 1949016"/>
                    <a:gd name="connsiteY186" fmla="*/ 793046 h 1478560"/>
                    <a:gd name="connsiteX187" fmla="*/ 833373 w 1949016"/>
                    <a:gd name="connsiteY187" fmla="*/ 786325 h 1478560"/>
                    <a:gd name="connsiteX188" fmla="*/ 833373 w 1949016"/>
                    <a:gd name="connsiteY188" fmla="*/ 786325 h 1478560"/>
                    <a:gd name="connsiteX189" fmla="*/ 759444 w 1949016"/>
                    <a:gd name="connsiteY189" fmla="*/ 786325 h 1478560"/>
                    <a:gd name="connsiteX190" fmla="*/ 739282 w 1949016"/>
                    <a:gd name="connsiteY190" fmla="*/ 799767 h 1478560"/>
                    <a:gd name="connsiteX191" fmla="*/ 631750 w 1949016"/>
                    <a:gd name="connsiteY191" fmla="*/ 873695 h 1478560"/>
                    <a:gd name="connsiteX192" fmla="*/ 631750 w 1949016"/>
                    <a:gd name="connsiteY192" fmla="*/ 873695 h 1478560"/>
                    <a:gd name="connsiteX193" fmla="*/ 551101 w 1949016"/>
                    <a:gd name="connsiteY193" fmla="*/ 840091 h 1478560"/>
                    <a:gd name="connsiteX194" fmla="*/ 517497 w 1949016"/>
                    <a:gd name="connsiteY194" fmla="*/ 759443 h 1478560"/>
                    <a:gd name="connsiteX195" fmla="*/ 551101 w 1949016"/>
                    <a:gd name="connsiteY195" fmla="*/ 678794 h 1478560"/>
                    <a:gd name="connsiteX196" fmla="*/ 631750 w 1949016"/>
                    <a:gd name="connsiteY196" fmla="*/ 645190 h 1478560"/>
                    <a:gd name="connsiteX197" fmla="*/ 631750 w 1949016"/>
                    <a:gd name="connsiteY197" fmla="*/ 645190 h 1478560"/>
                    <a:gd name="connsiteX198" fmla="*/ 732561 w 1949016"/>
                    <a:gd name="connsiteY198" fmla="*/ 712397 h 1478560"/>
                    <a:gd name="connsiteX199" fmla="*/ 752724 w 1949016"/>
                    <a:gd name="connsiteY199" fmla="*/ 725839 h 1478560"/>
                    <a:gd name="connsiteX200" fmla="*/ 752724 w 1949016"/>
                    <a:gd name="connsiteY200" fmla="*/ 725839 h 1478560"/>
                    <a:gd name="connsiteX201" fmla="*/ 826652 w 1949016"/>
                    <a:gd name="connsiteY201" fmla="*/ 725839 h 1478560"/>
                    <a:gd name="connsiteX202" fmla="*/ 826652 w 1949016"/>
                    <a:gd name="connsiteY202" fmla="*/ 725839 h 1478560"/>
                    <a:gd name="connsiteX203" fmla="*/ 840093 w 1949016"/>
                    <a:gd name="connsiteY203" fmla="*/ 719118 h 1478560"/>
                    <a:gd name="connsiteX204" fmla="*/ 840093 w 1949016"/>
                    <a:gd name="connsiteY204" fmla="*/ 719118 h 1478560"/>
                    <a:gd name="connsiteX205" fmla="*/ 840093 w 1949016"/>
                    <a:gd name="connsiteY205" fmla="*/ 719118 h 1478560"/>
                    <a:gd name="connsiteX206" fmla="*/ 846814 w 1949016"/>
                    <a:gd name="connsiteY206" fmla="*/ 705677 h 1478560"/>
                    <a:gd name="connsiteX207" fmla="*/ 846814 w 1949016"/>
                    <a:gd name="connsiteY207" fmla="*/ 705677 h 1478560"/>
                    <a:gd name="connsiteX208" fmla="*/ 846814 w 1949016"/>
                    <a:gd name="connsiteY208" fmla="*/ 705677 h 1478560"/>
                    <a:gd name="connsiteX209" fmla="*/ 846814 w 1949016"/>
                    <a:gd name="connsiteY209" fmla="*/ 705677 h 1478560"/>
                    <a:gd name="connsiteX210" fmla="*/ 846814 w 1949016"/>
                    <a:gd name="connsiteY210" fmla="*/ 383082 h 1478560"/>
                    <a:gd name="connsiteX211" fmla="*/ 1155969 w 1949016"/>
                    <a:gd name="connsiteY211" fmla="*/ 383082 h 1478560"/>
                    <a:gd name="connsiteX212" fmla="*/ 1155969 w 1949016"/>
                    <a:gd name="connsiteY212" fmla="*/ 423406 h 1478560"/>
                    <a:gd name="connsiteX213" fmla="*/ 1075320 w 1949016"/>
                    <a:gd name="connsiteY213" fmla="*/ 557821 h 1478560"/>
                    <a:gd name="connsiteX214" fmla="*/ 1229897 w 1949016"/>
                    <a:gd name="connsiteY214" fmla="*/ 712397 h 1478560"/>
                    <a:gd name="connsiteX215" fmla="*/ 1229897 w 1949016"/>
                    <a:gd name="connsiteY215" fmla="*/ 712397 h 1478560"/>
                    <a:gd name="connsiteX216" fmla="*/ 1337429 w 1949016"/>
                    <a:gd name="connsiteY216" fmla="*/ 665352 h 1478560"/>
                    <a:gd name="connsiteX217" fmla="*/ 1384474 w 1949016"/>
                    <a:gd name="connsiteY217" fmla="*/ 557821 h 1478560"/>
                    <a:gd name="connsiteX218" fmla="*/ 1310546 w 1949016"/>
                    <a:gd name="connsiteY218" fmla="*/ 423406 h 1478560"/>
                    <a:gd name="connsiteX219" fmla="*/ 1310546 w 1949016"/>
                    <a:gd name="connsiteY219" fmla="*/ 376361 h 1478560"/>
                    <a:gd name="connsiteX220" fmla="*/ 1612979 w 1949016"/>
                    <a:gd name="connsiteY220" fmla="*/ 376361 h 1478560"/>
                    <a:gd name="connsiteX221" fmla="*/ 1612979 w 1949016"/>
                    <a:gd name="connsiteY221" fmla="*/ 705677 h 1478560"/>
                    <a:gd name="connsiteX222" fmla="*/ 1633141 w 1949016"/>
                    <a:gd name="connsiteY222" fmla="*/ 725839 h 1478560"/>
                    <a:gd name="connsiteX223" fmla="*/ 1633141 w 1949016"/>
                    <a:gd name="connsiteY223" fmla="*/ 725839 h 1478560"/>
                    <a:gd name="connsiteX224" fmla="*/ 1713790 w 1949016"/>
                    <a:gd name="connsiteY224" fmla="*/ 725839 h 1478560"/>
                    <a:gd name="connsiteX225" fmla="*/ 1733953 w 1949016"/>
                    <a:gd name="connsiteY225" fmla="*/ 712397 h 1478560"/>
                    <a:gd name="connsiteX226" fmla="*/ 1834764 w 1949016"/>
                    <a:gd name="connsiteY226" fmla="*/ 645190 h 1478560"/>
                    <a:gd name="connsiteX227" fmla="*/ 1834764 w 1949016"/>
                    <a:gd name="connsiteY227" fmla="*/ 645190 h 1478560"/>
                    <a:gd name="connsiteX228" fmla="*/ 1915413 w 1949016"/>
                    <a:gd name="connsiteY228" fmla="*/ 678794 h 1478560"/>
                    <a:gd name="connsiteX229" fmla="*/ 1949017 w 1949016"/>
                    <a:gd name="connsiteY229" fmla="*/ 759443 h 1478560"/>
                    <a:gd name="connsiteX230" fmla="*/ 1915413 w 1949016"/>
                    <a:gd name="connsiteY230" fmla="*/ 840091 h 1478560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83663 w 1984332"/>
                    <a:gd name="connsiteY13" fmla="*/ 423406 h 1520187"/>
                    <a:gd name="connsiteX14" fmla="*/ 1297104 w 1984332"/>
                    <a:gd name="connsiteY14" fmla="*/ 450289 h 1520187"/>
                    <a:gd name="connsiteX15" fmla="*/ 1364312 w 1984332"/>
                    <a:gd name="connsiteY15" fmla="*/ 551100 h 1520187"/>
                    <a:gd name="connsiteX16" fmla="*/ 1330708 w 1984332"/>
                    <a:gd name="connsiteY16" fmla="*/ 631749 h 1520187"/>
                    <a:gd name="connsiteX17" fmla="*/ 1250059 w 1984332"/>
                    <a:gd name="connsiteY17" fmla="*/ 665352 h 1520187"/>
                    <a:gd name="connsiteX18" fmla="*/ 1135806 w 1984332"/>
                    <a:gd name="connsiteY18" fmla="*/ 551100 h 1520187"/>
                    <a:gd name="connsiteX19" fmla="*/ 1209734 w 1984332"/>
                    <a:gd name="connsiteY19" fmla="*/ 443568 h 1520187"/>
                    <a:gd name="connsiteX20" fmla="*/ 1223176 w 1984332"/>
                    <a:gd name="connsiteY20" fmla="*/ 423406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223176 w 1984332"/>
                    <a:gd name="connsiteY23" fmla="*/ 349478 h 1520187"/>
                    <a:gd name="connsiteX24" fmla="*/ 1182852 w 1984332"/>
                    <a:gd name="connsiteY24" fmla="*/ 336037 h 1520187"/>
                    <a:gd name="connsiteX25" fmla="*/ 11828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826652 w 1984332"/>
                    <a:gd name="connsiteY28" fmla="*/ 336037 h 1520187"/>
                    <a:gd name="connsiteX29" fmla="*/ 497335 w 1984332"/>
                    <a:gd name="connsiteY29" fmla="*/ 336037 h 1520187"/>
                    <a:gd name="connsiteX30" fmla="*/ 497335 w 1984332"/>
                    <a:gd name="connsiteY30" fmla="*/ 295712 h 1520187"/>
                    <a:gd name="connsiteX31" fmla="*/ 584705 w 1984332"/>
                    <a:gd name="connsiteY31" fmla="*/ 154577 h 1520187"/>
                    <a:gd name="connsiteX32" fmla="*/ 537660 w 1984332"/>
                    <a:gd name="connsiteY32" fmla="*/ 47045 h 1520187"/>
                    <a:gd name="connsiteX33" fmla="*/ 423407 w 1984332"/>
                    <a:gd name="connsiteY33" fmla="*/ 0 h 1520187"/>
                    <a:gd name="connsiteX34" fmla="*/ 423407 w 1984332"/>
                    <a:gd name="connsiteY34" fmla="*/ 0 h 1520187"/>
                    <a:gd name="connsiteX35" fmla="*/ 268830 w 1984332"/>
                    <a:gd name="connsiteY35" fmla="*/ 154577 h 1520187"/>
                    <a:gd name="connsiteX36" fmla="*/ 349479 w 1984332"/>
                    <a:gd name="connsiteY36" fmla="*/ 288991 h 1520187"/>
                    <a:gd name="connsiteX37" fmla="*/ 349479 w 1984332"/>
                    <a:gd name="connsiteY37" fmla="*/ 329316 h 1520187"/>
                    <a:gd name="connsiteX38" fmla="*/ 20162 w 1984332"/>
                    <a:gd name="connsiteY38" fmla="*/ 336037 h 1520187"/>
                    <a:gd name="connsiteX39" fmla="*/ 0 w 1984332"/>
                    <a:gd name="connsiteY39" fmla="*/ 356199 h 1520187"/>
                    <a:gd name="connsiteX40" fmla="*/ 0 w 1984332"/>
                    <a:gd name="connsiteY40" fmla="*/ 698956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20162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94090 w 1984332"/>
                    <a:gd name="connsiteY46" fmla="*/ 719118 h 1520187"/>
                    <a:gd name="connsiteX47" fmla="*/ 120973 w 1984332"/>
                    <a:gd name="connsiteY47" fmla="*/ 705677 h 1520187"/>
                    <a:gd name="connsiteX48" fmla="*/ 221785 w 1984332"/>
                    <a:gd name="connsiteY48" fmla="*/ 638469 h 1520187"/>
                    <a:gd name="connsiteX49" fmla="*/ 221785 w 1984332"/>
                    <a:gd name="connsiteY49" fmla="*/ 638469 h 1520187"/>
                    <a:gd name="connsiteX50" fmla="*/ 336037 w 1984332"/>
                    <a:gd name="connsiteY50" fmla="*/ 752722 h 1520187"/>
                    <a:gd name="connsiteX51" fmla="*/ 221785 w 1984332"/>
                    <a:gd name="connsiteY51" fmla="*/ 873695 h 1520187"/>
                    <a:gd name="connsiteX52" fmla="*/ 221785 w 1984332"/>
                    <a:gd name="connsiteY52" fmla="*/ 873695 h 1520187"/>
                    <a:gd name="connsiteX53" fmla="*/ 114253 w 1984332"/>
                    <a:gd name="connsiteY53" fmla="*/ 799767 h 1520187"/>
                    <a:gd name="connsiteX54" fmla="*/ 94090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20162 w 1984332"/>
                    <a:gd name="connsiteY59" fmla="*/ 786325 h 1520187"/>
                    <a:gd name="connsiteX60" fmla="*/ 0 w 1984332"/>
                    <a:gd name="connsiteY60" fmla="*/ 806488 h 1520187"/>
                    <a:gd name="connsiteX61" fmla="*/ 0 w 1984332"/>
                    <a:gd name="connsiteY61" fmla="*/ 1162686 h 1520187"/>
                    <a:gd name="connsiteX62" fmla="*/ 20162 w 1984332"/>
                    <a:gd name="connsiteY62" fmla="*/ 1182849 h 1520187"/>
                    <a:gd name="connsiteX63" fmla="*/ 20162 w 1984332"/>
                    <a:gd name="connsiteY63" fmla="*/ 1182849 h 1520187"/>
                    <a:gd name="connsiteX64" fmla="*/ 356200 w 1984332"/>
                    <a:gd name="connsiteY64" fmla="*/ 1182849 h 1520187"/>
                    <a:gd name="connsiteX65" fmla="*/ 356200 w 1984332"/>
                    <a:gd name="connsiteY65" fmla="*/ 1223173 h 1520187"/>
                    <a:gd name="connsiteX66" fmla="*/ 268830 w 1984332"/>
                    <a:gd name="connsiteY66" fmla="*/ 1364308 h 1520187"/>
                    <a:gd name="connsiteX67" fmla="*/ 315875 w 1984332"/>
                    <a:gd name="connsiteY67" fmla="*/ 1471840 h 1520187"/>
                    <a:gd name="connsiteX68" fmla="*/ 423407 w 1984332"/>
                    <a:gd name="connsiteY68" fmla="*/ 1518885 h 1520187"/>
                    <a:gd name="connsiteX69" fmla="*/ 423407 w 1984332"/>
                    <a:gd name="connsiteY69" fmla="*/ 1518885 h 1520187"/>
                    <a:gd name="connsiteX70" fmla="*/ 537660 w 1984332"/>
                    <a:gd name="connsiteY70" fmla="*/ 1478561 h 1520187"/>
                    <a:gd name="connsiteX71" fmla="*/ 584705 w 1984332"/>
                    <a:gd name="connsiteY71" fmla="*/ 1371029 h 1520187"/>
                    <a:gd name="connsiteX72" fmla="*/ 510777 w 1984332"/>
                    <a:gd name="connsiteY72" fmla="*/ 1236614 h 1520187"/>
                    <a:gd name="connsiteX73" fmla="*/ 510777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833373 w 1984332"/>
                    <a:gd name="connsiteY76" fmla="*/ 1189569 h 1520187"/>
                    <a:gd name="connsiteX77" fmla="*/ 1189572 w 1984332"/>
                    <a:gd name="connsiteY77" fmla="*/ 1189569 h 1520187"/>
                    <a:gd name="connsiteX78" fmla="*/ 1203014 w 1984332"/>
                    <a:gd name="connsiteY78" fmla="*/ 1182849 h 1520187"/>
                    <a:gd name="connsiteX79" fmla="*/ 1209734 w 1984332"/>
                    <a:gd name="connsiteY79" fmla="*/ 1169407 h 1520187"/>
                    <a:gd name="connsiteX80" fmla="*/ 1209734 w 1984332"/>
                    <a:gd name="connsiteY80" fmla="*/ 1095479 h 1520187"/>
                    <a:gd name="connsiteX81" fmla="*/ 1196293 w 1984332"/>
                    <a:gd name="connsiteY81" fmla="*/ 1075317 h 1520187"/>
                    <a:gd name="connsiteX82" fmla="*/ 1122365 w 1984332"/>
                    <a:gd name="connsiteY82" fmla="*/ 967785 h 1520187"/>
                    <a:gd name="connsiteX83" fmla="*/ 1155969 w 1984332"/>
                    <a:gd name="connsiteY83" fmla="*/ 887136 h 1520187"/>
                    <a:gd name="connsiteX84" fmla="*/ 1236617 w 1984332"/>
                    <a:gd name="connsiteY84" fmla="*/ 853533 h 1520187"/>
                    <a:gd name="connsiteX85" fmla="*/ 1236617 w 1984332"/>
                    <a:gd name="connsiteY85" fmla="*/ 853533 h 1520187"/>
                    <a:gd name="connsiteX86" fmla="*/ 1317266 w 1984332"/>
                    <a:gd name="connsiteY86" fmla="*/ 887136 h 1520187"/>
                    <a:gd name="connsiteX87" fmla="*/ 1350870 w 1984332"/>
                    <a:gd name="connsiteY87" fmla="*/ 967785 h 1520187"/>
                    <a:gd name="connsiteX88" fmla="*/ 1283663 w 1984332"/>
                    <a:gd name="connsiteY88" fmla="*/ 1068596 h 1520187"/>
                    <a:gd name="connsiteX89" fmla="*/ 1270221 w 1984332"/>
                    <a:gd name="connsiteY89" fmla="*/ 1088758 h 1520187"/>
                    <a:gd name="connsiteX90" fmla="*/ 1270221 w 1984332"/>
                    <a:gd name="connsiteY90" fmla="*/ 1162686 h 1520187"/>
                    <a:gd name="connsiteX91" fmla="*/ 1276942 w 1984332"/>
                    <a:gd name="connsiteY91" fmla="*/ 1176128 h 1520187"/>
                    <a:gd name="connsiteX92" fmla="*/ 1290383 w 1984332"/>
                    <a:gd name="connsiteY92" fmla="*/ 1182849 h 1520187"/>
                    <a:gd name="connsiteX93" fmla="*/ 1290383 w 1984332"/>
                    <a:gd name="connsiteY93" fmla="*/ 1182849 h 1520187"/>
                    <a:gd name="connsiteX94" fmla="*/ 1633141 w 1984332"/>
                    <a:gd name="connsiteY94" fmla="*/ 1182849 h 1520187"/>
                    <a:gd name="connsiteX95" fmla="*/ 1653304 w 1984332"/>
                    <a:gd name="connsiteY95" fmla="*/ 1162686 h 1520187"/>
                    <a:gd name="connsiteX96" fmla="*/ 1653304 w 1984332"/>
                    <a:gd name="connsiteY96" fmla="*/ 833371 h 1520187"/>
                    <a:gd name="connsiteX97" fmla="*/ 1693628 w 1984332"/>
                    <a:gd name="connsiteY97" fmla="*/ 833371 h 1520187"/>
                    <a:gd name="connsiteX98" fmla="*/ 1828043 w 1984332"/>
                    <a:gd name="connsiteY98" fmla="*/ 914019 h 1520187"/>
                    <a:gd name="connsiteX99" fmla="*/ 1828043 w 1984332"/>
                    <a:gd name="connsiteY99" fmla="*/ 914019 h 1520187"/>
                    <a:gd name="connsiteX100" fmla="*/ 1935575 w 1984332"/>
                    <a:gd name="connsiteY100" fmla="*/ 866974 h 1520187"/>
                    <a:gd name="connsiteX101" fmla="*/ 1982620 w 1984332"/>
                    <a:gd name="connsiteY101" fmla="*/ 759443 h 1520187"/>
                    <a:gd name="connsiteX102" fmla="*/ 1949017 w 1984332"/>
                    <a:gd name="connsiteY102" fmla="*/ 645190 h 1520187"/>
                    <a:gd name="connsiteX103" fmla="*/ 483894 w 1984332"/>
                    <a:gd name="connsiteY103" fmla="*/ 1142524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162686 h 1520187"/>
                    <a:gd name="connsiteX107" fmla="*/ 463732 w 1984332"/>
                    <a:gd name="connsiteY107" fmla="*/ 1236614 h 1520187"/>
                    <a:gd name="connsiteX108" fmla="*/ 463732 w 1984332"/>
                    <a:gd name="connsiteY108" fmla="*/ 1236614 h 1520187"/>
                    <a:gd name="connsiteX109" fmla="*/ 477173 w 1984332"/>
                    <a:gd name="connsiteY109" fmla="*/ 1263497 h 1520187"/>
                    <a:gd name="connsiteX110" fmla="*/ 544381 w 1984332"/>
                    <a:gd name="connsiteY110" fmla="*/ 1364308 h 1520187"/>
                    <a:gd name="connsiteX111" fmla="*/ 510777 w 1984332"/>
                    <a:gd name="connsiteY111" fmla="*/ 1444957 h 1520187"/>
                    <a:gd name="connsiteX112" fmla="*/ 423407 w 1984332"/>
                    <a:gd name="connsiteY112" fmla="*/ 1478561 h 1520187"/>
                    <a:gd name="connsiteX113" fmla="*/ 423407 w 1984332"/>
                    <a:gd name="connsiteY113" fmla="*/ 1478561 h 1520187"/>
                    <a:gd name="connsiteX114" fmla="*/ 342758 w 1984332"/>
                    <a:gd name="connsiteY114" fmla="*/ 1444957 h 1520187"/>
                    <a:gd name="connsiteX115" fmla="*/ 309154 w 1984332"/>
                    <a:gd name="connsiteY115" fmla="*/ 1364308 h 1520187"/>
                    <a:gd name="connsiteX116" fmla="*/ 383083 w 1984332"/>
                    <a:gd name="connsiteY116" fmla="*/ 1256777 h 1520187"/>
                    <a:gd name="connsiteX117" fmla="*/ 396524 w 1984332"/>
                    <a:gd name="connsiteY117" fmla="*/ 1236614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96524 w 1984332"/>
                    <a:gd name="connsiteY120" fmla="*/ 1162686 h 1520187"/>
                    <a:gd name="connsiteX121" fmla="*/ 376362 w 1984332"/>
                    <a:gd name="connsiteY121" fmla="*/ 1142524 h 1520187"/>
                    <a:gd name="connsiteX122" fmla="*/ 376362 w 1984332"/>
                    <a:gd name="connsiteY122" fmla="*/ 1142524 h 1520187"/>
                    <a:gd name="connsiteX123" fmla="*/ 40324 w 1984332"/>
                    <a:gd name="connsiteY123" fmla="*/ 1142524 h 1520187"/>
                    <a:gd name="connsiteX124" fmla="*/ 40324 w 1984332"/>
                    <a:gd name="connsiteY124" fmla="*/ 833371 h 1520187"/>
                    <a:gd name="connsiteX125" fmla="*/ 80649 w 1984332"/>
                    <a:gd name="connsiteY125" fmla="*/ 833371 h 1520187"/>
                    <a:gd name="connsiteX126" fmla="*/ 221785 w 1984332"/>
                    <a:gd name="connsiteY126" fmla="*/ 920740 h 1520187"/>
                    <a:gd name="connsiteX127" fmla="*/ 221785 w 1984332"/>
                    <a:gd name="connsiteY127" fmla="*/ 920740 h 1520187"/>
                    <a:gd name="connsiteX128" fmla="*/ 376362 w 1984332"/>
                    <a:gd name="connsiteY128" fmla="*/ 766163 h 1520187"/>
                    <a:gd name="connsiteX129" fmla="*/ 221785 w 1984332"/>
                    <a:gd name="connsiteY129" fmla="*/ 604866 h 1520187"/>
                    <a:gd name="connsiteX130" fmla="*/ 221785 w 1984332"/>
                    <a:gd name="connsiteY130" fmla="*/ 604866 h 1520187"/>
                    <a:gd name="connsiteX131" fmla="*/ 87370 w 1984332"/>
                    <a:gd name="connsiteY131" fmla="*/ 678794 h 1520187"/>
                    <a:gd name="connsiteX132" fmla="*/ 40324 w 1984332"/>
                    <a:gd name="connsiteY132" fmla="*/ 678794 h 1520187"/>
                    <a:gd name="connsiteX133" fmla="*/ 40324 w 1984332"/>
                    <a:gd name="connsiteY133" fmla="*/ 376361 h 1520187"/>
                    <a:gd name="connsiteX134" fmla="*/ 369641 w 1984332"/>
                    <a:gd name="connsiteY134" fmla="*/ 376361 h 1520187"/>
                    <a:gd name="connsiteX135" fmla="*/ 383083 w 1984332"/>
                    <a:gd name="connsiteY135" fmla="*/ 369640 h 1520187"/>
                    <a:gd name="connsiteX136" fmla="*/ 389803 w 1984332"/>
                    <a:gd name="connsiteY136" fmla="*/ 356199 h 1520187"/>
                    <a:gd name="connsiteX137" fmla="*/ 389803 w 1984332"/>
                    <a:gd name="connsiteY137" fmla="*/ 275550 h 1520187"/>
                    <a:gd name="connsiteX138" fmla="*/ 376362 w 1984332"/>
                    <a:gd name="connsiteY138" fmla="*/ 255388 h 1520187"/>
                    <a:gd name="connsiteX139" fmla="*/ 309154 w 1984332"/>
                    <a:gd name="connsiteY139" fmla="*/ 154577 h 1520187"/>
                    <a:gd name="connsiteX140" fmla="*/ 423407 w 1984332"/>
                    <a:gd name="connsiteY140" fmla="*/ 40324 h 1520187"/>
                    <a:gd name="connsiteX141" fmla="*/ 504056 w 1984332"/>
                    <a:gd name="connsiteY141" fmla="*/ 73928 h 1520187"/>
                    <a:gd name="connsiteX142" fmla="*/ 537660 w 1984332"/>
                    <a:gd name="connsiteY142" fmla="*/ 154577 h 1520187"/>
                    <a:gd name="connsiteX143" fmla="*/ 470452 w 1984332"/>
                    <a:gd name="connsiteY143" fmla="*/ 262109 h 1520187"/>
                    <a:gd name="connsiteX144" fmla="*/ 457011 w 1984332"/>
                    <a:gd name="connsiteY144" fmla="*/ 282271 h 1520187"/>
                    <a:gd name="connsiteX145" fmla="*/ 457011 w 1984332"/>
                    <a:gd name="connsiteY145" fmla="*/ 362919 h 1520187"/>
                    <a:gd name="connsiteX146" fmla="*/ 477173 w 1984332"/>
                    <a:gd name="connsiteY146" fmla="*/ 383082 h 1520187"/>
                    <a:gd name="connsiteX147" fmla="*/ 477173 w 1984332"/>
                    <a:gd name="connsiteY147" fmla="*/ 383082 h 1520187"/>
                    <a:gd name="connsiteX148" fmla="*/ 806490 w 1984332"/>
                    <a:gd name="connsiteY148" fmla="*/ 383082 h 1520187"/>
                    <a:gd name="connsiteX149" fmla="*/ 806490 w 1984332"/>
                    <a:gd name="connsiteY149" fmla="*/ 631749 h 1520187"/>
                    <a:gd name="connsiteX150" fmla="*/ 806490 w 1984332"/>
                    <a:gd name="connsiteY150" fmla="*/ 685515 h 1520187"/>
                    <a:gd name="connsiteX151" fmla="*/ 766165 w 1984332"/>
                    <a:gd name="connsiteY151" fmla="*/ 685515 h 1520187"/>
                    <a:gd name="connsiteX152" fmla="*/ 631750 w 1984332"/>
                    <a:gd name="connsiteY152" fmla="*/ 604866 h 1520187"/>
                    <a:gd name="connsiteX153" fmla="*/ 631750 w 1984332"/>
                    <a:gd name="connsiteY153" fmla="*/ 604866 h 1520187"/>
                    <a:gd name="connsiteX154" fmla="*/ 517497 w 1984332"/>
                    <a:gd name="connsiteY154" fmla="*/ 651911 h 1520187"/>
                    <a:gd name="connsiteX155" fmla="*/ 470452 w 1984332"/>
                    <a:gd name="connsiteY155" fmla="*/ 759443 h 1520187"/>
                    <a:gd name="connsiteX156" fmla="*/ 517497 w 1984332"/>
                    <a:gd name="connsiteY156" fmla="*/ 866974 h 1520187"/>
                    <a:gd name="connsiteX157" fmla="*/ 625029 w 1984332"/>
                    <a:gd name="connsiteY157" fmla="*/ 914019 h 1520187"/>
                    <a:gd name="connsiteX158" fmla="*/ 625029 w 1984332"/>
                    <a:gd name="connsiteY158" fmla="*/ 914019 h 1520187"/>
                    <a:gd name="connsiteX159" fmla="*/ 766165 w 1984332"/>
                    <a:gd name="connsiteY159" fmla="*/ 826650 h 1520187"/>
                    <a:gd name="connsiteX160" fmla="*/ 799769 w 1984332"/>
                    <a:gd name="connsiteY160" fmla="*/ 826650 h 1520187"/>
                    <a:gd name="connsiteX161" fmla="*/ 799769 w 1984332"/>
                    <a:gd name="connsiteY161" fmla="*/ 1135803 h 1520187"/>
                    <a:gd name="connsiteX162" fmla="*/ 483894 w 1984332"/>
                    <a:gd name="connsiteY162" fmla="*/ 1142524 h 1520187"/>
                    <a:gd name="connsiteX163" fmla="*/ 1915413 w 1984332"/>
                    <a:gd name="connsiteY163" fmla="*/ 840091 h 1520187"/>
                    <a:gd name="connsiteX164" fmla="*/ 1834764 w 1984332"/>
                    <a:gd name="connsiteY164" fmla="*/ 873695 h 1520187"/>
                    <a:gd name="connsiteX165" fmla="*/ 1834764 w 1984332"/>
                    <a:gd name="connsiteY165" fmla="*/ 873695 h 1520187"/>
                    <a:gd name="connsiteX166" fmla="*/ 1733953 w 1984332"/>
                    <a:gd name="connsiteY166" fmla="*/ 806488 h 1520187"/>
                    <a:gd name="connsiteX167" fmla="*/ 1713790 w 1984332"/>
                    <a:gd name="connsiteY167" fmla="*/ 793046 h 1520187"/>
                    <a:gd name="connsiteX168" fmla="*/ 1713790 w 1984332"/>
                    <a:gd name="connsiteY168" fmla="*/ 793046 h 1520187"/>
                    <a:gd name="connsiteX169" fmla="*/ 1633141 w 1984332"/>
                    <a:gd name="connsiteY169" fmla="*/ 793046 h 1520187"/>
                    <a:gd name="connsiteX170" fmla="*/ 1612979 w 1984332"/>
                    <a:gd name="connsiteY170" fmla="*/ 813208 h 1520187"/>
                    <a:gd name="connsiteX171" fmla="*/ 1612979 w 1984332"/>
                    <a:gd name="connsiteY171" fmla="*/ 1142524 h 1520187"/>
                    <a:gd name="connsiteX172" fmla="*/ 1310546 w 1984332"/>
                    <a:gd name="connsiteY172" fmla="*/ 1142524 h 1520187"/>
                    <a:gd name="connsiteX173" fmla="*/ 1310546 w 1984332"/>
                    <a:gd name="connsiteY173" fmla="*/ 1102200 h 1520187"/>
                    <a:gd name="connsiteX174" fmla="*/ 1384474 w 1984332"/>
                    <a:gd name="connsiteY174" fmla="*/ 967785 h 1520187"/>
                    <a:gd name="connsiteX175" fmla="*/ 1337429 w 1984332"/>
                    <a:gd name="connsiteY175" fmla="*/ 860254 h 1520187"/>
                    <a:gd name="connsiteX176" fmla="*/ 1229897 w 1984332"/>
                    <a:gd name="connsiteY176" fmla="*/ 813208 h 1520187"/>
                    <a:gd name="connsiteX177" fmla="*/ 1229897 w 1984332"/>
                    <a:gd name="connsiteY177" fmla="*/ 813208 h 1520187"/>
                    <a:gd name="connsiteX178" fmla="*/ 1122365 w 1984332"/>
                    <a:gd name="connsiteY178" fmla="*/ 860254 h 1520187"/>
                    <a:gd name="connsiteX179" fmla="*/ 1075320 w 1984332"/>
                    <a:gd name="connsiteY179" fmla="*/ 967785 h 1520187"/>
                    <a:gd name="connsiteX180" fmla="*/ 1162689 w 1984332"/>
                    <a:gd name="connsiteY180" fmla="*/ 1108921 h 1520187"/>
                    <a:gd name="connsiteX181" fmla="*/ 1162689 w 1984332"/>
                    <a:gd name="connsiteY181" fmla="*/ 1142524 h 1520187"/>
                    <a:gd name="connsiteX182" fmla="*/ 853535 w 1984332"/>
                    <a:gd name="connsiteY182" fmla="*/ 1142524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19929 h 1520187"/>
                    <a:gd name="connsiteX185" fmla="*/ 853535 w 1984332"/>
                    <a:gd name="connsiteY185" fmla="*/ 806488 h 1520187"/>
                    <a:gd name="connsiteX186" fmla="*/ 846814 w 1984332"/>
                    <a:gd name="connsiteY186" fmla="*/ 793046 h 1520187"/>
                    <a:gd name="connsiteX187" fmla="*/ 833373 w 1984332"/>
                    <a:gd name="connsiteY187" fmla="*/ 786325 h 1520187"/>
                    <a:gd name="connsiteX188" fmla="*/ 833373 w 1984332"/>
                    <a:gd name="connsiteY188" fmla="*/ 786325 h 1520187"/>
                    <a:gd name="connsiteX189" fmla="*/ 759444 w 1984332"/>
                    <a:gd name="connsiteY189" fmla="*/ 786325 h 1520187"/>
                    <a:gd name="connsiteX190" fmla="*/ 739282 w 1984332"/>
                    <a:gd name="connsiteY190" fmla="*/ 799767 h 1520187"/>
                    <a:gd name="connsiteX191" fmla="*/ 631750 w 1984332"/>
                    <a:gd name="connsiteY191" fmla="*/ 873695 h 1520187"/>
                    <a:gd name="connsiteX192" fmla="*/ 631750 w 1984332"/>
                    <a:gd name="connsiteY192" fmla="*/ 873695 h 1520187"/>
                    <a:gd name="connsiteX193" fmla="*/ 551101 w 1984332"/>
                    <a:gd name="connsiteY193" fmla="*/ 840091 h 1520187"/>
                    <a:gd name="connsiteX194" fmla="*/ 517497 w 1984332"/>
                    <a:gd name="connsiteY194" fmla="*/ 759443 h 1520187"/>
                    <a:gd name="connsiteX195" fmla="*/ 551101 w 1984332"/>
                    <a:gd name="connsiteY195" fmla="*/ 678794 h 1520187"/>
                    <a:gd name="connsiteX196" fmla="*/ 631750 w 1984332"/>
                    <a:gd name="connsiteY196" fmla="*/ 645190 h 1520187"/>
                    <a:gd name="connsiteX197" fmla="*/ 631750 w 1984332"/>
                    <a:gd name="connsiteY197" fmla="*/ 645190 h 1520187"/>
                    <a:gd name="connsiteX198" fmla="*/ 732561 w 1984332"/>
                    <a:gd name="connsiteY198" fmla="*/ 712397 h 1520187"/>
                    <a:gd name="connsiteX199" fmla="*/ 752724 w 1984332"/>
                    <a:gd name="connsiteY199" fmla="*/ 725839 h 1520187"/>
                    <a:gd name="connsiteX200" fmla="*/ 752724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26652 w 1984332"/>
                    <a:gd name="connsiteY202" fmla="*/ 725839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0093 w 1984332"/>
                    <a:gd name="connsiteY205" fmla="*/ 719118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705677 h 1520187"/>
                    <a:gd name="connsiteX210" fmla="*/ 846814 w 1984332"/>
                    <a:gd name="connsiteY210" fmla="*/ 383082 h 1520187"/>
                    <a:gd name="connsiteX211" fmla="*/ 1155969 w 1984332"/>
                    <a:gd name="connsiteY211" fmla="*/ 383082 h 1520187"/>
                    <a:gd name="connsiteX212" fmla="*/ 1155969 w 1984332"/>
                    <a:gd name="connsiteY212" fmla="*/ 423406 h 1520187"/>
                    <a:gd name="connsiteX213" fmla="*/ 1075320 w 1984332"/>
                    <a:gd name="connsiteY213" fmla="*/ 557821 h 1520187"/>
                    <a:gd name="connsiteX214" fmla="*/ 1229897 w 1984332"/>
                    <a:gd name="connsiteY214" fmla="*/ 712397 h 1520187"/>
                    <a:gd name="connsiteX215" fmla="*/ 1229897 w 1984332"/>
                    <a:gd name="connsiteY215" fmla="*/ 712397 h 1520187"/>
                    <a:gd name="connsiteX216" fmla="*/ 1354097 w 1984332"/>
                    <a:gd name="connsiteY216" fmla="*/ 670115 h 1520187"/>
                    <a:gd name="connsiteX217" fmla="*/ 1384474 w 1984332"/>
                    <a:gd name="connsiteY217" fmla="*/ 557821 h 1520187"/>
                    <a:gd name="connsiteX218" fmla="*/ 1310546 w 1984332"/>
                    <a:gd name="connsiteY218" fmla="*/ 423406 h 1520187"/>
                    <a:gd name="connsiteX219" fmla="*/ 1310546 w 1984332"/>
                    <a:gd name="connsiteY219" fmla="*/ 376361 h 1520187"/>
                    <a:gd name="connsiteX220" fmla="*/ 1612979 w 1984332"/>
                    <a:gd name="connsiteY220" fmla="*/ 376361 h 1520187"/>
                    <a:gd name="connsiteX221" fmla="*/ 1612979 w 1984332"/>
                    <a:gd name="connsiteY221" fmla="*/ 705677 h 1520187"/>
                    <a:gd name="connsiteX222" fmla="*/ 1633141 w 1984332"/>
                    <a:gd name="connsiteY222" fmla="*/ 725839 h 1520187"/>
                    <a:gd name="connsiteX223" fmla="*/ 1633141 w 1984332"/>
                    <a:gd name="connsiteY223" fmla="*/ 725839 h 1520187"/>
                    <a:gd name="connsiteX224" fmla="*/ 1713790 w 1984332"/>
                    <a:gd name="connsiteY224" fmla="*/ 725839 h 1520187"/>
                    <a:gd name="connsiteX225" fmla="*/ 1733953 w 1984332"/>
                    <a:gd name="connsiteY225" fmla="*/ 712397 h 1520187"/>
                    <a:gd name="connsiteX226" fmla="*/ 1834764 w 1984332"/>
                    <a:gd name="connsiteY226" fmla="*/ 645190 h 1520187"/>
                    <a:gd name="connsiteX227" fmla="*/ 1834764 w 1984332"/>
                    <a:gd name="connsiteY227" fmla="*/ 645190 h 1520187"/>
                    <a:gd name="connsiteX228" fmla="*/ 1915413 w 1984332"/>
                    <a:gd name="connsiteY228" fmla="*/ 678794 h 1520187"/>
                    <a:gd name="connsiteX229" fmla="*/ 1949017 w 1984332"/>
                    <a:gd name="connsiteY229" fmla="*/ 759443 h 1520187"/>
                    <a:gd name="connsiteX230" fmla="*/ 1915413 w 1984332"/>
                    <a:gd name="connsiteY230" fmla="*/ 840091 h 1520187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83663 w 1984332"/>
                    <a:gd name="connsiteY13" fmla="*/ 423406 h 1520187"/>
                    <a:gd name="connsiteX14" fmla="*/ 1297104 w 1984332"/>
                    <a:gd name="connsiteY14" fmla="*/ 450289 h 1520187"/>
                    <a:gd name="connsiteX15" fmla="*/ 1364312 w 1984332"/>
                    <a:gd name="connsiteY15" fmla="*/ 551100 h 1520187"/>
                    <a:gd name="connsiteX16" fmla="*/ 1330708 w 1984332"/>
                    <a:gd name="connsiteY16" fmla="*/ 631749 h 1520187"/>
                    <a:gd name="connsiteX17" fmla="*/ 1250059 w 1984332"/>
                    <a:gd name="connsiteY17" fmla="*/ 665352 h 1520187"/>
                    <a:gd name="connsiteX18" fmla="*/ 1135806 w 1984332"/>
                    <a:gd name="connsiteY18" fmla="*/ 551100 h 1520187"/>
                    <a:gd name="connsiteX19" fmla="*/ 1209734 w 1984332"/>
                    <a:gd name="connsiteY19" fmla="*/ 443568 h 1520187"/>
                    <a:gd name="connsiteX20" fmla="*/ 1223176 w 1984332"/>
                    <a:gd name="connsiteY20" fmla="*/ 423406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223176 w 1984332"/>
                    <a:gd name="connsiteY23" fmla="*/ 349478 h 1520187"/>
                    <a:gd name="connsiteX24" fmla="*/ 1182852 w 1984332"/>
                    <a:gd name="connsiteY24" fmla="*/ 336037 h 1520187"/>
                    <a:gd name="connsiteX25" fmla="*/ 11828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826652 w 1984332"/>
                    <a:gd name="connsiteY28" fmla="*/ 336037 h 1520187"/>
                    <a:gd name="connsiteX29" fmla="*/ 497335 w 1984332"/>
                    <a:gd name="connsiteY29" fmla="*/ 336037 h 1520187"/>
                    <a:gd name="connsiteX30" fmla="*/ 497335 w 1984332"/>
                    <a:gd name="connsiteY30" fmla="*/ 295712 h 1520187"/>
                    <a:gd name="connsiteX31" fmla="*/ 584705 w 1984332"/>
                    <a:gd name="connsiteY31" fmla="*/ 154577 h 1520187"/>
                    <a:gd name="connsiteX32" fmla="*/ 537660 w 1984332"/>
                    <a:gd name="connsiteY32" fmla="*/ 47045 h 1520187"/>
                    <a:gd name="connsiteX33" fmla="*/ 423407 w 1984332"/>
                    <a:gd name="connsiteY33" fmla="*/ 0 h 1520187"/>
                    <a:gd name="connsiteX34" fmla="*/ 423407 w 1984332"/>
                    <a:gd name="connsiteY34" fmla="*/ 0 h 1520187"/>
                    <a:gd name="connsiteX35" fmla="*/ 268830 w 1984332"/>
                    <a:gd name="connsiteY35" fmla="*/ 154577 h 1520187"/>
                    <a:gd name="connsiteX36" fmla="*/ 349479 w 1984332"/>
                    <a:gd name="connsiteY36" fmla="*/ 288991 h 1520187"/>
                    <a:gd name="connsiteX37" fmla="*/ 349479 w 1984332"/>
                    <a:gd name="connsiteY37" fmla="*/ 329316 h 1520187"/>
                    <a:gd name="connsiteX38" fmla="*/ 20162 w 1984332"/>
                    <a:gd name="connsiteY38" fmla="*/ 336037 h 1520187"/>
                    <a:gd name="connsiteX39" fmla="*/ 0 w 1984332"/>
                    <a:gd name="connsiteY39" fmla="*/ 356199 h 1520187"/>
                    <a:gd name="connsiteX40" fmla="*/ 0 w 1984332"/>
                    <a:gd name="connsiteY40" fmla="*/ 698956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20162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94090 w 1984332"/>
                    <a:gd name="connsiteY46" fmla="*/ 719118 h 1520187"/>
                    <a:gd name="connsiteX47" fmla="*/ 120973 w 1984332"/>
                    <a:gd name="connsiteY47" fmla="*/ 705677 h 1520187"/>
                    <a:gd name="connsiteX48" fmla="*/ 221785 w 1984332"/>
                    <a:gd name="connsiteY48" fmla="*/ 638469 h 1520187"/>
                    <a:gd name="connsiteX49" fmla="*/ 221785 w 1984332"/>
                    <a:gd name="connsiteY49" fmla="*/ 638469 h 1520187"/>
                    <a:gd name="connsiteX50" fmla="*/ 336037 w 1984332"/>
                    <a:gd name="connsiteY50" fmla="*/ 752722 h 1520187"/>
                    <a:gd name="connsiteX51" fmla="*/ 221785 w 1984332"/>
                    <a:gd name="connsiteY51" fmla="*/ 873695 h 1520187"/>
                    <a:gd name="connsiteX52" fmla="*/ 221785 w 1984332"/>
                    <a:gd name="connsiteY52" fmla="*/ 873695 h 1520187"/>
                    <a:gd name="connsiteX53" fmla="*/ 114253 w 1984332"/>
                    <a:gd name="connsiteY53" fmla="*/ 799767 h 1520187"/>
                    <a:gd name="connsiteX54" fmla="*/ 94090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20162 w 1984332"/>
                    <a:gd name="connsiteY59" fmla="*/ 786325 h 1520187"/>
                    <a:gd name="connsiteX60" fmla="*/ 0 w 1984332"/>
                    <a:gd name="connsiteY60" fmla="*/ 806488 h 1520187"/>
                    <a:gd name="connsiteX61" fmla="*/ 0 w 1984332"/>
                    <a:gd name="connsiteY61" fmla="*/ 1162686 h 1520187"/>
                    <a:gd name="connsiteX62" fmla="*/ 20162 w 1984332"/>
                    <a:gd name="connsiteY62" fmla="*/ 1182849 h 1520187"/>
                    <a:gd name="connsiteX63" fmla="*/ 20162 w 1984332"/>
                    <a:gd name="connsiteY63" fmla="*/ 1182849 h 1520187"/>
                    <a:gd name="connsiteX64" fmla="*/ 356200 w 1984332"/>
                    <a:gd name="connsiteY64" fmla="*/ 1182849 h 1520187"/>
                    <a:gd name="connsiteX65" fmla="*/ 356200 w 1984332"/>
                    <a:gd name="connsiteY65" fmla="*/ 1223173 h 1520187"/>
                    <a:gd name="connsiteX66" fmla="*/ 268830 w 1984332"/>
                    <a:gd name="connsiteY66" fmla="*/ 1364308 h 1520187"/>
                    <a:gd name="connsiteX67" fmla="*/ 315875 w 1984332"/>
                    <a:gd name="connsiteY67" fmla="*/ 1471840 h 1520187"/>
                    <a:gd name="connsiteX68" fmla="*/ 423407 w 1984332"/>
                    <a:gd name="connsiteY68" fmla="*/ 1518885 h 1520187"/>
                    <a:gd name="connsiteX69" fmla="*/ 423407 w 1984332"/>
                    <a:gd name="connsiteY69" fmla="*/ 1518885 h 1520187"/>
                    <a:gd name="connsiteX70" fmla="*/ 537660 w 1984332"/>
                    <a:gd name="connsiteY70" fmla="*/ 1478561 h 1520187"/>
                    <a:gd name="connsiteX71" fmla="*/ 584705 w 1984332"/>
                    <a:gd name="connsiteY71" fmla="*/ 1371029 h 1520187"/>
                    <a:gd name="connsiteX72" fmla="*/ 510777 w 1984332"/>
                    <a:gd name="connsiteY72" fmla="*/ 1236614 h 1520187"/>
                    <a:gd name="connsiteX73" fmla="*/ 510777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833373 w 1984332"/>
                    <a:gd name="connsiteY76" fmla="*/ 1189569 h 1520187"/>
                    <a:gd name="connsiteX77" fmla="*/ 1189572 w 1984332"/>
                    <a:gd name="connsiteY77" fmla="*/ 1189569 h 1520187"/>
                    <a:gd name="connsiteX78" fmla="*/ 1203014 w 1984332"/>
                    <a:gd name="connsiteY78" fmla="*/ 1182849 h 1520187"/>
                    <a:gd name="connsiteX79" fmla="*/ 1209734 w 1984332"/>
                    <a:gd name="connsiteY79" fmla="*/ 1169407 h 1520187"/>
                    <a:gd name="connsiteX80" fmla="*/ 1209734 w 1984332"/>
                    <a:gd name="connsiteY80" fmla="*/ 1095479 h 1520187"/>
                    <a:gd name="connsiteX81" fmla="*/ 1196293 w 1984332"/>
                    <a:gd name="connsiteY81" fmla="*/ 1075317 h 1520187"/>
                    <a:gd name="connsiteX82" fmla="*/ 1122365 w 1984332"/>
                    <a:gd name="connsiteY82" fmla="*/ 967785 h 1520187"/>
                    <a:gd name="connsiteX83" fmla="*/ 1155969 w 1984332"/>
                    <a:gd name="connsiteY83" fmla="*/ 887136 h 1520187"/>
                    <a:gd name="connsiteX84" fmla="*/ 1236617 w 1984332"/>
                    <a:gd name="connsiteY84" fmla="*/ 853533 h 1520187"/>
                    <a:gd name="connsiteX85" fmla="*/ 1236617 w 1984332"/>
                    <a:gd name="connsiteY85" fmla="*/ 853533 h 1520187"/>
                    <a:gd name="connsiteX86" fmla="*/ 1317266 w 1984332"/>
                    <a:gd name="connsiteY86" fmla="*/ 887136 h 1520187"/>
                    <a:gd name="connsiteX87" fmla="*/ 1350870 w 1984332"/>
                    <a:gd name="connsiteY87" fmla="*/ 967785 h 1520187"/>
                    <a:gd name="connsiteX88" fmla="*/ 1283663 w 1984332"/>
                    <a:gd name="connsiteY88" fmla="*/ 1068596 h 1520187"/>
                    <a:gd name="connsiteX89" fmla="*/ 1270221 w 1984332"/>
                    <a:gd name="connsiteY89" fmla="*/ 1088758 h 1520187"/>
                    <a:gd name="connsiteX90" fmla="*/ 1270221 w 1984332"/>
                    <a:gd name="connsiteY90" fmla="*/ 1162686 h 1520187"/>
                    <a:gd name="connsiteX91" fmla="*/ 1276942 w 1984332"/>
                    <a:gd name="connsiteY91" fmla="*/ 1176128 h 1520187"/>
                    <a:gd name="connsiteX92" fmla="*/ 1290383 w 1984332"/>
                    <a:gd name="connsiteY92" fmla="*/ 1182849 h 1520187"/>
                    <a:gd name="connsiteX93" fmla="*/ 1290383 w 1984332"/>
                    <a:gd name="connsiteY93" fmla="*/ 1182849 h 1520187"/>
                    <a:gd name="connsiteX94" fmla="*/ 1633141 w 1984332"/>
                    <a:gd name="connsiteY94" fmla="*/ 1182849 h 1520187"/>
                    <a:gd name="connsiteX95" fmla="*/ 1653304 w 1984332"/>
                    <a:gd name="connsiteY95" fmla="*/ 1162686 h 1520187"/>
                    <a:gd name="connsiteX96" fmla="*/ 1653304 w 1984332"/>
                    <a:gd name="connsiteY96" fmla="*/ 833371 h 1520187"/>
                    <a:gd name="connsiteX97" fmla="*/ 1693628 w 1984332"/>
                    <a:gd name="connsiteY97" fmla="*/ 833371 h 1520187"/>
                    <a:gd name="connsiteX98" fmla="*/ 1828043 w 1984332"/>
                    <a:gd name="connsiteY98" fmla="*/ 914019 h 1520187"/>
                    <a:gd name="connsiteX99" fmla="*/ 1828043 w 1984332"/>
                    <a:gd name="connsiteY99" fmla="*/ 914019 h 1520187"/>
                    <a:gd name="connsiteX100" fmla="*/ 1935575 w 1984332"/>
                    <a:gd name="connsiteY100" fmla="*/ 866974 h 1520187"/>
                    <a:gd name="connsiteX101" fmla="*/ 1982620 w 1984332"/>
                    <a:gd name="connsiteY101" fmla="*/ 759443 h 1520187"/>
                    <a:gd name="connsiteX102" fmla="*/ 1949017 w 1984332"/>
                    <a:gd name="connsiteY102" fmla="*/ 645190 h 1520187"/>
                    <a:gd name="connsiteX103" fmla="*/ 483894 w 1984332"/>
                    <a:gd name="connsiteY103" fmla="*/ 1142524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162686 h 1520187"/>
                    <a:gd name="connsiteX107" fmla="*/ 463732 w 1984332"/>
                    <a:gd name="connsiteY107" fmla="*/ 1236614 h 1520187"/>
                    <a:gd name="connsiteX108" fmla="*/ 463732 w 1984332"/>
                    <a:gd name="connsiteY108" fmla="*/ 1236614 h 1520187"/>
                    <a:gd name="connsiteX109" fmla="*/ 477173 w 1984332"/>
                    <a:gd name="connsiteY109" fmla="*/ 1263497 h 1520187"/>
                    <a:gd name="connsiteX110" fmla="*/ 544381 w 1984332"/>
                    <a:gd name="connsiteY110" fmla="*/ 1364308 h 1520187"/>
                    <a:gd name="connsiteX111" fmla="*/ 510777 w 1984332"/>
                    <a:gd name="connsiteY111" fmla="*/ 1444957 h 1520187"/>
                    <a:gd name="connsiteX112" fmla="*/ 423407 w 1984332"/>
                    <a:gd name="connsiteY112" fmla="*/ 1478561 h 1520187"/>
                    <a:gd name="connsiteX113" fmla="*/ 423407 w 1984332"/>
                    <a:gd name="connsiteY113" fmla="*/ 1478561 h 1520187"/>
                    <a:gd name="connsiteX114" fmla="*/ 342758 w 1984332"/>
                    <a:gd name="connsiteY114" fmla="*/ 1444957 h 1520187"/>
                    <a:gd name="connsiteX115" fmla="*/ 309154 w 1984332"/>
                    <a:gd name="connsiteY115" fmla="*/ 1364308 h 1520187"/>
                    <a:gd name="connsiteX116" fmla="*/ 383083 w 1984332"/>
                    <a:gd name="connsiteY116" fmla="*/ 1256777 h 1520187"/>
                    <a:gd name="connsiteX117" fmla="*/ 396524 w 1984332"/>
                    <a:gd name="connsiteY117" fmla="*/ 1236614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96524 w 1984332"/>
                    <a:gd name="connsiteY120" fmla="*/ 1162686 h 1520187"/>
                    <a:gd name="connsiteX121" fmla="*/ 376362 w 1984332"/>
                    <a:gd name="connsiteY121" fmla="*/ 1142524 h 1520187"/>
                    <a:gd name="connsiteX122" fmla="*/ 376362 w 1984332"/>
                    <a:gd name="connsiteY122" fmla="*/ 1142524 h 1520187"/>
                    <a:gd name="connsiteX123" fmla="*/ 40324 w 1984332"/>
                    <a:gd name="connsiteY123" fmla="*/ 1142524 h 1520187"/>
                    <a:gd name="connsiteX124" fmla="*/ 40324 w 1984332"/>
                    <a:gd name="connsiteY124" fmla="*/ 833371 h 1520187"/>
                    <a:gd name="connsiteX125" fmla="*/ 80649 w 1984332"/>
                    <a:gd name="connsiteY125" fmla="*/ 833371 h 1520187"/>
                    <a:gd name="connsiteX126" fmla="*/ 221785 w 1984332"/>
                    <a:gd name="connsiteY126" fmla="*/ 920740 h 1520187"/>
                    <a:gd name="connsiteX127" fmla="*/ 221785 w 1984332"/>
                    <a:gd name="connsiteY127" fmla="*/ 920740 h 1520187"/>
                    <a:gd name="connsiteX128" fmla="*/ 376362 w 1984332"/>
                    <a:gd name="connsiteY128" fmla="*/ 766163 h 1520187"/>
                    <a:gd name="connsiteX129" fmla="*/ 221785 w 1984332"/>
                    <a:gd name="connsiteY129" fmla="*/ 604866 h 1520187"/>
                    <a:gd name="connsiteX130" fmla="*/ 221785 w 1984332"/>
                    <a:gd name="connsiteY130" fmla="*/ 604866 h 1520187"/>
                    <a:gd name="connsiteX131" fmla="*/ 87370 w 1984332"/>
                    <a:gd name="connsiteY131" fmla="*/ 678794 h 1520187"/>
                    <a:gd name="connsiteX132" fmla="*/ 40324 w 1984332"/>
                    <a:gd name="connsiteY132" fmla="*/ 678794 h 1520187"/>
                    <a:gd name="connsiteX133" fmla="*/ 40324 w 1984332"/>
                    <a:gd name="connsiteY133" fmla="*/ 376361 h 1520187"/>
                    <a:gd name="connsiteX134" fmla="*/ 369641 w 1984332"/>
                    <a:gd name="connsiteY134" fmla="*/ 376361 h 1520187"/>
                    <a:gd name="connsiteX135" fmla="*/ 383083 w 1984332"/>
                    <a:gd name="connsiteY135" fmla="*/ 369640 h 1520187"/>
                    <a:gd name="connsiteX136" fmla="*/ 389803 w 1984332"/>
                    <a:gd name="connsiteY136" fmla="*/ 356199 h 1520187"/>
                    <a:gd name="connsiteX137" fmla="*/ 389803 w 1984332"/>
                    <a:gd name="connsiteY137" fmla="*/ 275550 h 1520187"/>
                    <a:gd name="connsiteX138" fmla="*/ 376362 w 1984332"/>
                    <a:gd name="connsiteY138" fmla="*/ 255388 h 1520187"/>
                    <a:gd name="connsiteX139" fmla="*/ 309154 w 1984332"/>
                    <a:gd name="connsiteY139" fmla="*/ 154577 h 1520187"/>
                    <a:gd name="connsiteX140" fmla="*/ 423407 w 1984332"/>
                    <a:gd name="connsiteY140" fmla="*/ 40324 h 1520187"/>
                    <a:gd name="connsiteX141" fmla="*/ 504056 w 1984332"/>
                    <a:gd name="connsiteY141" fmla="*/ 73928 h 1520187"/>
                    <a:gd name="connsiteX142" fmla="*/ 537660 w 1984332"/>
                    <a:gd name="connsiteY142" fmla="*/ 154577 h 1520187"/>
                    <a:gd name="connsiteX143" fmla="*/ 470452 w 1984332"/>
                    <a:gd name="connsiteY143" fmla="*/ 262109 h 1520187"/>
                    <a:gd name="connsiteX144" fmla="*/ 457011 w 1984332"/>
                    <a:gd name="connsiteY144" fmla="*/ 282271 h 1520187"/>
                    <a:gd name="connsiteX145" fmla="*/ 457011 w 1984332"/>
                    <a:gd name="connsiteY145" fmla="*/ 362919 h 1520187"/>
                    <a:gd name="connsiteX146" fmla="*/ 477173 w 1984332"/>
                    <a:gd name="connsiteY146" fmla="*/ 383082 h 1520187"/>
                    <a:gd name="connsiteX147" fmla="*/ 477173 w 1984332"/>
                    <a:gd name="connsiteY147" fmla="*/ 383082 h 1520187"/>
                    <a:gd name="connsiteX148" fmla="*/ 806490 w 1984332"/>
                    <a:gd name="connsiteY148" fmla="*/ 383082 h 1520187"/>
                    <a:gd name="connsiteX149" fmla="*/ 806490 w 1984332"/>
                    <a:gd name="connsiteY149" fmla="*/ 631749 h 1520187"/>
                    <a:gd name="connsiteX150" fmla="*/ 806490 w 1984332"/>
                    <a:gd name="connsiteY150" fmla="*/ 685515 h 1520187"/>
                    <a:gd name="connsiteX151" fmla="*/ 766165 w 1984332"/>
                    <a:gd name="connsiteY151" fmla="*/ 685515 h 1520187"/>
                    <a:gd name="connsiteX152" fmla="*/ 631750 w 1984332"/>
                    <a:gd name="connsiteY152" fmla="*/ 604866 h 1520187"/>
                    <a:gd name="connsiteX153" fmla="*/ 631750 w 1984332"/>
                    <a:gd name="connsiteY153" fmla="*/ 604866 h 1520187"/>
                    <a:gd name="connsiteX154" fmla="*/ 517497 w 1984332"/>
                    <a:gd name="connsiteY154" fmla="*/ 651911 h 1520187"/>
                    <a:gd name="connsiteX155" fmla="*/ 470452 w 1984332"/>
                    <a:gd name="connsiteY155" fmla="*/ 759443 h 1520187"/>
                    <a:gd name="connsiteX156" fmla="*/ 517497 w 1984332"/>
                    <a:gd name="connsiteY156" fmla="*/ 866974 h 1520187"/>
                    <a:gd name="connsiteX157" fmla="*/ 625029 w 1984332"/>
                    <a:gd name="connsiteY157" fmla="*/ 914019 h 1520187"/>
                    <a:gd name="connsiteX158" fmla="*/ 625029 w 1984332"/>
                    <a:gd name="connsiteY158" fmla="*/ 914019 h 1520187"/>
                    <a:gd name="connsiteX159" fmla="*/ 766165 w 1984332"/>
                    <a:gd name="connsiteY159" fmla="*/ 826650 h 1520187"/>
                    <a:gd name="connsiteX160" fmla="*/ 799769 w 1984332"/>
                    <a:gd name="connsiteY160" fmla="*/ 826650 h 1520187"/>
                    <a:gd name="connsiteX161" fmla="*/ 799769 w 1984332"/>
                    <a:gd name="connsiteY161" fmla="*/ 1135803 h 1520187"/>
                    <a:gd name="connsiteX162" fmla="*/ 483894 w 1984332"/>
                    <a:gd name="connsiteY162" fmla="*/ 1142524 h 1520187"/>
                    <a:gd name="connsiteX163" fmla="*/ 1915413 w 1984332"/>
                    <a:gd name="connsiteY163" fmla="*/ 840091 h 1520187"/>
                    <a:gd name="connsiteX164" fmla="*/ 1834764 w 1984332"/>
                    <a:gd name="connsiteY164" fmla="*/ 873695 h 1520187"/>
                    <a:gd name="connsiteX165" fmla="*/ 1834764 w 1984332"/>
                    <a:gd name="connsiteY165" fmla="*/ 873695 h 1520187"/>
                    <a:gd name="connsiteX166" fmla="*/ 1733953 w 1984332"/>
                    <a:gd name="connsiteY166" fmla="*/ 806488 h 1520187"/>
                    <a:gd name="connsiteX167" fmla="*/ 1713790 w 1984332"/>
                    <a:gd name="connsiteY167" fmla="*/ 793046 h 1520187"/>
                    <a:gd name="connsiteX168" fmla="*/ 1713790 w 1984332"/>
                    <a:gd name="connsiteY168" fmla="*/ 793046 h 1520187"/>
                    <a:gd name="connsiteX169" fmla="*/ 1633141 w 1984332"/>
                    <a:gd name="connsiteY169" fmla="*/ 793046 h 1520187"/>
                    <a:gd name="connsiteX170" fmla="*/ 1612979 w 1984332"/>
                    <a:gd name="connsiteY170" fmla="*/ 813208 h 1520187"/>
                    <a:gd name="connsiteX171" fmla="*/ 1612979 w 1984332"/>
                    <a:gd name="connsiteY171" fmla="*/ 1142524 h 1520187"/>
                    <a:gd name="connsiteX172" fmla="*/ 1310546 w 1984332"/>
                    <a:gd name="connsiteY172" fmla="*/ 1142524 h 1520187"/>
                    <a:gd name="connsiteX173" fmla="*/ 1310546 w 1984332"/>
                    <a:gd name="connsiteY173" fmla="*/ 1102200 h 1520187"/>
                    <a:gd name="connsiteX174" fmla="*/ 1384474 w 1984332"/>
                    <a:gd name="connsiteY174" fmla="*/ 967785 h 1520187"/>
                    <a:gd name="connsiteX175" fmla="*/ 1337429 w 1984332"/>
                    <a:gd name="connsiteY175" fmla="*/ 860254 h 1520187"/>
                    <a:gd name="connsiteX176" fmla="*/ 1229897 w 1984332"/>
                    <a:gd name="connsiteY176" fmla="*/ 813208 h 1520187"/>
                    <a:gd name="connsiteX177" fmla="*/ 1229897 w 1984332"/>
                    <a:gd name="connsiteY177" fmla="*/ 813208 h 1520187"/>
                    <a:gd name="connsiteX178" fmla="*/ 1122365 w 1984332"/>
                    <a:gd name="connsiteY178" fmla="*/ 860254 h 1520187"/>
                    <a:gd name="connsiteX179" fmla="*/ 1075320 w 1984332"/>
                    <a:gd name="connsiteY179" fmla="*/ 967785 h 1520187"/>
                    <a:gd name="connsiteX180" fmla="*/ 1162689 w 1984332"/>
                    <a:gd name="connsiteY180" fmla="*/ 1108921 h 1520187"/>
                    <a:gd name="connsiteX181" fmla="*/ 1162689 w 1984332"/>
                    <a:gd name="connsiteY181" fmla="*/ 1142524 h 1520187"/>
                    <a:gd name="connsiteX182" fmla="*/ 853535 w 1984332"/>
                    <a:gd name="connsiteY182" fmla="*/ 1142524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19929 h 1520187"/>
                    <a:gd name="connsiteX185" fmla="*/ 853535 w 1984332"/>
                    <a:gd name="connsiteY185" fmla="*/ 806488 h 1520187"/>
                    <a:gd name="connsiteX186" fmla="*/ 846814 w 1984332"/>
                    <a:gd name="connsiteY186" fmla="*/ 793046 h 1520187"/>
                    <a:gd name="connsiteX187" fmla="*/ 833373 w 1984332"/>
                    <a:gd name="connsiteY187" fmla="*/ 786325 h 1520187"/>
                    <a:gd name="connsiteX188" fmla="*/ 833373 w 1984332"/>
                    <a:gd name="connsiteY188" fmla="*/ 786325 h 1520187"/>
                    <a:gd name="connsiteX189" fmla="*/ 759444 w 1984332"/>
                    <a:gd name="connsiteY189" fmla="*/ 786325 h 1520187"/>
                    <a:gd name="connsiteX190" fmla="*/ 739282 w 1984332"/>
                    <a:gd name="connsiteY190" fmla="*/ 799767 h 1520187"/>
                    <a:gd name="connsiteX191" fmla="*/ 631750 w 1984332"/>
                    <a:gd name="connsiteY191" fmla="*/ 873695 h 1520187"/>
                    <a:gd name="connsiteX192" fmla="*/ 631750 w 1984332"/>
                    <a:gd name="connsiteY192" fmla="*/ 873695 h 1520187"/>
                    <a:gd name="connsiteX193" fmla="*/ 551101 w 1984332"/>
                    <a:gd name="connsiteY193" fmla="*/ 840091 h 1520187"/>
                    <a:gd name="connsiteX194" fmla="*/ 517497 w 1984332"/>
                    <a:gd name="connsiteY194" fmla="*/ 759443 h 1520187"/>
                    <a:gd name="connsiteX195" fmla="*/ 551101 w 1984332"/>
                    <a:gd name="connsiteY195" fmla="*/ 678794 h 1520187"/>
                    <a:gd name="connsiteX196" fmla="*/ 631750 w 1984332"/>
                    <a:gd name="connsiteY196" fmla="*/ 645190 h 1520187"/>
                    <a:gd name="connsiteX197" fmla="*/ 631750 w 1984332"/>
                    <a:gd name="connsiteY197" fmla="*/ 645190 h 1520187"/>
                    <a:gd name="connsiteX198" fmla="*/ 732561 w 1984332"/>
                    <a:gd name="connsiteY198" fmla="*/ 712397 h 1520187"/>
                    <a:gd name="connsiteX199" fmla="*/ 752724 w 1984332"/>
                    <a:gd name="connsiteY199" fmla="*/ 725839 h 1520187"/>
                    <a:gd name="connsiteX200" fmla="*/ 752724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26652 w 1984332"/>
                    <a:gd name="connsiteY202" fmla="*/ 725839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0093 w 1984332"/>
                    <a:gd name="connsiteY205" fmla="*/ 719118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705677 h 1520187"/>
                    <a:gd name="connsiteX210" fmla="*/ 846814 w 1984332"/>
                    <a:gd name="connsiteY210" fmla="*/ 383082 h 1520187"/>
                    <a:gd name="connsiteX211" fmla="*/ 1155969 w 1984332"/>
                    <a:gd name="connsiteY211" fmla="*/ 383082 h 1520187"/>
                    <a:gd name="connsiteX212" fmla="*/ 1155969 w 1984332"/>
                    <a:gd name="connsiteY212" fmla="*/ 423406 h 1520187"/>
                    <a:gd name="connsiteX213" fmla="*/ 1075320 w 1984332"/>
                    <a:gd name="connsiteY213" fmla="*/ 557821 h 1520187"/>
                    <a:gd name="connsiteX214" fmla="*/ 1229897 w 1984332"/>
                    <a:gd name="connsiteY214" fmla="*/ 712397 h 1520187"/>
                    <a:gd name="connsiteX215" fmla="*/ 1229897 w 1984332"/>
                    <a:gd name="connsiteY215" fmla="*/ 712397 h 1520187"/>
                    <a:gd name="connsiteX216" fmla="*/ 1354097 w 1984332"/>
                    <a:gd name="connsiteY216" fmla="*/ 670115 h 1520187"/>
                    <a:gd name="connsiteX217" fmla="*/ 1396380 w 1984332"/>
                    <a:gd name="connsiteY217" fmla="*/ 543533 h 1520187"/>
                    <a:gd name="connsiteX218" fmla="*/ 1310546 w 1984332"/>
                    <a:gd name="connsiteY218" fmla="*/ 423406 h 1520187"/>
                    <a:gd name="connsiteX219" fmla="*/ 1310546 w 1984332"/>
                    <a:gd name="connsiteY219" fmla="*/ 376361 h 1520187"/>
                    <a:gd name="connsiteX220" fmla="*/ 1612979 w 1984332"/>
                    <a:gd name="connsiteY220" fmla="*/ 376361 h 1520187"/>
                    <a:gd name="connsiteX221" fmla="*/ 1612979 w 1984332"/>
                    <a:gd name="connsiteY221" fmla="*/ 705677 h 1520187"/>
                    <a:gd name="connsiteX222" fmla="*/ 1633141 w 1984332"/>
                    <a:gd name="connsiteY222" fmla="*/ 725839 h 1520187"/>
                    <a:gd name="connsiteX223" fmla="*/ 1633141 w 1984332"/>
                    <a:gd name="connsiteY223" fmla="*/ 725839 h 1520187"/>
                    <a:gd name="connsiteX224" fmla="*/ 1713790 w 1984332"/>
                    <a:gd name="connsiteY224" fmla="*/ 725839 h 1520187"/>
                    <a:gd name="connsiteX225" fmla="*/ 1733953 w 1984332"/>
                    <a:gd name="connsiteY225" fmla="*/ 712397 h 1520187"/>
                    <a:gd name="connsiteX226" fmla="*/ 1834764 w 1984332"/>
                    <a:gd name="connsiteY226" fmla="*/ 645190 h 1520187"/>
                    <a:gd name="connsiteX227" fmla="*/ 1834764 w 1984332"/>
                    <a:gd name="connsiteY227" fmla="*/ 645190 h 1520187"/>
                    <a:gd name="connsiteX228" fmla="*/ 1915413 w 1984332"/>
                    <a:gd name="connsiteY228" fmla="*/ 678794 h 1520187"/>
                    <a:gd name="connsiteX229" fmla="*/ 1949017 w 1984332"/>
                    <a:gd name="connsiteY229" fmla="*/ 759443 h 1520187"/>
                    <a:gd name="connsiteX230" fmla="*/ 1915413 w 1984332"/>
                    <a:gd name="connsiteY230" fmla="*/ 840091 h 1520187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83663 w 1984332"/>
                    <a:gd name="connsiteY13" fmla="*/ 423406 h 1520187"/>
                    <a:gd name="connsiteX14" fmla="*/ 1297104 w 1984332"/>
                    <a:gd name="connsiteY14" fmla="*/ 450289 h 1520187"/>
                    <a:gd name="connsiteX15" fmla="*/ 1364312 w 1984332"/>
                    <a:gd name="connsiteY15" fmla="*/ 551100 h 1520187"/>
                    <a:gd name="connsiteX16" fmla="*/ 1330708 w 1984332"/>
                    <a:gd name="connsiteY16" fmla="*/ 631749 h 1520187"/>
                    <a:gd name="connsiteX17" fmla="*/ 1250059 w 1984332"/>
                    <a:gd name="connsiteY17" fmla="*/ 665352 h 1520187"/>
                    <a:gd name="connsiteX18" fmla="*/ 1135806 w 1984332"/>
                    <a:gd name="connsiteY18" fmla="*/ 551100 h 1520187"/>
                    <a:gd name="connsiteX19" fmla="*/ 1209734 w 1984332"/>
                    <a:gd name="connsiteY19" fmla="*/ 443568 h 1520187"/>
                    <a:gd name="connsiteX20" fmla="*/ 1223176 w 1984332"/>
                    <a:gd name="connsiteY20" fmla="*/ 423406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223176 w 1984332"/>
                    <a:gd name="connsiteY23" fmla="*/ 349478 h 1520187"/>
                    <a:gd name="connsiteX24" fmla="*/ 1182852 w 1984332"/>
                    <a:gd name="connsiteY24" fmla="*/ 336037 h 1520187"/>
                    <a:gd name="connsiteX25" fmla="*/ 11828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826652 w 1984332"/>
                    <a:gd name="connsiteY28" fmla="*/ 336037 h 1520187"/>
                    <a:gd name="connsiteX29" fmla="*/ 497335 w 1984332"/>
                    <a:gd name="connsiteY29" fmla="*/ 336037 h 1520187"/>
                    <a:gd name="connsiteX30" fmla="*/ 497335 w 1984332"/>
                    <a:gd name="connsiteY30" fmla="*/ 295712 h 1520187"/>
                    <a:gd name="connsiteX31" fmla="*/ 584705 w 1984332"/>
                    <a:gd name="connsiteY31" fmla="*/ 154577 h 1520187"/>
                    <a:gd name="connsiteX32" fmla="*/ 537660 w 1984332"/>
                    <a:gd name="connsiteY32" fmla="*/ 47045 h 1520187"/>
                    <a:gd name="connsiteX33" fmla="*/ 423407 w 1984332"/>
                    <a:gd name="connsiteY33" fmla="*/ 0 h 1520187"/>
                    <a:gd name="connsiteX34" fmla="*/ 423407 w 1984332"/>
                    <a:gd name="connsiteY34" fmla="*/ 0 h 1520187"/>
                    <a:gd name="connsiteX35" fmla="*/ 268830 w 1984332"/>
                    <a:gd name="connsiteY35" fmla="*/ 154577 h 1520187"/>
                    <a:gd name="connsiteX36" fmla="*/ 349479 w 1984332"/>
                    <a:gd name="connsiteY36" fmla="*/ 288991 h 1520187"/>
                    <a:gd name="connsiteX37" fmla="*/ 349479 w 1984332"/>
                    <a:gd name="connsiteY37" fmla="*/ 329316 h 1520187"/>
                    <a:gd name="connsiteX38" fmla="*/ 20162 w 1984332"/>
                    <a:gd name="connsiteY38" fmla="*/ 336037 h 1520187"/>
                    <a:gd name="connsiteX39" fmla="*/ 0 w 1984332"/>
                    <a:gd name="connsiteY39" fmla="*/ 356199 h 1520187"/>
                    <a:gd name="connsiteX40" fmla="*/ 0 w 1984332"/>
                    <a:gd name="connsiteY40" fmla="*/ 698956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20162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94090 w 1984332"/>
                    <a:gd name="connsiteY46" fmla="*/ 719118 h 1520187"/>
                    <a:gd name="connsiteX47" fmla="*/ 120973 w 1984332"/>
                    <a:gd name="connsiteY47" fmla="*/ 705677 h 1520187"/>
                    <a:gd name="connsiteX48" fmla="*/ 221785 w 1984332"/>
                    <a:gd name="connsiteY48" fmla="*/ 638469 h 1520187"/>
                    <a:gd name="connsiteX49" fmla="*/ 221785 w 1984332"/>
                    <a:gd name="connsiteY49" fmla="*/ 638469 h 1520187"/>
                    <a:gd name="connsiteX50" fmla="*/ 336037 w 1984332"/>
                    <a:gd name="connsiteY50" fmla="*/ 752722 h 1520187"/>
                    <a:gd name="connsiteX51" fmla="*/ 221785 w 1984332"/>
                    <a:gd name="connsiteY51" fmla="*/ 873695 h 1520187"/>
                    <a:gd name="connsiteX52" fmla="*/ 221785 w 1984332"/>
                    <a:gd name="connsiteY52" fmla="*/ 873695 h 1520187"/>
                    <a:gd name="connsiteX53" fmla="*/ 114253 w 1984332"/>
                    <a:gd name="connsiteY53" fmla="*/ 799767 h 1520187"/>
                    <a:gd name="connsiteX54" fmla="*/ 94090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20162 w 1984332"/>
                    <a:gd name="connsiteY59" fmla="*/ 786325 h 1520187"/>
                    <a:gd name="connsiteX60" fmla="*/ 0 w 1984332"/>
                    <a:gd name="connsiteY60" fmla="*/ 806488 h 1520187"/>
                    <a:gd name="connsiteX61" fmla="*/ 0 w 1984332"/>
                    <a:gd name="connsiteY61" fmla="*/ 1162686 h 1520187"/>
                    <a:gd name="connsiteX62" fmla="*/ 20162 w 1984332"/>
                    <a:gd name="connsiteY62" fmla="*/ 1182849 h 1520187"/>
                    <a:gd name="connsiteX63" fmla="*/ 20162 w 1984332"/>
                    <a:gd name="connsiteY63" fmla="*/ 1182849 h 1520187"/>
                    <a:gd name="connsiteX64" fmla="*/ 356200 w 1984332"/>
                    <a:gd name="connsiteY64" fmla="*/ 1182849 h 1520187"/>
                    <a:gd name="connsiteX65" fmla="*/ 356200 w 1984332"/>
                    <a:gd name="connsiteY65" fmla="*/ 1223173 h 1520187"/>
                    <a:gd name="connsiteX66" fmla="*/ 268830 w 1984332"/>
                    <a:gd name="connsiteY66" fmla="*/ 1364308 h 1520187"/>
                    <a:gd name="connsiteX67" fmla="*/ 315875 w 1984332"/>
                    <a:gd name="connsiteY67" fmla="*/ 1471840 h 1520187"/>
                    <a:gd name="connsiteX68" fmla="*/ 423407 w 1984332"/>
                    <a:gd name="connsiteY68" fmla="*/ 1518885 h 1520187"/>
                    <a:gd name="connsiteX69" fmla="*/ 423407 w 1984332"/>
                    <a:gd name="connsiteY69" fmla="*/ 1518885 h 1520187"/>
                    <a:gd name="connsiteX70" fmla="*/ 537660 w 1984332"/>
                    <a:gd name="connsiteY70" fmla="*/ 1478561 h 1520187"/>
                    <a:gd name="connsiteX71" fmla="*/ 584705 w 1984332"/>
                    <a:gd name="connsiteY71" fmla="*/ 1371029 h 1520187"/>
                    <a:gd name="connsiteX72" fmla="*/ 510777 w 1984332"/>
                    <a:gd name="connsiteY72" fmla="*/ 1236614 h 1520187"/>
                    <a:gd name="connsiteX73" fmla="*/ 510777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833373 w 1984332"/>
                    <a:gd name="connsiteY76" fmla="*/ 1189569 h 1520187"/>
                    <a:gd name="connsiteX77" fmla="*/ 1189572 w 1984332"/>
                    <a:gd name="connsiteY77" fmla="*/ 1189569 h 1520187"/>
                    <a:gd name="connsiteX78" fmla="*/ 1203014 w 1984332"/>
                    <a:gd name="connsiteY78" fmla="*/ 1182849 h 1520187"/>
                    <a:gd name="connsiteX79" fmla="*/ 1209734 w 1984332"/>
                    <a:gd name="connsiteY79" fmla="*/ 1169407 h 1520187"/>
                    <a:gd name="connsiteX80" fmla="*/ 1209734 w 1984332"/>
                    <a:gd name="connsiteY80" fmla="*/ 1095479 h 1520187"/>
                    <a:gd name="connsiteX81" fmla="*/ 1196293 w 1984332"/>
                    <a:gd name="connsiteY81" fmla="*/ 1075317 h 1520187"/>
                    <a:gd name="connsiteX82" fmla="*/ 1122365 w 1984332"/>
                    <a:gd name="connsiteY82" fmla="*/ 967785 h 1520187"/>
                    <a:gd name="connsiteX83" fmla="*/ 1155969 w 1984332"/>
                    <a:gd name="connsiteY83" fmla="*/ 887136 h 1520187"/>
                    <a:gd name="connsiteX84" fmla="*/ 1236617 w 1984332"/>
                    <a:gd name="connsiteY84" fmla="*/ 853533 h 1520187"/>
                    <a:gd name="connsiteX85" fmla="*/ 1236617 w 1984332"/>
                    <a:gd name="connsiteY85" fmla="*/ 853533 h 1520187"/>
                    <a:gd name="connsiteX86" fmla="*/ 1317266 w 1984332"/>
                    <a:gd name="connsiteY86" fmla="*/ 887136 h 1520187"/>
                    <a:gd name="connsiteX87" fmla="*/ 1350870 w 1984332"/>
                    <a:gd name="connsiteY87" fmla="*/ 967785 h 1520187"/>
                    <a:gd name="connsiteX88" fmla="*/ 1283663 w 1984332"/>
                    <a:gd name="connsiteY88" fmla="*/ 1068596 h 1520187"/>
                    <a:gd name="connsiteX89" fmla="*/ 1270221 w 1984332"/>
                    <a:gd name="connsiteY89" fmla="*/ 1088758 h 1520187"/>
                    <a:gd name="connsiteX90" fmla="*/ 1270221 w 1984332"/>
                    <a:gd name="connsiteY90" fmla="*/ 1162686 h 1520187"/>
                    <a:gd name="connsiteX91" fmla="*/ 1276942 w 1984332"/>
                    <a:gd name="connsiteY91" fmla="*/ 1176128 h 1520187"/>
                    <a:gd name="connsiteX92" fmla="*/ 1290383 w 1984332"/>
                    <a:gd name="connsiteY92" fmla="*/ 1182849 h 1520187"/>
                    <a:gd name="connsiteX93" fmla="*/ 1290383 w 1984332"/>
                    <a:gd name="connsiteY93" fmla="*/ 1182849 h 1520187"/>
                    <a:gd name="connsiteX94" fmla="*/ 1633141 w 1984332"/>
                    <a:gd name="connsiteY94" fmla="*/ 1182849 h 1520187"/>
                    <a:gd name="connsiteX95" fmla="*/ 1653304 w 1984332"/>
                    <a:gd name="connsiteY95" fmla="*/ 1162686 h 1520187"/>
                    <a:gd name="connsiteX96" fmla="*/ 1653304 w 1984332"/>
                    <a:gd name="connsiteY96" fmla="*/ 833371 h 1520187"/>
                    <a:gd name="connsiteX97" fmla="*/ 1693628 w 1984332"/>
                    <a:gd name="connsiteY97" fmla="*/ 833371 h 1520187"/>
                    <a:gd name="connsiteX98" fmla="*/ 1828043 w 1984332"/>
                    <a:gd name="connsiteY98" fmla="*/ 914019 h 1520187"/>
                    <a:gd name="connsiteX99" fmla="*/ 1828043 w 1984332"/>
                    <a:gd name="connsiteY99" fmla="*/ 914019 h 1520187"/>
                    <a:gd name="connsiteX100" fmla="*/ 1935575 w 1984332"/>
                    <a:gd name="connsiteY100" fmla="*/ 866974 h 1520187"/>
                    <a:gd name="connsiteX101" fmla="*/ 1982620 w 1984332"/>
                    <a:gd name="connsiteY101" fmla="*/ 759443 h 1520187"/>
                    <a:gd name="connsiteX102" fmla="*/ 1949017 w 1984332"/>
                    <a:gd name="connsiteY102" fmla="*/ 645190 h 1520187"/>
                    <a:gd name="connsiteX103" fmla="*/ 483894 w 1984332"/>
                    <a:gd name="connsiteY103" fmla="*/ 1142524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162686 h 1520187"/>
                    <a:gd name="connsiteX107" fmla="*/ 463732 w 1984332"/>
                    <a:gd name="connsiteY107" fmla="*/ 1236614 h 1520187"/>
                    <a:gd name="connsiteX108" fmla="*/ 463732 w 1984332"/>
                    <a:gd name="connsiteY108" fmla="*/ 1236614 h 1520187"/>
                    <a:gd name="connsiteX109" fmla="*/ 477173 w 1984332"/>
                    <a:gd name="connsiteY109" fmla="*/ 1263497 h 1520187"/>
                    <a:gd name="connsiteX110" fmla="*/ 544381 w 1984332"/>
                    <a:gd name="connsiteY110" fmla="*/ 1364308 h 1520187"/>
                    <a:gd name="connsiteX111" fmla="*/ 510777 w 1984332"/>
                    <a:gd name="connsiteY111" fmla="*/ 1444957 h 1520187"/>
                    <a:gd name="connsiteX112" fmla="*/ 423407 w 1984332"/>
                    <a:gd name="connsiteY112" fmla="*/ 1478561 h 1520187"/>
                    <a:gd name="connsiteX113" fmla="*/ 423407 w 1984332"/>
                    <a:gd name="connsiteY113" fmla="*/ 1478561 h 1520187"/>
                    <a:gd name="connsiteX114" fmla="*/ 342758 w 1984332"/>
                    <a:gd name="connsiteY114" fmla="*/ 1444957 h 1520187"/>
                    <a:gd name="connsiteX115" fmla="*/ 309154 w 1984332"/>
                    <a:gd name="connsiteY115" fmla="*/ 1364308 h 1520187"/>
                    <a:gd name="connsiteX116" fmla="*/ 383083 w 1984332"/>
                    <a:gd name="connsiteY116" fmla="*/ 1256777 h 1520187"/>
                    <a:gd name="connsiteX117" fmla="*/ 396524 w 1984332"/>
                    <a:gd name="connsiteY117" fmla="*/ 1236614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96524 w 1984332"/>
                    <a:gd name="connsiteY120" fmla="*/ 1162686 h 1520187"/>
                    <a:gd name="connsiteX121" fmla="*/ 376362 w 1984332"/>
                    <a:gd name="connsiteY121" fmla="*/ 1142524 h 1520187"/>
                    <a:gd name="connsiteX122" fmla="*/ 376362 w 1984332"/>
                    <a:gd name="connsiteY122" fmla="*/ 1142524 h 1520187"/>
                    <a:gd name="connsiteX123" fmla="*/ 40324 w 1984332"/>
                    <a:gd name="connsiteY123" fmla="*/ 1142524 h 1520187"/>
                    <a:gd name="connsiteX124" fmla="*/ 40324 w 1984332"/>
                    <a:gd name="connsiteY124" fmla="*/ 833371 h 1520187"/>
                    <a:gd name="connsiteX125" fmla="*/ 80649 w 1984332"/>
                    <a:gd name="connsiteY125" fmla="*/ 833371 h 1520187"/>
                    <a:gd name="connsiteX126" fmla="*/ 221785 w 1984332"/>
                    <a:gd name="connsiteY126" fmla="*/ 920740 h 1520187"/>
                    <a:gd name="connsiteX127" fmla="*/ 221785 w 1984332"/>
                    <a:gd name="connsiteY127" fmla="*/ 920740 h 1520187"/>
                    <a:gd name="connsiteX128" fmla="*/ 376362 w 1984332"/>
                    <a:gd name="connsiteY128" fmla="*/ 766163 h 1520187"/>
                    <a:gd name="connsiteX129" fmla="*/ 221785 w 1984332"/>
                    <a:gd name="connsiteY129" fmla="*/ 604866 h 1520187"/>
                    <a:gd name="connsiteX130" fmla="*/ 221785 w 1984332"/>
                    <a:gd name="connsiteY130" fmla="*/ 604866 h 1520187"/>
                    <a:gd name="connsiteX131" fmla="*/ 87370 w 1984332"/>
                    <a:gd name="connsiteY131" fmla="*/ 678794 h 1520187"/>
                    <a:gd name="connsiteX132" fmla="*/ 40324 w 1984332"/>
                    <a:gd name="connsiteY132" fmla="*/ 678794 h 1520187"/>
                    <a:gd name="connsiteX133" fmla="*/ 40324 w 1984332"/>
                    <a:gd name="connsiteY133" fmla="*/ 376361 h 1520187"/>
                    <a:gd name="connsiteX134" fmla="*/ 369641 w 1984332"/>
                    <a:gd name="connsiteY134" fmla="*/ 376361 h 1520187"/>
                    <a:gd name="connsiteX135" fmla="*/ 383083 w 1984332"/>
                    <a:gd name="connsiteY135" fmla="*/ 369640 h 1520187"/>
                    <a:gd name="connsiteX136" fmla="*/ 389803 w 1984332"/>
                    <a:gd name="connsiteY136" fmla="*/ 356199 h 1520187"/>
                    <a:gd name="connsiteX137" fmla="*/ 389803 w 1984332"/>
                    <a:gd name="connsiteY137" fmla="*/ 275550 h 1520187"/>
                    <a:gd name="connsiteX138" fmla="*/ 376362 w 1984332"/>
                    <a:gd name="connsiteY138" fmla="*/ 255388 h 1520187"/>
                    <a:gd name="connsiteX139" fmla="*/ 309154 w 1984332"/>
                    <a:gd name="connsiteY139" fmla="*/ 154577 h 1520187"/>
                    <a:gd name="connsiteX140" fmla="*/ 423407 w 1984332"/>
                    <a:gd name="connsiteY140" fmla="*/ 40324 h 1520187"/>
                    <a:gd name="connsiteX141" fmla="*/ 504056 w 1984332"/>
                    <a:gd name="connsiteY141" fmla="*/ 73928 h 1520187"/>
                    <a:gd name="connsiteX142" fmla="*/ 537660 w 1984332"/>
                    <a:gd name="connsiteY142" fmla="*/ 154577 h 1520187"/>
                    <a:gd name="connsiteX143" fmla="*/ 470452 w 1984332"/>
                    <a:gd name="connsiteY143" fmla="*/ 262109 h 1520187"/>
                    <a:gd name="connsiteX144" fmla="*/ 457011 w 1984332"/>
                    <a:gd name="connsiteY144" fmla="*/ 282271 h 1520187"/>
                    <a:gd name="connsiteX145" fmla="*/ 457011 w 1984332"/>
                    <a:gd name="connsiteY145" fmla="*/ 362919 h 1520187"/>
                    <a:gd name="connsiteX146" fmla="*/ 477173 w 1984332"/>
                    <a:gd name="connsiteY146" fmla="*/ 383082 h 1520187"/>
                    <a:gd name="connsiteX147" fmla="*/ 477173 w 1984332"/>
                    <a:gd name="connsiteY147" fmla="*/ 383082 h 1520187"/>
                    <a:gd name="connsiteX148" fmla="*/ 806490 w 1984332"/>
                    <a:gd name="connsiteY148" fmla="*/ 383082 h 1520187"/>
                    <a:gd name="connsiteX149" fmla="*/ 806490 w 1984332"/>
                    <a:gd name="connsiteY149" fmla="*/ 631749 h 1520187"/>
                    <a:gd name="connsiteX150" fmla="*/ 806490 w 1984332"/>
                    <a:gd name="connsiteY150" fmla="*/ 685515 h 1520187"/>
                    <a:gd name="connsiteX151" fmla="*/ 766165 w 1984332"/>
                    <a:gd name="connsiteY151" fmla="*/ 685515 h 1520187"/>
                    <a:gd name="connsiteX152" fmla="*/ 631750 w 1984332"/>
                    <a:gd name="connsiteY152" fmla="*/ 604866 h 1520187"/>
                    <a:gd name="connsiteX153" fmla="*/ 631750 w 1984332"/>
                    <a:gd name="connsiteY153" fmla="*/ 604866 h 1520187"/>
                    <a:gd name="connsiteX154" fmla="*/ 517497 w 1984332"/>
                    <a:gd name="connsiteY154" fmla="*/ 651911 h 1520187"/>
                    <a:gd name="connsiteX155" fmla="*/ 470452 w 1984332"/>
                    <a:gd name="connsiteY155" fmla="*/ 759443 h 1520187"/>
                    <a:gd name="connsiteX156" fmla="*/ 517497 w 1984332"/>
                    <a:gd name="connsiteY156" fmla="*/ 866974 h 1520187"/>
                    <a:gd name="connsiteX157" fmla="*/ 625029 w 1984332"/>
                    <a:gd name="connsiteY157" fmla="*/ 914019 h 1520187"/>
                    <a:gd name="connsiteX158" fmla="*/ 625029 w 1984332"/>
                    <a:gd name="connsiteY158" fmla="*/ 914019 h 1520187"/>
                    <a:gd name="connsiteX159" fmla="*/ 766165 w 1984332"/>
                    <a:gd name="connsiteY159" fmla="*/ 826650 h 1520187"/>
                    <a:gd name="connsiteX160" fmla="*/ 799769 w 1984332"/>
                    <a:gd name="connsiteY160" fmla="*/ 826650 h 1520187"/>
                    <a:gd name="connsiteX161" fmla="*/ 799769 w 1984332"/>
                    <a:gd name="connsiteY161" fmla="*/ 1135803 h 1520187"/>
                    <a:gd name="connsiteX162" fmla="*/ 483894 w 1984332"/>
                    <a:gd name="connsiteY162" fmla="*/ 1142524 h 1520187"/>
                    <a:gd name="connsiteX163" fmla="*/ 1915413 w 1984332"/>
                    <a:gd name="connsiteY163" fmla="*/ 840091 h 1520187"/>
                    <a:gd name="connsiteX164" fmla="*/ 1834764 w 1984332"/>
                    <a:gd name="connsiteY164" fmla="*/ 873695 h 1520187"/>
                    <a:gd name="connsiteX165" fmla="*/ 1834764 w 1984332"/>
                    <a:gd name="connsiteY165" fmla="*/ 873695 h 1520187"/>
                    <a:gd name="connsiteX166" fmla="*/ 1733953 w 1984332"/>
                    <a:gd name="connsiteY166" fmla="*/ 806488 h 1520187"/>
                    <a:gd name="connsiteX167" fmla="*/ 1713790 w 1984332"/>
                    <a:gd name="connsiteY167" fmla="*/ 793046 h 1520187"/>
                    <a:gd name="connsiteX168" fmla="*/ 1713790 w 1984332"/>
                    <a:gd name="connsiteY168" fmla="*/ 793046 h 1520187"/>
                    <a:gd name="connsiteX169" fmla="*/ 1633141 w 1984332"/>
                    <a:gd name="connsiteY169" fmla="*/ 793046 h 1520187"/>
                    <a:gd name="connsiteX170" fmla="*/ 1612979 w 1984332"/>
                    <a:gd name="connsiteY170" fmla="*/ 813208 h 1520187"/>
                    <a:gd name="connsiteX171" fmla="*/ 1612979 w 1984332"/>
                    <a:gd name="connsiteY171" fmla="*/ 1142524 h 1520187"/>
                    <a:gd name="connsiteX172" fmla="*/ 1310546 w 1984332"/>
                    <a:gd name="connsiteY172" fmla="*/ 1142524 h 1520187"/>
                    <a:gd name="connsiteX173" fmla="*/ 1310546 w 1984332"/>
                    <a:gd name="connsiteY173" fmla="*/ 1102200 h 1520187"/>
                    <a:gd name="connsiteX174" fmla="*/ 1384474 w 1984332"/>
                    <a:gd name="connsiteY174" fmla="*/ 967785 h 1520187"/>
                    <a:gd name="connsiteX175" fmla="*/ 1337429 w 1984332"/>
                    <a:gd name="connsiteY175" fmla="*/ 860254 h 1520187"/>
                    <a:gd name="connsiteX176" fmla="*/ 1229897 w 1984332"/>
                    <a:gd name="connsiteY176" fmla="*/ 813208 h 1520187"/>
                    <a:gd name="connsiteX177" fmla="*/ 1229897 w 1984332"/>
                    <a:gd name="connsiteY177" fmla="*/ 813208 h 1520187"/>
                    <a:gd name="connsiteX178" fmla="*/ 1122365 w 1984332"/>
                    <a:gd name="connsiteY178" fmla="*/ 860254 h 1520187"/>
                    <a:gd name="connsiteX179" fmla="*/ 1075320 w 1984332"/>
                    <a:gd name="connsiteY179" fmla="*/ 967785 h 1520187"/>
                    <a:gd name="connsiteX180" fmla="*/ 1162689 w 1984332"/>
                    <a:gd name="connsiteY180" fmla="*/ 1108921 h 1520187"/>
                    <a:gd name="connsiteX181" fmla="*/ 1162689 w 1984332"/>
                    <a:gd name="connsiteY181" fmla="*/ 1142524 h 1520187"/>
                    <a:gd name="connsiteX182" fmla="*/ 853535 w 1984332"/>
                    <a:gd name="connsiteY182" fmla="*/ 1142524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19929 h 1520187"/>
                    <a:gd name="connsiteX185" fmla="*/ 853535 w 1984332"/>
                    <a:gd name="connsiteY185" fmla="*/ 806488 h 1520187"/>
                    <a:gd name="connsiteX186" fmla="*/ 846814 w 1984332"/>
                    <a:gd name="connsiteY186" fmla="*/ 793046 h 1520187"/>
                    <a:gd name="connsiteX187" fmla="*/ 833373 w 1984332"/>
                    <a:gd name="connsiteY187" fmla="*/ 786325 h 1520187"/>
                    <a:gd name="connsiteX188" fmla="*/ 833373 w 1984332"/>
                    <a:gd name="connsiteY188" fmla="*/ 786325 h 1520187"/>
                    <a:gd name="connsiteX189" fmla="*/ 759444 w 1984332"/>
                    <a:gd name="connsiteY189" fmla="*/ 786325 h 1520187"/>
                    <a:gd name="connsiteX190" fmla="*/ 739282 w 1984332"/>
                    <a:gd name="connsiteY190" fmla="*/ 799767 h 1520187"/>
                    <a:gd name="connsiteX191" fmla="*/ 631750 w 1984332"/>
                    <a:gd name="connsiteY191" fmla="*/ 873695 h 1520187"/>
                    <a:gd name="connsiteX192" fmla="*/ 631750 w 1984332"/>
                    <a:gd name="connsiteY192" fmla="*/ 873695 h 1520187"/>
                    <a:gd name="connsiteX193" fmla="*/ 551101 w 1984332"/>
                    <a:gd name="connsiteY193" fmla="*/ 840091 h 1520187"/>
                    <a:gd name="connsiteX194" fmla="*/ 517497 w 1984332"/>
                    <a:gd name="connsiteY194" fmla="*/ 759443 h 1520187"/>
                    <a:gd name="connsiteX195" fmla="*/ 551101 w 1984332"/>
                    <a:gd name="connsiteY195" fmla="*/ 678794 h 1520187"/>
                    <a:gd name="connsiteX196" fmla="*/ 631750 w 1984332"/>
                    <a:gd name="connsiteY196" fmla="*/ 645190 h 1520187"/>
                    <a:gd name="connsiteX197" fmla="*/ 631750 w 1984332"/>
                    <a:gd name="connsiteY197" fmla="*/ 645190 h 1520187"/>
                    <a:gd name="connsiteX198" fmla="*/ 732561 w 1984332"/>
                    <a:gd name="connsiteY198" fmla="*/ 712397 h 1520187"/>
                    <a:gd name="connsiteX199" fmla="*/ 752724 w 1984332"/>
                    <a:gd name="connsiteY199" fmla="*/ 725839 h 1520187"/>
                    <a:gd name="connsiteX200" fmla="*/ 752724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26652 w 1984332"/>
                    <a:gd name="connsiteY202" fmla="*/ 725839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0093 w 1984332"/>
                    <a:gd name="connsiteY205" fmla="*/ 719118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705677 h 1520187"/>
                    <a:gd name="connsiteX210" fmla="*/ 846814 w 1984332"/>
                    <a:gd name="connsiteY210" fmla="*/ 383082 h 1520187"/>
                    <a:gd name="connsiteX211" fmla="*/ 1155969 w 1984332"/>
                    <a:gd name="connsiteY211" fmla="*/ 383082 h 1520187"/>
                    <a:gd name="connsiteX212" fmla="*/ 1155969 w 1984332"/>
                    <a:gd name="connsiteY212" fmla="*/ 423406 h 1520187"/>
                    <a:gd name="connsiteX213" fmla="*/ 1075320 w 1984332"/>
                    <a:gd name="connsiteY213" fmla="*/ 557821 h 1520187"/>
                    <a:gd name="connsiteX214" fmla="*/ 1229897 w 1984332"/>
                    <a:gd name="connsiteY214" fmla="*/ 712397 h 1520187"/>
                    <a:gd name="connsiteX215" fmla="*/ 1229897 w 1984332"/>
                    <a:gd name="connsiteY215" fmla="*/ 712397 h 1520187"/>
                    <a:gd name="connsiteX216" fmla="*/ 1346954 w 1984332"/>
                    <a:gd name="connsiteY216" fmla="*/ 670115 h 1520187"/>
                    <a:gd name="connsiteX217" fmla="*/ 1396380 w 1984332"/>
                    <a:gd name="connsiteY217" fmla="*/ 543533 h 1520187"/>
                    <a:gd name="connsiteX218" fmla="*/ 1310546 w 1984332"/>
                    <a:gd name="connsiteY218" fmla="*/ 423406 h 1520187"/>
                    <a:gd name="connsiteX219" fmla="*/ 1310546 w 1984332"/>
                    <a:gd name="connsiteY219" fmla="*/ 376361 h 1520187"/>
                    <a:gd name="connsiteX220" fmla="*/ 1612979 w 1984332"/>
                    <a:gd name="connsiteY220" fmla="*/ 376361 h 1520187"/>
                    <a:gd name="connsiteX221" fmla="*/ 1612979 w 1984332"/>
                    <a:gd name="connsiteY221" fmla="*/ 705677 h 1520187"/>
                    <a:gd name="connsiteX222" fmla="*/ 1633141 w 1984332"/>
                    <a:gd name="connsiteY222" fmla="*/ 725839 h 1520187"/>
                    <a:gd name="connsiteX223" fmla="*/ 1633141 w 1984332"/>
                    <a:gd name="connsiteY223" fmla="*/ 725839 h 1520187"/>
                    <a:gd name="connsiteX224" fmla="*/ 1713790 w 1984332"/>
                    <a:gd name="connsiteY224" fmla="*/ 725839 h 1520187"/>
                    <a:gd name="connsiteX225" fmla="*/ 1733953 w 1984332"/>
                    <a:gd name="connsiteY225" fmla="*/ 712397 h 1520187"/>
                    <a:gd name="connsiteX226" fmla="*/ 1834764 w 1984332"/>
                    <a:gd name="connsiteY226" fmla="*/ 645190 h 1520187"/>
                    <a:gd name="connsiteX227" fmla="*/ 1834764 w 1984332"/>
                    <a:gd name="connsiteY227" fmla="*/ 645190 h 1520187"/>
                    <a:gd name="connsiteX228" fmla="*/ 1915413 w 1984332"/>
                    <a:gd name="connsiteY228" fmla="*/ 678794 h 1520187"/>
                    <a:gd name="connsiteX229" fmla="*/ 1949017 w 1984332"/>
                    <a:gd name="connsiteY229" fmla="*/ 759443 h 1520187"/>
                    <a:gd name="connsiteX230" fmla="*/ 1915413 w 1984332"/>
                    <a:gd name="connsiteY230" fmla="*/ 840091 h 1520187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83663 w 1984332"/>
                    <a:gd name="connsiteY13" fmla="*/ 423406 h 1520187"/>
                    <a:gd name="connsiteX14" fmla="*/ 1297104 w 1984332"/>
                    <a:gd name="connsiteY14" fmla="*/ 450289 h 1520187"/>
                    <a:gd name="connsiteX15" fmla="*/ 1364312 w 1984332"/>
                    <a:gd name="connsiteY15" fmla="*/ 551100 h 1520187"/>
                    <a:gd name="connsiteX16" fmla="*/ 1330708 w 1984332"/>
                    <a:gd name="connsiteY16" fmla="*/ 631749 h 1520187"/>
                    <a:gd name="connsiteX17" fmla="*/ 1250059 w 1984332"/>
                    <a:gd name="connsiteY17" fmla="*/ 665352 h 1520187"/>
                    <a:gd name="connsiteX18" fmla="*/ 1135806 w 1984332"/>
                    <a:gd name="connsiteY18" fmla="*/ 551100 h 1520187"/>
                    <a:gd name="connsiteX19" fmla="*/ 1209734 w 1984332"/>
                    <a:gd name="connsiteY19" fmla="*/ 443568 h 1520187"/>
                    <a:gd name="connsiteX20" fmla="*/ 1223176 w 1984332"/>
                    <a:gd name="connsiteY20" fmla="*/ 423406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223176 w 1984332"/>
                    <a:gd name="connsiteY23" fmla="*/ 349478 h 1520187"/>
                    <a:gd name="connsiteX24" fmla="*/ 1182852 w 1984332"/>
                    <a:gd name="connsiteY24" fmla="*/ 336037 h 1520187"/>
                    <a:gd name="connsiteX25" fmla="*/ 11828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826652 w 1984332"/>
                    <a:gd name="connsiteY28" fmla="*/ 336037 h 1520187"/>
                    <a:gd name="connsiteX29" fmla="*/ 497335 w 1984332"/>
                    <a:gd name="connsiteY29" fmla="*/ 336037 h 1520187"/>
                    <a:gd name="connsiteX30" fmla="*/ 497335 w 1984332"/>
                    <a:gd name="connsiteY30" fmla="*/ 295712 h 1520187"/>
                    <a:gd name="connsiteX31" fmla="*/ 584705 w 1984332"/>
                    <a:gd name="connsiteY31" fmla="*/ 154577 h 1520187"/>
                    <a:gd name="connsiteX32" fmla="*/ 537660 w 1984332"/>
                    <a:gd name="connsiteY32" fmla="*/ 47045 h 1520187"/>
                    <a:gd name="connsiteX33" fmla="*/ 423407 w 1984332"/>
                    <a:gd name="connsiteY33" fmla="*/ 0 h 1520187"/>
                    <a:gd name="connsiteX34" fmla="*/ 423407 w 1984332"/>
                    <a:gd name="connsiteY34" fmla="*/ 0 h 1520187"/>
                    <a:gd name="connsiteX35" fmla="*/ 268830 w 1984332"/>
                    <a:gd name="connsiteY35" fmla="*/ 154577 h 1520187"/>
                    <a:gd name="connsiteX36" fmla="*/ 349479 w 1984332"/>
                    <a:gd name="connsiteY36" fmla="*/ 288991 h 1520187"/>
                    <a:gd name="connsiteX37" fmla="*/ 349479 w 1984332"/>
                    <a:gd name="connsiteY37" fmla="*/ 329316 h 1520187"/>
                    <a:gd name="connsiteX38" fmla="*/ 20162 w 1984332"/>
                    <a:gd name="connsiteY38" fmla="*/ 336037 h 1520187"/>
                    <a:gd name="connsiteX39" fmla="*/ 0 w 1984332"/>
                    <a:gd name="connsiteY39" fmla="*/ 356199 h 1520187"/>
                    <a:gd name="connsiteX40" fmla="*/ 0 w 1984332"/>
                    <a:gd name="connsiteY40" fmla="*/ 698956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20162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94090 w 1984332"/>
                    <a:gd name="connsiteY46" fmla="*/ 719118 h 1520187"/>
                    <a:gd name="connsiteX47" fmla="*/ 120973 w 1984332"/>
                    <a:gd name="connsiteY47" fmla="*/ 705677 h 1520187"/>
                    <a:gd name="connsiteX48" fmla="*/ 221785 w 1984332"/>
                    <a:gd name="connsiteY48" fmla="*/ 638469 h 1520187"/>
                    <a:gd name="connsiteX49" fmla="*/ 221785 w 1984332"/>
                    <a:gd name="connsiteY49" fmla="*/ 638469 h 1520187"/>
                    <a:gd name="connsiteX50" fmla="*/ 336037 w 1984332"/>
                    <a:gd name="connsiteY50" fmla="*/ 752722 h 1520187"/>
                    <a:gd name="connsiteX51" fmla="*/ 221785 w 1984332"/>
                    <a:gd name="connsiteY51" fmla="*/ 873695 h 1520187"/>
                    <a:gd name="connsiteX52" fmla="*/ 221785 w 1984332"/>
                    <a:gd name="connsiteY52" fmla="*/ 873695 h 1520187"/>
                    <a:gd name="connsiteX53" fmla="*/ 114253 w 1984332"/>
                    <a:gd name="connsiteY53" fmla="*/ 799767 h 1520187"/>
                    <a:gd name="connsiteX54" fmla="*/ 94090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20162 w 1984332"/>
                    <a:gd name="connsiteY59" fmla="*/ 786325 h 1520187"/>
                    <a:gd name="connsiteX60" fmla="*/ 0 w 1984332"/>
                    <a:gd name="connsiteY60" fmla="*/ 806488 h 1520187"/>
                    <a:gd name="connsiteX61" fmla="*/ 0 w 1984332"/>
                    <a:gd name="connsiteY61" fmla="*/ 1162686 h 1520187"/>
                    <a:gd name="connsiteX62" fmla="*/ 20162 w 1984332"/>
                    <a:gd name="connsiteY62" fmla="*/ 1182849 h 1520187"/>
                    <a:gd name="connsiteX63" fmla="*/ 20162 w 1984332"/>
                    <a:gd name="connsiteY63" fmla="*/ 1182849 h 1520187"/>
                    <a:gd name="connsiteX64" fmla="*/ 356200 w 1984332"/>
                    <a:gd name="connsiteY64" fmla="*/ 1182849 h 1520187"/>
                    <a:gd name="connsiteX65" fmla="*/ 356200 w 1984332"/>
                    <a:gd name="connsiteY65" fmla="*/ 1223173 h 1520187"/>
                    <a:gd name="connsiteX66" fmla="*/ 268830 w 1984332"/>
                    <a:gd name="connsiteY66" fmla="*/ 1364308 h 1520187"/>
                    <a:gd name="connsiteX67" fmla="*/ 315875 w 1984332"/>
                    <a:gd name="connsiteY67" fmla="*/ 1471840 h 1520187"/>
                    <a:gd name="connsiteX68" fmla="*/ 423407 w 1984332"/>
                    <a:gd name="connsiteY68" fmla="*/ 1518885 h 1520187"/>
                    <a:gd name="connsiteX69" fmla="*/ 423407 w 1984332"/>
                    <a:gd name="connsiteY69" fmla="*/ 1518885 h 1520187"/>
                    <a:gd name="connsiteX70" fmla="*/ 537660 w 1984332"/>
                    <a:gd name="connsiteY70" fmla="*/ 1478561 h 1520187"/>
                    <a:gd name="connsiteX71" fmla="*/ 584705 w 1984332"/>
                    <a:gd name="connsiteY71" fmla="*/ 1371029 h 1520187"/>
                    <a:gd name="connsiteX72" fmla="*/ 510777 w 1984332"/>
                    <a:gd name="connsiteY72" fmla="*/ 1236614 h 1520187"/>
                    <a:gd name="connsiteX73" fmla="*/ 510777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833373 w 1984332"/>
                    <a:gd name="connsiteY76" fmla="*/ 1189569 h 1520187"/>
                    <a:gd name="connsiteX77" fmla="*/ 1189572 w 1984332"/>
                    <a:gd name="connsiteY77" fmla="*/ 1189569 h 1520187"/>
                    <a:gd name="connsiteX78" fmla="*/ 1203014 w 1984332"/>
                    <a:gd name="connsiteY78" fmla="*/ 1182849 h 1520187"/>
                    <a:gd name="connsiteX79" fmla="*/ 1209734 w 1984332"/>
                    <a:gd name="connsiteY79" fmla="*/ 1169407 h 1520187"/>
                    <a:gd name="connsiteX80" fmla="*/ 1209734 w 1984332"/>
                    <a:gd name="connsiteY80" fmla="*/ 1095479 h 1520187"/>
                    <a:gd name="connsiteX81" fmla="*/ 1196293 w 1984332"/>
                    <a:gd name="connsiteY81" fmla="*/ 1075317 h 1520187"/>
                    <a:gd name="connsiteX82" fmla="*/ 1122365 w 1984332"/>
                    <a:gd name="connsiteY82" fmla="*/ 967785 h 1520187"/>
                    <a:gd name="connsiteX83" fmla="*/ 1155969 w 1984332"/>
                    <a:gd name="connsiteY83" fmla="*/ 887136 h 1520187"/>
                    <a:gd name="connsiteX84" fmla="*/ 1236617 w 1984332"/>
                    <a:gd name="connsiteY84" fmla="*/ 853533 h 1520187"/>
                    <a:gd name="connsiteX85" fmla="*/ 1236617 w 1984332"/>
                    <a:gd name="connsiteY85" fmla="*/ 853533 h 1520187"/>
                    <a:gd name="connsiteX86" fmla="*/ 1317266 w 1984332"/>
                    <a:gd name="connsiteY86" fmla="*/ 887136 h 1520187"/>
                    <a:gd name="connsiteX87" fmla="*/ 1350870 w 1984332"/>
                    <a:gd name="connsiteY87" fmla="*/ 967785 h 1520187"/>
                    <a:gd name="connsiteX88" fmla="*/ 1283663 w 1984332"/>
                    <a:gd name="connsiteY88" fmla="*/ 1068596 h 1520187"/>
                    <a:gd name="connsiteX89" fmla="*/ 1270221 w 1984332"/>
                    <a:gd name="connsiteY89" fmla="*/ 1088758 h 1520187"/>
                    <a:gd name="connsiteX90" fmla="*/ 1270221 w 1984332"/>
                    <a:gd name="connsiteY90" fmla="*/ 1162686 h 1520187"/>
                    <a:gd name="connsiteX91" fmla="*/ 1276942 w 1984332"/>
                    <a:gd name="connsiteY91" fmla="*/ 1176128 h 1520187"/>
                    <a:gd name="connsiteX92" fmla="*/ 1290383 w 1984332"/>
                    <a:gd name="connsiteY92" fmla="*/ 1182849 h 1520187"/>
                    <a:gd name="connsiteX93" fmla="*/ 1290383 w 1984332"/>
                    <a:gd name="connsiteY93" fmla="*/ 1182849 h 1520187"/>
                    <a:gd name="connsiteX94" fmla="*/ 1633141 w 1984332"/>
                    <a:gd name="connsiteY94" fmla="*/ 1182849 h 1520187"/>
                    <a:gd name="connsiteX95" fmla="*/ 1653304 w 1984332"/>
                    <a:gd name="connsiteY95" fmla="*/ 1162686 h 1520187"/>
                    <a:gd name="connsiteX96" fmla="*/ 1653304 w 1984332"/>
                    <a:gd name="connsiteY96" fmla="*/ 833371 h 1520187"/>
                    <a:gd name="connsiteX97" fmla="*/ 1693628 w 1984332"/>
                    <a:gd name="connsiteY97" fmla="*/ 833371 h 1520187"/>
                    <a:gd name="connsiteX98" fmla="*/ 1828043 w 1984332"/>
                    <a:gd name="connsiteY98" fmla="*/ 914019 h 1520187"/>
                    <a:gd name="connsiteX99" fmla="*/ 1828043 w 1984332"/>
                    <a:gd name="connsiteY99" fmla="*/ 914019 h 1520187"/>
                    <a:gd name="connsiteX100" fmla="*/ 1935575 w 1984332"/>
                    <a:gd name="connsiteY100" fmla="*/ 866974 h 1520187"/>
                    <a:gd name="connsiteX101" fmla="*/ 1982620 w 1984332"/>
                    <a:gd name="connsiteY101" fmla="*/ 759443 h 1520187"/>
                    <a:gd name="connsiteX102" fmla="*/ 1949017 w 1984332"/>
                    <a:gd name="connsiteY102" fmla="*/ 645190 h 1520187"/>
                    <a:gd name="connsiteX103" fmla="*/ 483894 w 1984332"/>
                    <a:gd name="connsiteY103" fmla="*/ 1142524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162686 h 1520187"/>
                    <a:gd name="connsiteX107" fmla="*/ 463732 w 1984332"/>
                    <a:gd name="connsiteY107" fmla="*/ 1236614 h 1520187"/>
                    <a:gd name="connsiteX108" fmla="*/ 463732 w 1984332"/>
                    <a:gd name="connsiteY108" fmla="*/ 1236614 h 1520187"/>
                    <a:gd name="connsiteX109" fmla="*/ 477173 w 1984332"/>
                    <a:gd name="connsiteY109" fmla="*/ 1263497 h 1520187"/>
                    <a:gd name="connsiteX110" fmla="*/ 544381 w 1984332"/>
                    <a:gd name="connsiteY110" fmla="*/ 1364308 h 1520187"/>
                    <a:gd name="connsiteX111" fmla="*/ 510777 w 1984332"/>
                    <a:gd name="connsiteY111" fmla="*/ 1444957 h 1520187"/>
                    <a:gd name="connsiteX112" fmla="*/ 423407 w 1984332"/>
                    <a:gd name="connsiteY112" fmla="*/ 1478561 h 1520187"/>
                    <a:gd name="connsiteX113" fmla="*/ 423407 w 1984332"/>
                    <a:gd name="connsiteY113" fmla="*/ 1478561 h 1520187"/>
                    <a:gd name="connsiteX114" fmla="*/ 342758 w 1984332"/>
                    <a:gd name="connsiteY114" fmla="*/ 1444957 h 1520187"/>
                    <a:gd name="connsiteX115" fmla="*/ 309154 w 1984332"/>
                    <a:gd name="connsiteY115" fmla="*/ 1364308 h 1520187"/>
                    <a:gd name="connsiteX116" fmla="*/ 383083 w 1984332"/>
                    <a:gd name="connsiteY116" fmla="*/ 1256777 h 1520187"/>
                    <a:gd name="connsiteX117" fmla="*/ 396524 w 1984332"/>
                    <a:gd name="connsiteY117" fmla="*/ 1236614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96524 w 1984332"/>
                    <a:gd name="connsiteY120" fmla="*/ 1162686 h 1520187"/>
                    <a:gd name="connsiteX121" fmla="*/ 376362 w 1984332"/>
                    <a:gd name="connsiteY121" fmla="*/ 1142524 h 1520187"/>
                    <a:gd name="connsiteX122" fmla="*/ 376362 w 1984332"/>
                    <a:gd name="connsiteY122" fmla="*/ 1142524 h 1520187"/>
                    <a:gd name="connsiteX123" fmla="*/ 40324 w 1984332"/>
                    <a:gd name="connsiteY123" fmla="*/ 1142524 h 1520187"/>
                    <a:gd name="connsiteX124" fmla="*/ 40324 w 1984332"/>
                    <a:gd name="connsiteY124" fmla="*/ 833371 h 1520187"/>
                    <a:gd name="connsiteX125" fmla="*/ 80649 w 1984332"/>
                    <a:gd name="connsiteY125" fmla="*/ 833371 h 1520187"/>
                    <a:gd name="connsiteX126" fmla="*/ 221785 w 1984332"/>
                    <a:gd name="connsiteY126" fmla="*/ 920740 h 1520187"/>
                    <a:gd name="connsiteX127" fmla="*/ 221785 w 1984332"/>
                    <a:gd name="connsiteY127" fmla="*/ 920740 h 1520187"/>
                    <a:gd name="connsiteX128" fmla="*/ 376362 w 1984332"/>
                    <a:gd name="connsiteY128" fmla="*/ 766163 h 1520187"/>
                    <a:gd name="connsiteX129" fmla="*/ 221785 w 1984332"/>
                    <a:gd name="connsiteY129" fmla="*/ 604866 h 1520187"/>
                    <a:gd name="connsiteX130" fmla="*/ 221785 w 1984332"/>
                    <a:gd name="connsiteY130" fmla="*/ 604866 h 1520187"/>
                    <a:gd name="connsiteX131" fmla="*/ 87370 w 1984332"/>
                    <a:gd name="connsiteY131" fmla="*/ 678794 h 1520187"/>
                    <a:gd name="connsiteX132" fmla="*/ 40324 w 1984332"/>
                    <a:gd name="connsiteY132" fmla="*/ 678794 h 1520187"/>
                    <a:gd name="connsiteX133" fmla="*/ 40324 w 1984332"/>
                    <a:gd name="connsiteY133" fmla="*/ 376361 h 1520187"/>
                    <a:gd name="connsiteX134" fmla="*/ 369641 w 1984332"/>
                    <a:gd name="connsiteY134" fmla="*/ 376361 h 1520187"/>
                    <a:gd name="connsiteX135" fmla="*/ 383083 w 1984332"/>
                    <a:gd name="connsiteY135" fmla="*/ 369640 h 1520187"/>
                    <a:gd name="connsiteX136" fmla="*/ 389803 w 1984332"/>
                    <a:gd name="connsiteY136" fmla="*/ 356199 h 1520187"/>
                    <a:gd name="connsiteX137" fmla="*/ 389803 w 1984332"/>
                    <a:gd name="connsiteY137" fmla="*/ 275550 h 1520187"/>
                    <a:gd name="connsiteX138" fmla="*/ 376362 w 1984332"/>
                    <a:gd name="connsiteY138" fmla="*/ 255388 h 1520187"/>
                    <a:gd name="connsiteX139" fmla="*/ 309154 w 1984332"/>
                    <a:gd name="connsiteY139" fmla="*/ 154577 h 1520187"/>
                    <a:gd name="connsiteX140" fmla="*/ 423407 w 1984332"/>
                    <a:gd name="connsiteY140" fmla="*/ 40324 h 1520187"/>
                    <a:gd name="connsiteX141" fmla="*/ 504056 w 1984332"/>
                    <a:gd name="connsiteY141" fmla="*/ 73928 h 1520187"/>
                    <a:gd name="connsiteX142" fmla="*/ 537660 w 1984332"/>
                    <a:gd name="connsiteY142" fmla="*/ 154577 h 1520187"/>
                    <a:gd name="connsiteX143" fmla="*/ 470452 w 1984332"/>
                    <a:gd name="connsiteY143" fmla="*/ 262109 h 1520187"/>
                    <a:gd name="connsiteX144" fmla="*/ 457011 w 1984332"/>
                    <a:gd name="connsiteY144" fmla="*/ 282271 h 1520187"/>
                    <a:gd name="connsiteX145" fmla="*/ 457011 w 1984332"/>
                    <a:gd name="connsiteY145" fmla="*/ 362919 h 1520187"/>
                    <a:gd name="connsiteX146" fmla="*/ 477173 w 1984332"/>
                    <a:gd name="connsiteY146" fmla="*/ 383082 h 1520187"/>
                    <a:gd name="connsiteX147" fmla="*/ 477173 w 1984332"/>
                    <a:gd name="connsiteY147" fmla="*/ 383082 h 1520187"/>
                    <a:gd name="connsiteX148" fmla="*/ 806490 w 1984332"/>
                    <a:gd name="connsiteY148" fmla="*/ 383082 h 1520187"/>
                    <a:gd name="connsiteX149" fmla="*/ 806490 w 1984332"/>
                    <a:gd name="connsiteY149" fmla="*/ 631749 h 1520187"/>
                    <a:gd name="connsiteX150" fmla="*/ 806490 w 1984332"/>
                    <a:gd name="connsiteY150" fmla="*/ 685515 h 1520187"/>
                    <a:gd name="connsiteX151" fmla="*/ 766165 w 1984332"/>
                    <a:gd name="connsiteY151" fmla="*/ 685515 h 1520187"/>
                    <a:gd name="connsiteX152" fmla="*/ 631750 w 1984332"/>
                    <a:gd name="connsiteY152" fmla="*/ 604866 h 1520187"/>
                    <a:gd name="connsiteX153" fmla="*/ 631750 w 1984332"/>
                    <a:gd name="connsiteY153" fmla="*/ 604866 h 1520187"/>
                    <a:gd name="connsiteX154" fmla="*/ 517497 w 1984332"/>
                    <a:gd name="connsiteY154" fmla="*/ 651911 h 1520187"/>
                    <a:gd name="connsiteX155" fmla="*/ 470452 w 1984332"/>
                    <a:gd name="connsiteY155" fmla="*/ 759443 h 1520187"/>
                    <a:gd name="connsiteX156" fmla="*/ 517497 w 1984332"/>
                    <a:gd name="connsiteY156" fmla="*/ 866974 h 1520187"/>
                    <a:gd name="connsiteX157" fmla="*/ 625029 w 1984332"/>
                    <a:gd name="connsiteY157" fmla="*/ 914019 h 1520187"/>
                    <a:gd name="connsiteX158" fmla="*/ 625029 w 1984332"/>
                    <a:gd name="connsiteY158" fmla="*/ 914019 h 1520187"/>
                    <a:gd name="connsiteX159" fmla="*/ 766165 w 1984332"/>
                    <a:gd name="connsiteY159" fmla="*/ 826650 h 1520187"/>
                    <a:gd name="connsiteX160" fmla="*/ 799769 w 1984332"/>
                    <a:gd name="connsiteY160" fmla="*/ 826650 h 1520187"/>
                    <a:gd name="connsiteX161" fmla="*/ 799769 w 1984332"/>
                    <a:gd name="connsiteY161" fmla="*/ 1135803 h 1520187"/>
                    <a:gd name="connsiteX162" fmla="*/ 483894 w 1984332"/>
                    <a:gd name="connsiteY162" fmla="*/ 1142524 h 1520187"/>
                    <a:gd name="connsiteX163" fmla="*/ 1915413 w 1984332"/>
                    <a:gd name="connsiteY163" fmla="*/ 840091 h 1520187"/>
                    <a:gd name="connsiteX164" fmla="*/ 1834764 w 1984332"/>
                    <a:gd name="connsiteY164" fmla="*/ 873695 h 1520187"/>
                    <a:gd name="connsiteX165" fmla="*/ 1834764 w 1984332"/>
                    <a:gd name="connsiteY165" fmla="*/ 873695 h 1520187"/>
                    <a:gd name="connsiteX166" fmla="*/ 1733953 w 1984332"/>
                    <a:gd name="connsiteY166" fmla="*/ 806488 h 1520187"/>
                    <a:gd name="connsiteX167" fmla="*/ 1713790 w 1984332"/>
                    <a:gd name="connsiteY167" fmla="*/ 793046 h 1520187"/>
                    <a:gd name="connsiteX168" fmla="*/ 1713790 w 1984332"/>
                    <a:gd name="connsiteY168" fmla="*/ 793046 h 1520187"/>
                    <a:gd name="connsiteX169" fmla="*/ 1633141 w 1984332"/>
                    <a:gd name="connsiteY169" fmla="*/ 793046 h 1520187"/>
                    <a:gd name="connsiteX170" fmla="*/ 1612979 w 1984332"/>
                    <a:gd name="connsiteY170" fmla="*/ 813208 h 1520187"/>
                    <a:gd name="connsiteX171" fmla="*/ 1612979 w 1984332"/>
                    <a:gd name="connsiteY171" fmla="*/ 1142524 h 1520187"/>
                    <a:gd name="connsiteX172" fmla="*/ 1310546 w 1984332"/>
                    <a:gd name="connsiteY172" fmla="*/ 1142524 h 1520187"/>
                    <a:gd name="connsiteX173" fmla="*/ 1310546 w 1984332"/>
                    <a:gd name="connsiteY173" fmla="*/ 1102200 h 1520187"/>
                    <a:gd name="connsiteX174" fmla="*/ 1384474 w 1984332"/>
                    <a:gd name="connsiteY174" fmla="*/ 967785 h 1520187"/>
                    <a:gd name="connsiteX175" fmla="*/ 1337429 w 1984332"/>
                    <a:gd name="connsiteY175" fmla="*/ 860254 h 1520187"/>
                    <a:gd name="connsiteX176" fmla="*/ 1229897 w 1984332"/>
                    <a:gd name="connsiteY176" fmla="*/ 813208 h 1520187"/>
                    <a:gd name="connsiteX177" fmla="*/ 1229897 w 1984332"/>
                    <a:gd name="connsiteY177" fmla="*/ 813208 h 1520187"/>
                    <a:gd name="connsiteX178" fmla="*/ 1122365 w 1984332"/>
                    <a:gd name="connsiteY178" fmla="*/ 860254 h 1520187"/>
                    <a:gd name="connsiteX179" fmla="*/ 1075320 w 1984332"/>
                    <a:gd name="connsiteY179" fmla="*/ 967785 h 1520187"/>
                    <a:gd name="connsiteX180" fmla="*/ 1162689 w 1984332"/>
                    <a:gd name="connsiteY180" fmla="*/ 1108921 h 1520187"/>
                    <a:gd name="connsiteX181" fmla="*/ 1162689 w 1984332"/>
                    <a:gd name="connsiteY181" fmla="*/ 1142524 h 1520187"/>
                    <a:gd name="connsiteX182" fmla="*/ 853535 w 1984332"/>
                    <a:gd name="connsiteY182" fmla="*/ 1142524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19929 h 1520187"/>
                    <a:gd name="connsiteX185" fmla="*/ 853535 w 1984332"/>
                    <a:gd name="connsiteY185" fmla="*/ 806488 h 1520187"/>
                    <a:gd name="connsiteX186" fmla="*/ 846814 w 1984332"/>
                    <a:gd name="connsiteY186" fmla="*/ 793046 h 1520187"/>
                    <a:gd name="connsiteX187" fmla="*/ 833373 w 1984332"/>
                    <a:gd name="connsiteY187" fmla="*/ 786325 h 1520187"/>
                    <a:gd name="connsiteX188" fmla="*/ 833373 w 1984332"/>
                    <a:gd name="connsiteY188" fmla="*/ 786325 h 1520187"/>
                    <a:gd name="connsiteX189" fmla="*/ 759444 w 1984332"/>
                    <a:gd name="connsiteY189" fmla="*/ 786325 h 1520187"/>
                    <a:gd name="connsiteX190" fmla="*/ 739282 w 1984332"/>
                    <a:gd name="connsiteY190" fmla="*/ 799767 h 1520187"/>
                    <a:gd name="connsiteX191" fmla="*/ 631750 w 1984332"/>
                    <a:gd name="connsiteY191" fmla="*/ 873695 h 1520187"/>
                    <a:gd name="connsiteX192" fmla="*/ 631750 w 1984332"/>
                    <a:gd name="connsiteY192" fmla="*/ 873695 h 1520187"/>
                    <a:gd name="connsiteX193" fmla="*/ 551101 w 1984332"/>
                    <a:gd name="connsiteY193" fmla="*/ 840091 h 1520187"/>
                    <a:gd name="connsiteX194" fmla="*/ 517497 w 1984332"/>
                    <a:gd name="connsiteY194" fmla="*/ 759443 h 1520187"/>
                    <a:gd name="connsiteX195" fmla="*/ 551101 w 1984332"/>
                    <a:gd name="connsiteY195" fmla="*/ 678794 h 1520187"/>
                    <a:gd name="connsiteX196" fmla="*/ 631750 w 1984332"/>
                    <a:gd name="connsiteY196" fmla="*/ 645190 h 1520187"/>
                    <a:gd name="connsiteX197" fmla="*/ 631750 w 1984332"/>
                    <a:gd name="connsiteY197" fmla="*/ 645190 h 1520187"/>
                    <a:gd name="connsiteX198" fmla="*/ 732561 w 1984332"/>
                    <a:gd name="connsiteY198" fmla="*/ 712397 h 1520187"/>
                    <a:gd name="connsiteX199" fmla="*/ 752724 w 1984332"/>
                    <a:gd name="connsiteY199" fmla="*/ 725839 h 1520187"/>
                    <a:gd name="connsiteX200" fmla="*/ 752724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26652 w 1984332"/>
                    <a:gd name="connsiteY202" fmla="*/ 725839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0093 w 1984332"/>
                    <a:gd name="connsiteY205" fmla="*/ 719118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705677 h 1520187"/>
                    <a:gd name="connsiteX210" fmla="*/ 846814 w 1984332"/>
                    <a:gd name="connsiteY210" fmla="*/ 383082 h 1520187"/>
                    <a:gd name="connsiteX211" fmla="*/ 1155969 w 1984332"/>
                    <a:gd name="connsiteY211" fmla="*/ 383082 h 1520187"/>
                    <a:gd name="connsiteX212" fmla="*/ 1155969 w 1984332"/>
                    <a:gd name="connsiteY212" fmla="*/ 423406 h 1520187"/>
                    <a:gd name="connsiteX213" fmla="*/ 1075320 w 1984332"/>
                    <a:gd name="connsiteY213" fmla="*/ 557821 h 1520187"/>
                    <a:gd name="connsiteX214" fmla="*/ 1229897 w 1984332"/>
                    <a:gd name="connsiteY214" fmla="*/ 712397 h 1520187"/>
                    <a:gd name="connsiteX215" fmla="*/ 1229897 w 1984332"/>
                    <a:gd name="connsiteY215" fmla="*/ 712397 h 1520187"/>
                    <a:gd name="connsiteX216" fmla="*/ 1346954 w 1984332"/>
                    <a:gd name="connsiteY216" fmla="*/ 670115 h 1520187"/>
                    <a:gd name="connsiteX217" fmla="*/ 1396380 w 1984332"/>
                    <a:gd name="connsiteY217" fmla="*/ 553058 h 1520187"/>
                    <a:gd name="connsiteX218" fmla="*/ 1310546 w 1984332"/>
                    <a:gd name="connsiteY218" fmla="*/ 423406 h 1520187"/>
                    <a:gd name="connsiteX219" fmla="*/ 1310546 w 1984332"/>
                    <a:gd name="connsiteY219" fmla="*/ 376361 h 1520187"/>
                    <a:gd name="connsiteX220" fmla="*/ 1612979 w 1984332"/>
                    <a:gd name="connsiteY220" fmla="*/ 376361 h 1520187"/>
                    <a:gd name="connsiteX221" fmla="*/ 1612979 w 1984332"/>
                    <a:gd name="connsiteY221" fmla="*/ 705677 h 1520187"/>
                    <a:gd name="connsiteX222" fmla="*/ 1633141 w 1984332"/>
                    <a:gd name="connsiteY222" fmla="*/ 725839 h 1520187"/>
                    <a:gd name="connsiteX223" fmla="*/ 1633141 w 1984332"/>
                    <a:gd name="connsiteY223" fmla="*/ 725839 h 1520187"/>
                    <a:gd name="connsiteX224" fmla="*/ 1713790 w 1984332"/>
                    <a:gd name="connsiteY224" fmla="*/ 725839 h 1520187"/>
                    <a:gd name="connsiteX225" fmla="*/ 1733953 w 1984332"/>
                    <a:gd name="connsiteY225" fmla="*/ 712397 h 1520187"/>
                    <a:gd name="connsiteX226" fmla="*/ 1834764 w 1984332"/>
                    <a:gd name="connsiteY226" fmla="*/ 645190 h 1520187"/>
                    <a:gd name="connsiteX227" fmla="*/ 1834764 w 1984332"/>
                    <a:gd name="connsiteY227" fmla="*/ 645190 h 1520187"/>
                    <a:gd name="connsiteX228" fmla="*/ 1915413 w 1984332"/>
                    <a:gd name="connsiteY228" fmla="*/ 678794 h 1520187"/>
                    <a:gd name="connsiteX229" fmla="*/ 1949017 w 1984332"/>
                    <a:gd name="connsiteY229" fmla="*/ 759443 h 1520187"/>
                    <a:gd name="connsiteX230" fmla="*/ 1915413 w 1984332"/>
                    <a:gd name="connsiteY230" fmla="*/ 840091 h 1520187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83663 w 1984332"/>
                    <a:gd name="connsiteY13" fmla="*/ 423406 h 1520187"/>
                    <a:gd name="connsiteX14" fmla="*/ 1297104 w 1984332"/>
                    <a:gd name="connsiteY14" fmla="*/ 450289 h 1520187"/>
                    <a:gd name="connsiteX15" fmla="*/ 1364312 w 1984332"/>
                    <a:gd name="connsiteY15" fmla="*/ 551100 h 1520187"/>
                    <a:gd name="connsiteX16" fmla="*/ 1330708 w 1984332"/>
                    <a:gd name="connsiteY16" fmla="*/ 631749 h 1520187"/>
                    <a:gd name="connsiteX17" fmla="*/ 1250059 w 1984332"/>
                    <a:gd name="connsiteY17" fmla="*/ 665352 h 1520187"/>
                    <a:gd name="connsiteX18" fmla="*/ 1135806 w 1984332"/>
                    <a:gd name="connsiteY18" fmla="*/ 551100 h 1520187"/>
                    <a:gd name="connsiteX19" fmla="*/ 1209734 w 1984332"/>
                    <a:gd name="connsiteY19" fmla="*/ 443568 h 1520187"/>
                    <a:gd name="connsiteX20" fmla="*/ 1223176 w 1984332"/>
                    <a:gd name="connsiteY20" fmla="*/ 423406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223176 w 1984332"/>
                    <a:gd name="connsiteY23" fmla="*/ 349478 h 1520187"/>
                    <a:gd name="connsiteX24" fmla="*/ 1182852 w 1984332"/>
                    <a:gd name="connsiteY24" fmla="*/ 336037 h 1520187"/>
                    <a:gd name="connsiteX25" fmla="*/ 11828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826652 w 1984332"/>
                    <a:gd name="connsiteY28" fmla="*/ 336037 h 1520187"/>
                    <a:gd name="connsiteX29" fmla="*/ 497335 w 1984332"/>
                    <a:gd name="connsiteY29" fmla="*/ 336037 h 1520187"/>
                    <a:gd name="connsiteX30" fmla="*/ 497335 w 1984332"/>
                    <a:gd name="connsiteY30" fmla="*/ 295712 h 1520187"/>
                    <a:gd name="connsiteX31" fmla="*/ 584705 w 1984332"/>
                    <a:gd name="connsiteY31" fmla="*/ 154577 h 1520187"/>
                    <a:gd name="connsiteX32" fmla="*/ 537660 w 1984332"/>
                    <a:gd name="connsiteY32" fmla="*/ 47045 h 1520187"/>
                    <a:gd name="connsiteX33" fmla="*/ 423407 w 1984332"/>
                    <a:gd name="connsiteY33" fmla="*/ 0 h 1520187"/>
                    <a:gd name="connsiteX34" fmla="*/ 423407 w 1984332"/>
                    <a:gd name="connsiteY34" fmla="*/ 0 h 1520187"/>
                    <a:gd name="connsiteX35" fmla="*/ 268830 w 1984332"/>
                    <a:gd name="connsiteY35" fmla="*/ 154577 h 1520187"/>
                    <a:gd name="connsiteX36" fmla="*/ 349479 w 1984332"/>
                    <a:gd name="connsiteY36" fmla="*/ 288991 h 1520187"/>
                    <a:gd name="connsiteX37" fmla="*/ 349479 w 1984332"/>
                    <a:gd name="connsiteY37" fmla="*/ 329316 h 1520187"/>
                    <a:gd name="connsiteX38" fmla="*/ 20162 w 1984332"/>
                    <a:gd name="connsiteY38" fmla="*/ 336037 h 1520187"/>
                    <a:gd name="connsiteX39" fmla="*/ 0 w 1984332"/>
                    <a:gd name="connsiteY39" fmla="*/ 356199 h 1520187"/>
                    <a:gd name="connsiteX40" fmla="*/ 0 w 1984332"/>
                    <a:gd name="connsiteY40" fmla="*/ 698956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20162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94090 w 1984332"/>
                    <a:gd name="connsiteY46" fmla="*/ 719118 h 1520187"/>
                    <a:gd name="connsiteX47" fmla="*/ 120973 w 1984332"/>
                    <a:gd name="connsiteY47" fmla="*/ 705677 h 1520187"/>
                    <a:gd name="connsiteX48" fmla="*/ 221785 w 1984332"/>
                    <a:gd name="connsiteY48" fmla="*/ 638469 h 1520187"/>
                    <a:gd name="connsiteX49" fmla="*/ 221785 w 1984332"/>
                    <a:gd name="connsiteY49" fmla="*/ 638469 h 1520187"/>
                    <a:gd name="connsiteX50" fmla="*/ 336037 w 1984332"/>
                    <a:gd name="connsiteY50" fmla="*/ 752722 h 1520187"/>
                    <a:gd name="connsiteX51" fmla="*/ 221785 w 1984332"/>
                    <a:gd name="connsiteY51" fmla="*/ 873695 h 1520187"/>
                    <a:gd name="connsiteX52" fmla="*/ 221785 w 1984332"/>
                    <a:gd name="connsiteY52" fmla="*/ 873695 h 1520187"/>
                    <a:gd name="connsiteX53" fmla="*/ 114253 w 1984332"/>
                    <a:gd name="connsiteY53" fmla="*/ 799767 h 1520187"/>
                    <a:gd name="connsiteX54" fmla="*/ 94090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20162 w 1984332"/>
                    <a:gd name="connsiteY59" fmla="*/ 786325 h 1520187"/>
                    <a:gd name="connsiteX60" fmla="*/ 0 w 1984332"/>
                    <a:gd name="connsiteY60" fmla="*/ 806488 h 1520187"/>
                    <a:gd name="connsiteX61" fmla="*/ 0 w 1984332"/>
                    <a:gd name="connsiteY61" fmla="*/ 1162686 h 1520187"/>
                    <a:gd name="connsiteX62" fmla="*/ 20162 w 1984332"/>
                    <a:gd name="connsiteY62" fmla="*/ 1182849 h 1520187"/>
                    <a:gd name="connsiteX63" fmla="*/ 20162 w 1984332"/>
                    <a:gd name="connsiteY63" fmla="*/ 1182849 h 1520187"/>
                    <a:gd name="connsiteX64" fmla="*/ 356200 w 1984332"/>
                    <a:gd name="connsiteY64" fmla="*/ 1182849 h 1520187"/>
                    <a:gd name="connsiteX65" fmla="*/ 356200 w 1984332"/>
                    <a:gd name="connsiteY65" fmla="*/ 1223173 h 1520187"/>
                    <a:gd name="connsiteX66" fmla="*/ 268830 w 1984332"/>
                    <a:gd name="connsiteY66" fmla="*/ 1364308 h 1520187"/>
                    <a:gd name="connsiteX67" fmla="*/ 315875 w 1984332"/>
                    <a:gd name="connsiteY67" fmla="*/ 1471840 h 1520187"/>
                    <a:gd name="connsiteX68" fmla="*/ 423407 w 1984332"/>
                    <a:gd name="connsiteY68" fmla="*/ 1518885 h 1520187"/>
                    <a:gd name="connsiteX69" fmla="*/ 423407 w 1984332"/>
                    <a:gd name="connsiteY69" fmla="*/ 1518885 h 1520187"/>
                    <a:gd name="connsiteX70" fmla="*/ 537660 w 1984332"/>
                    <a:gd name="connsiteY70" fmla="*/ 1478561 h 1520187"/>
                    <a:gd name="connsiteX71" fmla="*/ 584705 w 1984332"/>
                    <a:gd name="connsiteY71" fmla="*/ 1371029 h 1520187"/>
                    <a:gd name="connsiteX72" fmla="*/ 510777 w 1984332"/>
                    <a:gd name="connsiteY72" fmla="*/ 1236614 h 1520187"/>
                    <a:gd name="connsiteX73" fmla="*/ 510777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833373 w 1984332"/>
                    <a:gd name="connsiteY76" fmla="*/ 1189569 h 1520187"/>
                    <a:gd name="connsiteX77" fmla="*/ 1189572 w 1984332"/>
                    <a:gd name="connsiteY77" fmla="*/ 1189569 h 1520187"/>
                    <a:gd name="connsiteX78" fmla="*/ 1203014 w 1984332"/>
                    <a:gd name="connsiteY78" fmla="*/ 1182849 h 1520187"/>
                    <a:gd name="connsiteX79" fmla="*/ 1209734 w 1984332"/>
                    <a:gd name="connsiteY79" fmla="*/ 1169407 h 1520187"/>
                    <a:gd name="connsiteX80" fmla="*/ 1209734 w 1984332"/>
                    <a:gd name="connsiteY80" fmla="*/ 1095479 h 1520187"/>
                    <a:gd name="connsiteX81" fmla="*/ 1196293 w 1984332"/>
                    <a:gd name="connsiteY81" fmla="*/ 1075317 h 1520187"/>
                    <a:gd name="connsiteX82" fmla="*/ 1122365 w 1984332"/>
                    <a:gd name="connsiteY82" fmla="*/ 967785 h 1520187"/>
                    <a:gd name="connsiteX83" fmla="*/ 1155969 w 1984332"/>
                    <a:gd name="connsiteY83" fmla="*/ 887136 h 1520187"/>
                    <a:gd name="connsiteX84" fmla="*/ 1236617 w 1984332"/>
                    <a:gd name="connsiteY84" fmla="*/ 853533 h 1520187"/>
                    <a:gd name="connsiteX85" fmla="*/ 1236617 w 1984332"/>
                    <a:gd name="connsiteY85" fmla="*/ 853533 h 1520187"/>
                    <a:gd name="connsiteX86" fmla="*/ 1317266 w 1984332"/>
                    <a:gd name="connsiteY86" fmla="*/ 887136 h 1520187"/>
                    <a:gd name="connsiteX87" fmla="*/ 1350870 w 1984332"/>
                    <a:gd name="connsiteY87" fmla="*/ 967785 h 1520187"/>
                    <a:gd name="connsiteX88" fmla="*/ 1283663 w 1984332"/>
                    <a:gd name="connsiteY88" fmla="*/ 1068596 h 1520187"/>
                    <a:gd name="connsiteX89" fmla="*/ 1270221 w 1984332"/>
                    <a:gd name="connsiteY89" fmla="*/ 1088758 h 1520187"/>
                    <a:gd name="connsiteX90" fmla="*/ 1270221 w 1984332"/>
                    <a:gd name="connsiteY90" fmla="*/ 1162686 h 1520187"/>
                    <a:gd name="connsiteX91" fmla="*/ 1276942 w 1984332"/>
                    <a:gd name="connsiteY91" fmla="*/ 1176128 h 1520187"/>
                    <a:gd name="connsiteX92" fmla="*/ 1290383 w 1984332"/>
                    <a:gd name="connsiteY92" fmla="*/ 1182849 h 1520187"/>
                    <a:gd name="connsiteX93" fmla="*/ 1290383 w 1984332"/>
                    <a:gd name="connsiteY93" fmla="*/ 1182849 h 1520187"/>
                    <a:gd name="connsiteX94" fmla="*/ 1633141 w 1984332"/>
                    <a:gd name="connsiteY94" fmla="*/ 1182849 h 1520187"/>
                    <a:gd name="connsiteX95" fmla="*/ 1653304 w 1984332"/>
                    <a:gd name="connsiteY95" fmla="*/ 1162686 h 1520187"/>
                    <a:gd name="connsiteX96" fmla="*/ 1653304 w 1984332"/>
                    <a:gd name="connsiteY96" fmla="*/ 833371 h 1520187"/>
                    <a:gd name="connsiteX97" fmla="*/ 1693628 w 1984332"/>
                    <a:gd name="connsiteY97" fmla="*/ 833371 h 1520187"/>
                    <a:gd name="connsiteX98" fmla="*/ 1828043 w 1984332"/>
                    <a:gd name="connsiteY98" fmla="*/ 914019 h 1520187"/>
                    <a:gd name="connsiteX99" fmla="*/ 1828043 w 1984332"/>
                    <a:gd name="connsiteY99" fmla="*/ 914019 h 1520187"/>
                    <a:gd name="connsiteX100" fmla="*/ 1935575 w 1984332"/>
                    <a:gd name="connsiteY100" fmla="*/ 866974 h 1520187"/>
                    <a:gd name="connsiteX101" fmla="*/ 1982620 w 1984332"/>
                    <a:gd name="connsiteY101" fmla="*/ 759443 h 1520187"/>
                    <a:gd name="connsiteX102" fmla="*/ 1949017 w 1984332"/>
                    <a:gd name="connsiteY102" fmla="*/ 645190 h 1520187"/>
                    <a:gd name="connsiteX103" fmla="*/ 483894 w 1984332"/>
                    <a:gd name="connsiteY103" fmla="*/ 1142524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162686 h 1520187"/>
                    <a:gd name="connsiteX107" fmla="*/ 463732 w 1984332"/>
                    <a:gd name="connsiteY107" fmla="*/ 1236614 h 1520187"/>
                    <a:gd name="connsiteX108" fmla="*/ 463732 w 1984332"/>
                    <a:gd name="connsiteY108" fmla="*/ 1236614 h 1520187"/>
                    <a:gd name="connsiteX109" fmla="*/ 477173 w 1984332"/>
                    <a:gd name="connsiteY109" fmla="*/ 1263497 h 1520187"/>
                    <a:gd name="connsiteX110" fmla="*/ 544381 w 1984332"/>
                    <a:gd name="connsiteY110" fmla="*/ 1364308 h 1520187"/>
                    <a:gd name="connsiteX111" fmla="*/ 510777 w 1984332"/>
                    <a:gd name="connsiteY111" fmla="*/ 1444957 h 1520187"/>
                    <a:gd name="connsiteX112" fmla="*/ 423407 w 1984332"/>
                    <a:gd name="connsiteY112" fmla="*/ 1478561 h 1520187"/>
                    <a:gd name="connsiteX113" fmla="*/ 423407 w 1984332"/>
                    <a:gd name="connsiteY113" fmla="*/ 1478561 h 1520187"/>
                    <a:gd name="connsiteX114" fmla="*/ 342758 w 1984332"/>
                    <a:gd name="connsiteY114" fmla="*/ 1444957 h 1520187"/>
                    <a:gd name="connsiteX115" fmla="*/ 309154 w 1984332"/>
                    <a:gd name="connsiteY115" fmla="*/ 1364308 h 1520187"/>
                    <a:gd name="connsiteX116" fmla="*/ 383083 w 1984332"/>
                    <a:gd name="connsiteY116" fmla="*/ 1256777 h 1520187"/>
                    <a:gd name="connsiteX117" fmla="*/ 396524 w 1984332"/>
                    <a:gd name="connsiteY117" fmla="*/ 1236614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96524 w 1984332"/>
                    <a:gd name="connsiteY120" fmla="*/ 1162686 h 1520187"/>
                    <a:gd name="connsiteX121" fmla="*/ 376362 w 1984332"/>
                    <a:gd name="connsiteY121" fmla="*/ 1142524 h 1520187"/>
                    <a:gd name="connsiteX122" fmla="*/ 376362 w 1984332"/>
                    <a:gd name="connsiteY122" fmla="*/ 1142524 h 1520187"/>
                    <a:gd name="connsiteX123" fmla="*/ 40324 w 1984332"/>
                    <a:gd name="connsiteY123" fmla="*/ 1142524 h 1520187"/>
                    <a:gd name="connsiteX124" fmla="*/ 40324 w 1984332"/>
                    <a:gd name="connsiteY124" fmla="*/ 833371 h 1520187"/>
                    <a:gd name="connsiteX125" fmla="*/ 80649 w 1984332"/>
                    <a:gd name="connsiteY125" fmla="*/ 833371 h 1520187"/>
                    <a:gd name="connsiteX126" fmla="*/ 221785 w 1984332"/>
                    <a:gd name="connsiteY126" fmla="*/ 920740 h 1520187"/>
                    <a:gd name="connsiteX127" fmla="*/ 221785 w 1984332"/>
                    <a:gd name="connsiteY127" fmla="*/ 920740 h 1520187"/>
                    <a:gd name="connsiteX128" fmla="*/ 376362 w 1984332"/>
                    <a:gd name="connsiteY128" fmla="*/ 766163 h 1520187"/>
                    <a:gd name="connsiteX129" fmla="*/ 221785 w 1984332"/>
                    <a:gd name="connsiteY129" fmla="*/ 604866 h 1520187"/>
                    <a:gd name="connsiteX130" fmla="*/ 221785 w 1984332"/>
                    <a:gd name="connsiteY130" fmla="*/ 604866 h 1520187"/>
                    <a:gd name="connsiteX131" fmla="*/ 87370 w 1984332"/>
                    <a:gd name="connsiteY131" fmla="*/ 678794 h 1520187"/>
                    <a:gd name="connsiteX132" fmla="*/ 40324 w 1984332"/>
                    <a:gd name="connsiteY132" fmla="*/ 678794 h 1520187"/>
                    <a:gd name="connsiteX133" fmla="*/ 40324 w 1984332"/>
                    <a:gd name="connsiteY133" fmla="*/ 376361 h 1520187"/>
                    <a:gd name="connsiteX134" fmla="*/ 369641 w 1984332"/>
                    <a:gd name="connsiteY134" fmla="*/ 376361 h 1520187"/>
                    <a:gd name="connsiteX135" fmla="*/ 383083 w 1984332"/>
                    <a:gd name="connsiteY135" fmla="*/ 369640 h 1520187"/>
                    <a:gd name="connsiteX136" fmla="*/ 389803 w 1984332"/>
                    <a:gd name="connsiteY136" fmla="*/ 356199 h 1520187"/>
                    <a:gd name="connsiteX137" fmla="*/ 389803 w 1984332"/>
                    <a:gd name="connsiteY137" fmla="*/ 275550 h 1520187"/>
                    <a:gd name="connsiteX138" fmla="*/ 376362 w 1984332"/>
                    <a:gd name="connsiteY138" fmla="*/ 255388 h 1520187"/>
                    <a:gd name="connsiteX139" fmla="*/ 309154 w 1984332"/>
                    <a:gd name="connsiteY139" fmla="*/ 154577 h 1520187"/>
                    <a:gd name="connsiteX140" fmla="*/ 423407 w 1984332"/>
                    <a:gd name="connsiteY140" fmla="*/ 40324 h 1520187"/>
                    <a:gd name="connsiteX141" fmla="*/ 504056 w 1984332"/>
                    <a:gd name="connsiteY141" fmla="*/ 73928 h 1520187"/>
                    <a:gd name="connsiteX142" fmla="*/ 537660 w 1984332"/>
                    <a:gd name="connsiteY142" fmla="*/ 154577 h 1520187"/>
                    <a:gd name="connsiteX143" fmla="*/ 470452 w 1984332"/>
                    <a:gd name="connsiteY143" fmla="*/ 262109 h 1520187"/>
                    <a:gd name="connsiteX144" fmla="*/ 457011 w 1984332"/>
                    <a:gd name="connsiteY144" fmla="*/ 282271 h 1520187"/>
                    <a:gd name="connsiteX145" fmla="*/ 457011 w 1984332"/>
                    <a:gd name="connsiteY145" fmla="*/ 362919 h 1520187"/>
                    <a:gd name="connsiteX146" fmla="*/ 477173 w 1984332"/>
                    <a:gd name="connsiteY146" fmla="*/ 383082 h 1520187"/>
                    <a:gd name="connsiteX147" fmla="*/ 477173 w 1984332"/>
                    <a:gd name="connsiteY147" fmla="*/ 383082 h 1520187"/>
                    <a:gd name="connsiteX148" fmla="*/ 806490 w 1984332"/>
                    <a:gd name="connsiteY148" fmla="*/ 383082 h 1520187"/>
                    <a:gd name="connsiteX149" fmla="*/ 806490 w 1984332"/>
                    <a:gd name="connsiteY149" fmla="*/ 631749 h 1520187"/>
                    <a:gd name="connsiteX150" fmla="*/ 806490 w 1984332"/>
                    <a:gd name="connsiteY150" fmla="*/ 685515 h 1520187"/>
                    <a:gd name="connsiteX151" fmla="*/ 766165 w 1984332"/>
                    <a:gd name="connsiteY151" fmla="*/ 685515 h 1520187"/>
                    <a:gd name="connsiteX152" fmla="*/ 631750 w 1984332"/>
                    <a:gd name="connsiteY152" fmla="*/ 604866 h 1520187"/>
                    <a:gd name="connsiteX153" fmla="*/ 631750 w 1984332"/>
                    <a:gd name="connsiteY153" fmla="*/ 604866 h 1520187"/>
                    <a:gd name="connsiteX154" fmla="*/ 517497 w 1984332"/>
                    <a:gd name="connsiteY154" fmla="*/ 651911 h 1520187"/>
                    <a:gd name="connsiteX155" fmla="*/ 470452 w 1984332"/>
                    <a:gd name="connsiteY155" fmla="*/ 759443 h 1520187"/>
                    <a:gd name="connsiteX156" fmla="*/ 517497 w 1984332"/>
                    <a:gd name="connsiteY156" fmla="*/ 866974 h 1520187"/>
                    <a:gd name="connsiteX157" fmla="*/ 625029 w 1984332"/>
                    <a:gd name="connsiteY157" fmla="*/ 914019 h 1520187"/>
                    <a:gd name="connsiteX158" fmla="*/ 625029 w 1984332"/>
                    <a:gd name="connsiteY158" fmla="*/ 914019 h 1520187"/>
                    <a:gd name="connsiteX159" fmla="*/ 766165 w 1984332"/>
                    <a:gd name="connsiteY159" fmla="*/ 826650 h 1520187"/>
                    <a:gd name="connsiteX160" fmla="*/ 799769 w 1984332"/>
                    <a:gd name="connsiteY160" fmla="*/ 826650 h 1520187"/>
                    <a:gd name="connsiteX161" fmla="*/ 799769 w 1984332"/>
                    <a:gd name="connsiteY161" fmla="*/ 1135803 h 1520187"/>
                    <a:gd name="connsiteX162" fmla="*/ 483894 w 1984332"/>
                    <a:gd name="connsiteY162" fmla="*/ 1142524 h 1520187"/>
                    <a:gd name="connsiteX163" fmla="*/ 1915413 w 1984332"/>
                    <a:gd name="connsiteY163" fmla="*/ 840091 h 1520187"/>
                    <a:gd name="connsiteX164" fmla="*/ 1834764 w 1984332"/>
                    <a:gd name="connsiteY164" fmla="*/ 873695 h 1520187"/>
                    <a:gd name="connsiteX165" fmla="*/ 1834764 w 1984332"/>
                    <a:gd name="connsiteY165" fmla="*/ 873695 h 1520187"/>
                    <a:gd name="connsiteX166" fmla="*/ 1733953 w 1984332"/>
                    <a:gd name="connsiteY166" fmla="*/ 806488 h 1520187"/>
                    <a:gd name="connsiteX167" fmla="*/ 1713790 w 1984332"/>
                    <a:gd name="connsiteY167" fmla="*/ 793046 h 1520187"/>
                    <a:gd name="connsiteX168" fmla="*/ 1713790 w 1984332"/>
                    <a:gd name="connsiteY168" fmla="*/ 793046 h 1520187"/>
                    <a:gd name="connsiteX169" fmla="*/ 1633141 w 1984332"/>
                    <a:gd name="connsiteY169" fmla="*/ 793046 h 1520187"/>
                    <a:gd name="connsiteX170" fmla="*/ 1612979 w 1984332"/>
                    <a:gd name="connsiteY170" fmla="*/ 813208 h 1520187"/>
                    <a:gd name="connsiteX171" fmla="*/ 1612979 w 1984332"/>
                    <a:gd name="connsiteY171" fmla="*/ 1142524 h 1520187"/>
                    <a:gd name="connsiteX172" fmla="*/ 1310546 w 1984332"/>
                    <a:gd name="connsiteY172" fmla="*/ 1142524 h 1520187"/>
                    <a:gd name="connsiteX173" fmla="*/ 1310546 w 1984332"/>
                    <a:gd name="connsiteY173" fmla="*/ 1102200 h 1520187"/>
                    <a:gd name="connsiteX174" fmla="*/ 1384474 w 1984332"/>
                    <a:gd name="connsiteY174" fmla="*/ 967785 h 1520187"/>
                    <a:gd name="connsiteX175" fmla="*/ 1337429 w 1984332"/>
                    <a:gd name="connsiteY175" fmla="*/ 860254 h 1520187"/>
                    <a:gd name="connsiteX176" fmla="*/ 1229897 w 1984332"/>
                    <a:gd name="connsiteY176" fmla="*/ 813208 h 1520187"/>
                    <a:gd name="connsiteX177" fmla="*/ 1229897 w 1984332"/>
                    <a:gd name="connsiteY177" fmla="*/ 813208 h 1520187"/>
                    <a:gd name="connsiteX178" fmla="*/ 1122365 w 1984332"/>
                    <a:gd name="connsiteY178" fmla="*/ 860254 h 1520187"/>
                    <a:gd name="connsiteX179" fmla="*/ 1075320 w 1984332"/>
                    <a:gd name="connsiteY179" fmla="*/ 967785 h 1520187"/>
                    <a:gd name="connsiteX180" fmla="*/ 1162689 w 1984332"/>
                    <a:gd name="connsiteY180" fmla="*/ 1108921 h 1520187"/>
                    <a:gd name="connsiteX181" fmla="*/ 1162689 w 1984332"/>
                    <a:gd name="connsiteY181" fmla="*/ 1142524 h 1520187"/>
                    <a:gd name="connsiteX182" fmla="*/ 853535 w 1984332"/>
                    <a:gd name="connsiteY182" fmla="*/ 1142524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19929 h 1520187"/>
                    <a:gd name="connsiteX185" fmla="*/ 853535 w 1984332"/>
                    <a:gd name="connsiteY185" fmla="*/ 806488 h 1520187"/>
                    <a:gd name="connsiteX186" fmla="*/ 846814 w 1984332"/>
                    <a:gd name="connsiteY186" fmla="*/ 793046 h 1520187"/>
                    <a:gd name="connsiteX187" fmla="*/ 833373 w 1984332"/>
                    <a:gd name="connsiteY187" fmla="*/ 786325 h 1520187"/>
                    <a:gd name="connsiteX188" fmla="*/ 833373 w 1984332"/>
                    <a:gd name="connsiteY188" fmla="*/ 786325 h 1520187"/>
                    <a:gd name="connsiteX189" fmla="*/ 759444 w 1984332"/>
                    <a:gd name="connsiteY189" fmla="*/ 786325 h 1520187"/>
                    <a:gd name="connsiteX190" fmla="*/ 739282 w 1984332"/>
                    <a:gd name="connsiteY190" fmla="*/ 799767 h 1520187"/>
                    <a:gd name="connsiteX191" fmla="*/ 631750 w 1984332"/>
                    <a:gd name="connsiteY191" fmla="*/ 873695 h 1520187"/>
                    <a:gd name="connsiteX192" fmla="*/ 631750 w 1984332"/>
                    <a:gd name="connsiteY192" fmla="*/ 873695 h 1520187"/>
                    <a:gd name="connsiteX193" fmla="*/ 551101 w 1984332"/>
                    <a:gd name="connsiteY193" fmla="*/ 840091 h 1520187"/>
                    <a:gd name="connsiteX194" fmla="*/ 517497 w 1984332"/>
                    <a:gd name="connsiteY194" fmla="*/ 759443 h 1520187"/>
                    <a:gd name="connsiteX195" fmla="*/ 551101 w 1984332"/>
                    <a:gd name="connsiteY195" fmla="*/ 678794 h 1520187"/>
                    <a:gd name="connsiteX196" fmla="*/ 631750 w 1984332"/>
                    <a:gd name="connsiteY196" fmla="*/ 645190 h 1520187"/>
                    <a:gd name="connsiteX197" fmla="*/ 631750 w 1984332"/>
                    <a:gd name="connsiteY197" fmla="*/ 645190 h 1520187"/>
                    <a:gd name="connsiteX198" fmla="*/ 732561 w 1984332"/>
                    <a:gd name="connsiteY198" fmla="*/ 712397 h 1520187"/>
                    <a:gd name="connsiteX199" fmla="*/ 752724 w 1984332"/>
                    <a:gd name="connsiteY199" fmla="*/ 725839 h 1520187"/>
                    <a:gd name="connsiteX200" fmla="*/ 752724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26652 w 1984332"/>
                    <a:gd name="connsiteY202" fmla="*/ 725839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0093 w 1984332"/>
                    <a:gd name="connsiteY205" fmla="*/ 719118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705677 h 1520187"/>
                    <a:gd name="connsiteX210" fmla="*/ 846814 w 1984332"/>
                    <a:gd name="connsiteY210" fmla="*/ 383082 h 1520187"/>
                    <a:gd name="connsiteX211" fmla="*/ 1155969 w 1984332"/>
                    <a:gd name="connsiteY211" fmla="*/ 383082 h 1520187"/>
                    <a:gd name="connsiteX212" fmla="*/ 1155969 w 1984332"/>
                    <a:gd name="connsiteY212" fmla="*/ 423406 h 1520187"/>
                    <a:gd name="connsiteX213" fmla="*/ 1075320 w 1984332"/>
                    <a:gd name="connsiteY213" fmla="*/ 557821 h 1520187"/>
                    <a:gd name="connsiteX214" fmla="*/ 1229897 w 1984332"/>
                    <a:gd name="connsiteY214" fmla="*/ 712397 h 1520187"/>
                    <a:gd name="connsiteX215" fmla="*/ 1229897 w 1984332"/>
                    <a:gd name="connsiteY215" fmla="*/ 712397 h 1520187"/>
                    <a:gd name="connsiteX216" fmla="*/ 1346954 w 1984332"/>
                    <a:gd name="connsiteY216" fmla="*/ 670115 h 1520187"/>
                    <a:gd name="connsiteX217" fmla="*/ 1396380 w 1984332"/>
                    <a:gd name="connsiteY217" fmla="*/ 553058 h 1520187"/>
                    <a:gd name="connsiteX218" fmla="*/ 1310546 w 1984332"/>
                    <a:gd name="connsiteY218" fmla="*/ 423406 h 1520187"/>
                    <a:gd name="connsiteX219" fmla="*/ 1310546 w 1984332"/>
                    <a:gd name="connsiteY219" fmla="*/ 376361 h 1520187"/>
                    <a:gd name="connsiteX220" fmla="*/ 1612979 w 1984332"/>
                    <a:gd name="connsiteY220" fmla="*/ 376361 h 1520187"/>
                    <a:gd name="connsiteX221" fmla="*/ 1612979 w 1984332"/>
                    <a:gd name="connsiteY221" fmla="*/ 705677 h 1520187"/>
                    <a:gd name="connsiteX222" fmla="*/ 1633141 w 1984332"/>
                    <a:gd name="connsiteY222" fmla="*/ 725839 h 1520187"/>
                    <a:gd name="connsiteX223" fmla="*/ 1633141 w 1984332"/>
                    <a:gd name="connsiteY223" fmla="*/ 725839 h 1520187"/>
                    <a:gd name="connsiteX224" fmla="*/ 1713790 w 1984332"/>
                    <a:gd name="connsiteY224" fmla="*/ 725839 h 1520187"/>
                    <a:gd name="connsiteX225" fmla="*/ 1733953 w 1984332"/>
                    <a:gd name="connsiteY225" fmla="*/ 712397 h 1520187"/>
                    <a:gd name="connsiteX226" fmla="*/ 1834764 w 1984332"/>
                    <a:gd name="connsiteY226" fmla="*/ 645190 h 1520187"/>
                    <a:gd name="connsiteX227" fmla="*/ 1834764 w 1984332"/>
                    <a:gd name="connsiteY227" fmla="*/ 645190 h 1520187"/>
                    <a:gd name="connsiteX228" fmla="*/ 1915413 w 1984332"/>
                    <a:gd name="connsiteY228" fmla="*/ 678794 h 1520187"/>
                    <a:gd name="connsiteX229" fmla="*/ 1949017 w 1984332"/>
                    <a:gd name="connsiteY229" fmla="*/ 759443 h 1520187"/>
                    <a:gd name="connsiteX230" fmla="*/ 1915413 w 1984332"/>
                    <a:gd name="connsiteY230" fmla="*/ 840091 h 1520187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83663 w 1984332"/>
                    <a:gd name="connsiteY13" fmla="*/ 423406 h 1520187"/>
                    <a:gd name="connsiteX14" fmla="*/ 1297104 w 1984332"/>
                    <a:gd name="connsiteY14" fmla="*/ 450289 h 1520187"/>
                    <a:gd name="connsiteX15" fmla="*/ 1364312 w 1984332"/>
                    <a:gd name="connsiteY15" fmla="*/ 551100 h 1520187"/>
                    <a:gd name="connsiteX16" fmla="*/ 1330708 w 1984332"/>
                    <a:gd name="connsiteY16" fmla="*/ 631749 h 1520187"/>
                    <a:gd name="connsiteX17" fmla="*/ 1250059 w 1984332"/>
                    <a:gd name="connsiteY17" fmla="*/ 665352 h 1520187"/>
                    <a:gd name="connsiteX18" fmla="*/ 1135806 w 1984332"/>
                    <a:gd name="connsiteY18" fmla="*/ 551100 h 1520187"/>
                    <a:gd name="connsiteX19" fmla="*/ 1209734 w 1984332"/>
                    <a:gd name="connsiteY19" fmla="*/ 443568 h 1520187"/>
                    <a:gd name="connsiteX20" fmla="*/ 1223176 w 1984332"/>
                    <a:gd name="connsiteY20" fmla="*/ 423406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223176 w 1984332"/>
                    <a:gd name="connsiteY23" fmla="*/ 349478 h 1520187"/>
                    <a:gd name="connsiteX24" fmla="*/ 1182852 w 1984332"/>
                    <a:gd name="connsiteY24" fmla="*/ 336037 h 1520187"/>
                    <a:gd name="connsiteX25" fmla="*/ 11828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826652 w 1984332"/>
                    <a:gd name="connsiteY28" fmla="*/ 336037 h 1520187"/>
                    <a:gd name="connsiteX29" fmla="*/ 497335 w 1984332"/>
                    <a:gd name="connsiteY29" fmla="*/ 336037 h 1520187"/>
                    <a:gd name="connsiteX30" fmla="*/ 497335 w 1984332"/>
                    <a:gd name="connsiteY30" fmla="*/ 295712 h 1520187"/>
                    <a:gd name="connsiteX31" fmla="*/ 584705 w 1984332"/>
                    <a:gd name="connsiteY31" fmla="*/ 154577 h 1520187"/>
                    <a:gd name="connsiteX32" fmla="*/ 537660 w 1984332"/>
                    <a:gd name="connsiteY32" fmla="*/ 47045 h 1520187"/>
                    <a:gd name="connsiteX33" fmla="*/ 423407 w 1984332"/>
                    <a:gd name="connsiteY33" fmla="*/ 0 h 1520187"/>
                    <a:gd name="connsiteX34" fmla="*/ 423407 w 1984332"/>
                    <a:gd name="connsiteY34" fmla="*/ 0 h 1520187"/>
                    <a:gd name="connsiteX35" fmla="*/ 268830 w 1984332"/>
                    <a:gd name="connsiteY35" fmla="*/ 154577 h 1520187"/>
                    <a:gd name="connsiteX36" fmla="*/ 349479 w 1984332"/>
                    <a:gd name="connsiteY36" fmla="*/ 288991 h 1520187"/>
                    <a:gd name="connsiteX37" fmla="*/ 349479 w 1984332"/>
                    <a:gd name="connsiteY37" fmla="*/ 329316 h 1520187"/>
                    <a:gd name="connsiteX38" fmla="*/ 20162 w 1984332"/>
                    <a:gd name="connsiteY38" fmla="*/ 336037 h 1520187"/>
                    <a:gd name="connsiteX39" fmla="*/ 0 w 1984332"/>
                    <a:gd name="connsiteY39" fmla="*/ 356199 h 1520187"/>
                    <a:gd name="connsiteX40" fmla="*/ 0 w 1984332"/>
                    <a:gd name="connsiteY40" fmla="*/ 698956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20162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94090 w 1984332"/>
                    <a:gd name="connsiteY46" fmla="*/ 719118 h 1520187"/>
                    <a:gd name="connsiteX47" fmla="*/ 120973 w 1984332"/>
                    <a:gd name="connsiteY47" fmla="*/ 705677 h 1520187"/>
                    <a:gd name="connsiteX48" fmla="*/ 221785 w 1984332"/>
                    <a:gd name="connsiteY48" fmla="*/ 638469 h 1520187"/>
                    <a:gd name="connsiteX49" fmla="*/ 221785 w 1984332"/>
                    <a:gd name="connsiteY49" fmla="*/ 638469 h 1520187"/>
                    <a:gd name="connsiteX50" fmla="*/ 336037 w 1984332"/>
                    <a:gd name="connsiteY50" fmla="*/ 752722 h 1520187"/>
                    <a:gd name="connsiteX51" fmla="*/ 221785 w 1984332"/>
                    <a:gd name="connsiteY51" fmla="*/ 873695 h 1520187"/>
                    <a:gd name="connsiteX52" fmla="*/ 221785 w 1984332"/>
                    <a:gd name="connsiteY52" fmla="*/ 873695 h 1520187"/>
                    <a:gd name="connsiteX53" fmla="*/ 114253 w 1984332"/>
                    <a:gd name="connsiteY53" fmla="*/ 799767 h 1520187"/>
                    <a:gd name="connsiteX54" fmla="*/ 94090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20162 w 1984332"/>
                    <a:gd name="connsiteY59" fmla="*/ 786325 h 1520187"/>
                    <a:gd name="connsiteX60" fmla="*/ 0 w 1984332"/>
                    <a:gd name="connsiteY60" fmla="*/ 806488 h 1520187"/>
                    <a:gd name="connsiteX61" fmla="*/ 0 w 1984332"/>
                    <a:gd name="connsiteY61" fmla="*/ 1162686 h 1520187"/>
                    <a:gd name="connsiteX62" fmla="*/ 20162 w 1984332"/>
                    <a:gd name="connsiteY62" fmla="*/ 1182849 h 1520187"/>
                    <a:gd name="connsiteX63" fmla="*/ 20162 w 1984332"/>
                    <a:gd name="connsiteY63" fmla="*/ 1182849 h 1520187"/>
                    <a:gd name="connsiteX64" fmla="*/ 356200 w 1984332"/>
                    <a:gd name="connsiteY64" fmla="*/ 1182849 h 1520187"/>
                    <a:gd name="connsiteX65" fmla="*/ 356200 w 1984332"/>
                    <a:gd name="connsiteY65" fmla="*/ 1223173 h 1520187"/>
                    <a:gd name="connsiteX66" fmla="*/ 268830 w 1984332"/>
                    <a:gd name="connsiteY66" fmla="*/ 1364308 h 1520187"/>
                    <a:gd name="connsiteX67" fmla="*/ 315875 w 1984332"/>
                    <a:gd name="connsiteY67" fmla="*/ 1471840 h 1520187"/>
                    <a:gd name="connsiteX68" fmla="*/ 423407 w 1984332"/>
                    <a:gd name="connsiteY68" fmla="*/ 1518885 h 1520187"/>
                    <a:gd name="connsiteX69" fmla="*/ 423407 w 1984332"/>
                    <a:gd name="connsiteY69" fmla="*/ 1518885 h 1520187"/>
                    <a:gd name="connsiteX70" fmla="*/ 537660 w 1984332"/>
                    <a:gd name="connsiteY70" fmla="*/ 1478561 h 1520187"/>
                    <a:gd name="connsiteX71" fmla="*/ 584705 w 1984332"/>
                    <a:gd name="connsiteY71" fmla="*/ 1371029 h 1520187"/>
                    <a:gd name="connsiteX72" fmla="*/ 510777 w 1984332"/>
                    <a:gd name="connsiteY72" fmla="*/ 1236614 h 1520187"/>
                    <a:gd name="connsiteX73" fmla="*/ 510777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833373 w 1984332"/>
                    <a:gd name="connsiteY76" fmla="*/ 1189569 h 1520187"/>
                    <a:gd name="connsiteX77" fmla="*/ 1189572 w 1984332"/>
                    <a:gd name="connsiteY77" fmla="*/ 1189569 h 1520187"/>
                    <a:gd name="connsiteX78" fmla="*/ 1203014 w 1984332"/>
                    <a:gd name="connsiteY78" fmla="*/ 1182849 h 1520187"/>
                    <a:gd name="connsiteX79" fmla="*/ 1209734 w 1984332"/>
                    <a:gd name="connsiteY79" fmla="*/ 1169407 h 1520187"/>
                    <a:gd name="connsiteX80" fmla="*/ 1209734 w 1984332"/>
                    <a:gd name="connsiteY80" fmla="*/ 1095479 h 1520187"/>
                    <a:gd name="connsiteX81" fmla="*/ 1196293 w 1984332"/>
                    <a:gd name="connsiteY81" fmla="*/ 1075317 h 1520187"/>
                    <a:gd name="connsiteX82" fmla="*/ 1122365 w 1984332"/>
                    <a:gd name="connsiteY82" fmla="*/ 967785 h 1520187"/>
                    <a:gd name="connsiteX83" fmla="*/ 1155969 w 1984332"/>
                    <a:gd name="connsiteY83" fmla="*/ 887136 h 1520187"/>
                    <a:gd name="connsiteX84" fmla="*/ 1236617 w 1984332"/>
                    <a:gd name="connsiteY84" fmla="*/ 853533 h 1520187"/>
                    <a:gd name="connsiteX85" fmla="*/ 1236617 w 1984332"/>
                    <a:gd name="connsiteY85" fmla="*/ 853533 h 1520187"/>
                    <a:gd name="connsiteX86" fmla="*/ 1317266 w 1984332"/>
                    <a:gd name="connsiteY86" fmla="*/ 887136 h 1520187"/>
                    <a:gd name="connsiteX87" fmla="*/ 1350870 w 1984332"/>
                    <a:gd name="connsiteY87" fmla="*/ 967785 h 1520187"/>
                    <a:gd name="connsiteX88" fmla="*/ 1283663 w 1984332"/>
                    <a:gd name="connsiteY88" fmla="*/ 1068596 h 1520187"/>
                    <a:gd name="connsiteX89" fmla="*/ 1270221 w 1984332"/>
                    <a:gd name="connsiteY89" fmla="*/ 1088758 h 1520187"/>
                    <a:gd name="connsiteX90" fmla="*/ 1270221 w 1984332"/>
                    <a:gd name="connsiteY90" fmla="*/ 1162686 h 1520187"/>
                    <a:gd name="connsiteX91" fmla="*/ 1276942 w 1984332"/>
                    <a:gd name="connsiteY91" fmla="*/ 1176128 h 1520187"/>
                    <a:gd name="connsiteX92" fmla="*/ 1290383 w 1984332"/>
                    <a:gd name="connsiteY92" fmla="*/ 1182849 h 1520187"/>
                    <a:gd name="connsiteX93" fmla="*/ 1290383 w 1984332"/>
                    <a:gd name="connsiteY93" fmla="*/ 1182849 h 1520187"/>
                    <a:gd name="connsiteX94" fmla="*/ 1633141 w 1984332"/>
                    <a:gd name="connsiteY94" fmla="*/ 1182849 h 1520187"/>
                    <a:gd name="connsiteX95" fmla="*/ 1653304 w 1984332"/>
                    <a:gd name="connsiteY95" fmla="*/ 1162686 h 1520187"/>
                    <a:gd name="connsiteX96" fmla="*/ 1653304 w 1984332"/>
                    <a:gd name="connsiteY96" fmla="*/ 833371 h 1520187"/>
                    <a:gd name="connsiteX97" fmla="*/ 1693628 w 1984332"/>
                    <a:gd name="connsiteY97" fmla="*/ 833371 h 1520187"/>
                    <a:gd name="connsiteX98" fmla="*/ 1828043 w 1984332"/>
                    <a:gd name="connsiteY98" fmla="*/ 914019 h 1520187"/>
                    <a:gd name="connsiteX99" fmla="*/ 1828043 w 1984332"/>
                    <a:gd name="connsiteY99" fmla="*/ 914019 h 1520187"/>
                    <a:gd name="connsiteX100" fmla="*/ 1935575 w 1984332"/>
                    <a:gd name="connsiteY100" fmla="*/ 866974 h 1520187"/>
                    <a:gd name="connsiteX101" fmla="*/ 1982620 w 1984332"/>
                    <a:gd name="connsiteY101" fmla="*/ 759443 h 1520187"/>
                    <a:gd name="connsiteX102" fmla="*/ 1949017 w 1984332"/>
                    <a:gd name="connsiteY102" fmla="*/ 645190 h 1520187"/>
                    <a:gd name="connsiteX103" fmla="*/ 483894 w 1984332"/>
                    <a:gd name="connsiteY103" fmla="*/ 1142524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162686 h 1520187"/>
                    <a:gd name="connsiteX107" fmla="*/ 463732 w 1984332"/>
                    <a:gd name="connsiteY107" fmla="*/ 1236614 h 1520187"/>
                    <a:gd name="connsiteX108" fmla="*/ 463732 w 1984332"/>
                    <a:gd name="connsiteY108" fmla="*/ 1236614 h 1520187"/>
                    <a:gd name="connsiteX109" fmla="*/ 477173 w 1984332"/>
                    <a:gd name="connsiteY109" fmla="*/ 1263497 h 1520187"/>
                    <a:gd name="connsiteX110" fmla="*/ 544381 w 1984332"/>
                    <a:gd name="connsiteY110" fmla="*/ 1364308 h 1520187"/>
                    <a:gd name="connsiteX111" fmla="*/ 510777 w 1984332"/>
                    <a:gd name="connsiteY111" fmla="*/ 1444957 h 1520187"/>
                    <a:gd name="connsiteX112" fmla="*/ 423407 w 1984332"/>
                    <a:gd name="connsiteY112" fmla="*/ 1478561 h 1520187"/>
                    <a:gd name="connsiteX113" fmla="*/ 423407 w 1984332"/>
                    <a:gd name="connsiteY113" fmla="*/ 1478561 h 1520187"/>
                    <a:gd name="connsiteX114" fmla="*/ 342758 w 1984332"/>
                    <a:gd name="connsiteY114" fmla="*/ 1444957 h 1520187"/>
                    <a:gd name="connsiteX115" fmla="*/ 309154 w 1984332"/>
                    <a:gd name="connsiteY115" fmla="*/ 1364308 h 1520187"/>
                    <a:gd name="connsiteX116" fmla="*/ 383083 w 1984332"/>
                    <a:gd name="connsiteY116" fmla="*/ 1256777 h 1520187"/>
                    <a:gd name="connsiteX117" fmla="*/ 396524 w 1984332"/>
                    <a:gd name="connsiteY117" fmla="*/ 1236614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96524 w 1984332"/>
                    <a:gd name="connsiteY120" fmla="*/ 1162686 h 1520187"/>
                    <a:gd name="connsiteX121" fmla="*/ 376362 w 1984332"/>
                    <a:gd name="connsiteY121" fmla="*/ 1142524 h 1520187"/>
                    <a:gd name="connsiteX122" fmla="*/ 376362 w 1984332"/>
                    <a:gd name="connsiteY122" fmla="*/ 1142524 h 1520187"/>
                    <a:gd name="connsiteX123" fmla="*/ 40324 w 1984332"/>
                    <a:gd name="connsiteY123" fmla="*/ 1142524 h 1520187"/>
                    <a:gd name="connsiteX124" fmla="*/ 40324 w 1984332"/>
                    <a:gd name="connsiteY124" fmla="*/ 833371 h 1520187"/>
                    <a:gd name="connsiteX125" fmla="*/ 80649 w 1984332"/>
                    <a:gd name="connsiteY125" fmla="*/ 833371 h 1520187"/>
                    <a:gd name="connsiteX126" fmla="*/ 221785 w 1984332"/>
                    <a:gd name="connsiteY126" fmla="*/ 920740 h 1520187"/>
                    <a:gd name="connsiteX127" fmla="*/ 221785 w 1984332"/>
                    <a:gd name="connsiteY127" fmla="*/ 920740 h 1520187"/>
                    <a:gd name="connsiteX128" fmla="*/ 376362 w 1984332"/>
                    <a:gd name="connsiteY128" fmla="*/ 766163 h 1520187"/>
                    <a:gd name="connsiteX129" fmla="*/ 221785 w 1984332"/>
                    <a:gd name="connsiteY129" fmla="*/ 604866 h 1520187"/>
                    <a:gd name="connsiteX130" fmla="*/ 221785 w 1984332"/>
                    <a:gd name="connsiteY130" fmla="*/ 604866 h 1520187"/>
                    <a:gd name="connsiteX131" fmla="*/ 87370 w 1984332"/>
                    <a:gd name="connsiteY131" fmla="*/ 678794 h 1520187"/>
                    <a:gd name="connsiteX132" fmla="*/ 40324 w 1984332"/>
                    <a:gd name="connsiteY132" fmla="*/ 678794 h 1520187"/>
                    <a:gd name="connsiteX133" fmla="*/ 40324 w 1984332"/>
                    <a:gd name="connsiteY133" fmla="*/ 376361 h 1520187"/>
                    <a:gd name="connsiteX134" fmla="*/ 369641 w 1984332"/>
                    <a:gd name="connsiteY134" fmla="*/ 376361 h 1520187"/>
                    <a:gd name="connsiteX135" fmla="*/ 383083 w 1984332"/>
                    <a:gd name="connsiteY135" fmla="*/ 369640 h 1520187"/>
                    <a:gd name="connsiteX136" fmla="*/ 389803 w 1984332"/>
                    <a:gd name="connsiteY136" fmla="*/ 356199 h 1520187"/>
                    <a:gd name="connsiteX137" fmla="*/ 389803 w 1984332"/>
                    <a:gd name="connsiteY137" fmla="*/ 275550 h 1520187"/>
                    <a:gd name="connsiteX138" fmla="*/ 376362 w 1984332"/>
                    <a:gd name="connsiteY138" fmla="*/ 255388 h 1520187"/>
                    <a:gd name="connsiteX139" fmla="*/ 309154 w 1984332"/>
                    <a:gd name="connsiteY139" fmla="*/ 154577 h 1520187"/>
                    <a:gd name="connsiteX140" fmla="*/ 423407 w 1984332"/>
                    <a:gd name="connsiteY140" fmla="*/ 40324 h 1520187"/>
                    <a:gd name="connsiteX141" fmla="*/ 504056 w 1984332"/>
                    <a:gd name="connsiteY141" fmla="*/ 73928 h 1520187"/>
                    <a:gd name="connsiteX142" fmla="*/ 537660 w 1984332"/>
                    <a:gd name="connsiteY142" fmla="*/ 154577 h 1520187"/>
                    <a:gd name="connsiteX143" fmla="*/ 470452 w 1984332"/>
                    <a:gd name="connsiteY143" fmla="*/ 262109 h 1520187"/>
                    <a:gd name="connsiteX144" fmla="*/ 457011 w 1984332"/>
                    <a:gd name="connsiteY144" fmla="*/ 282271 h 1520187"/>
                    <a:gd name="connsiteX145" fmla="*/ 457011 w 1984332"/>
                    <a:gd name="connsiteY145" fmla="*/ 362919 h 1520187"/>
                    <a:gd name="connsiteX146" fmla="*/ 477173 w 1984332"/>
                    <a:gd name="connsiteY146" fmla="*/ 383082 h 1520187"/>
                    <a:gd name="connsiteX147" fmla="*/ 477173 w 1984332"/>
                    <a:gd name="connsiteY147" fmla="*/ 383082 h 1520187"/>
                    <a:gd name="connsiteX148" fmla="*/ 806490 w 1984332"/>
                    <a:gd name="connsiteY148" fmla="*/ 383082 h 1520187"/>
                    <a:gd name="connsiteX149" fmla="*/ 806490 w 1984332"/>
                    <a:gd name="connsiteY149" fmla="*/ 631749 h 1520187"/>
                    <a:gd name="connsiteX150" fmla="*/ 806490 w 1984332"/>
                    <a:gd name="connsiteY150" fmla="*/ 685515 h 1520187"/>
                    <a:gd name="connsiteX151" fmla="*/ 766165 w 1984332"/>
                    <a:gd name="connsiteY151" fmla="*/ 685515 h 1520187"/>
                    <a:gd name="connsiteX152" fmla="*/ 631750 w 1984332"/>
                    <a:gd name="connsiteY152" fmla="*/ 604866 h 1520187"/>
                    <a:gd name="connsiteX153" fmla="*/ 631750 w 1984332"/>
                    <a:gd name="connsiteY153" fmla="*/ 604866 h 1520187"/>
                    <a:gd name="connsiteX154" fmla="*/ 517497 w 1984332"/>
                    <a:gd name="connsiteY154" fmla="*/ 651911 h 1520187"/>
                    <a:gd name="connsiteX155" fmla="*/ 470452 w 1984332"/>
                    <a:gd name="connsiteY155" fmla="*/ 759443 h 1520187"/>
                    <a:gd name="connsiteX156" fmla="*/ 517497 w 1984332"/>
                    <a:gd name="connsiteY156" fmla="*/ 866974 h 1520187"/>
                    <a:gd name="connsiteX157" fmla="*/ 625029 w 1984332"/>
                    <a:gd name="connsiteY157" fmla="*/ 914019 h 1520187"/>
                    <a:gd name="connsiteX158" fmla="*/ 625029 w 1984332"/>
                    <a:gd name="connsiteY158" fmla="*/ 914019 h 1520187"/>
                    <a:gd name="connsiteX159" fmla="*/ 766165 w 1984332"/>
                    <a:gd name="connsiteY159" fmla="*/ 826650 h 1520187"/>
                    <a:gd name="connsiteX160" fmla="*/ 799769 w 1984332"/>
                    <a:gd name="connsiteY160" fmla="*/ 826650 h 1520187"/>
                    <a:gd name="connsiteX161" fmla="*/ 799769 w 1984332"/>
                    <a:gd name="connsiteY161" fmla="*/ 1135803 h 1520187"/>
                    <a:gd name="connsiteX162" fmla="*/ 483894 w 1984332"/>
                    <a:gd name="connsiteY162" fmla="*/ 1142524 h 1520187"/>
                    <a:gd name="connsiteX163" fmla="*/ 1915413 w 1984332"/>
                    <a:gd name="connsiteY163" fmla="*/ 840091 h 1520187"/>
                    <a:gd name="connsiteX164" fmla="*/ 1834764 w 1984332"/>
                    <a:gd name="connsiteY164" fmla="*/ 873695 h 1520187"/>
                    <a:gd name="connsiteX165" fmla="*/ 1834764 w 1984332"/>
                    <a:gd name="connsiteY165" fmla="*/ 873695 h 1520187"/>
                    <a:gd name="connsiteX166" fmla="*/ 1733953 w 1984332"/>
                    <a:gd name="connsiteY166" fmla="*/ 806488 h 1520187"/>
                    <a:gd name="connsiteX167" fmla="*/ 1713790 w 1984332"/>
                    <a:gd name="connsiteY167" fmla="*/ 793046 h 1520187"/>
                    <a:gd name="connsiteX168" fmla="*/ 1713790 w 1984332"/>
                    <a:gd name="connsiteY168" fmla="*/ 793046 h 1520187"/>
                    <a:gd name="connsiteX169" fmla="*/ 1633141 w 1984332"/>
                    <a:gd name="connsiteY169" fmla="*/ 793046 h 1520187"/>
                    <a:gd name="connsiteX170" fmla="*/ 1612979 w 1984332"/>
                    <a:gd name="connsiteY170" fmla="*/ 813208 h 1520187"/>
                    <a:gd name="connsiteX171" fmla="*/ 1612979 w 1984332"/>
                    <a:gd name="connsiteY171" fmla="*/ 1142524 h 1520187"/>
                    <a:gd name="connsiteX172" fmla="*/ 1310546 w 1984332"/>
                    <a:gd name="connsiteY172" fmla="*/ 1142524 h 1520187"/>
                    <a:gd name="connsiteX173" fmla="*/ 1310546 w 1984332"/>
                    <a:gd name="connsiteY173" fmla="*/ 1102200 h 1520187"/>
                    <a:gd name="connsiteX174" fmla="*/ 1384474 w 1984332"/>
                    <a:gd name="connsiteY174" fmla="*/ 967785 h 1520187"/>
                    <a:gd name="connsiteX175" fmla="*/ 1337429 w 1984332"/>
                    <a:gd name="connsiteY175" fmla="*/ 860254 h 1520187"/>
                    <a:gd name="connsiteX176" fmla="*/ 1229897 w 1984332"/>
                    <a:gd name="connsiteY176" fmla="*/ 813208 h 1520187"/>
                    <a:gd name="connsiteX177" fmla="*/ 1229897 w 1984332"/>
                    <a:gd name="connsiteY177" fmla="*/ 813208 h 1520187"/>
                    <a:gd name="connsiteX178" fmla="*/ 1122365 w 1984332"/>
                    <a:gd name="connsiteY178" fmla="*/ 860254 h 1520187"/>
                    <a:gd name="connsiteX179" fmla="*/ 1075320 w 1984332"/>
                    <a:gd name="connsiteY179" fmla="*/ 967785 h 1520187"/>
                    <a:gd name="connsiteX180" fmla="*/ 1162689 w 1984332"/>
                    <a:gd name="connsiteY180" fmla="*/ 1108921 h 1520187"/>
                    <a:gd name="connsiteX181" fmla="*/ 1162689 w 1984332"/>
                    <a:gd name="connsiteY181" fmla="*/ 1142524 h 1520187"/>
                    <a:gd name="connsiteX182" fmla="*/ 853535 w 1984332"/>
                    <a:gd name="connsiteY182" fmla="*/ 1142524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19929 h 1520187"/>
                    <a:gd name="connsiteX185" fmla="*/ 853535 w 1984332"/>
                    <a:gd name="connsiteY185" fmla="*/ 806488 h 1520187"/>
                    <a:gd name="connsiteX186" fmla="*/ 846814 w 1984332"/>
                    <a:gd name="connsiteY186" fmla="*/ 793046 h 1520187"/>
                    <a:gd name="connsiteX187" fmla="*/ 833373 w 1984332"/>
                    <a:gd name="connsiteY187" fmla="*/ 786325 h 1520187"/>
                    <a:gd name="connsiteX188" fmla="*/ 833373 w 1984332"/>
                    <a:gd name="connsiteY188" fmla="*/ 786325 h 1520187"/>
                    <a:gd name="connsiteX189" fmla="*/ 759444 w 1984332"/>
                    <a:gd name="connsiteY189" fmla="*/ 786325 h 1520187"/>
                    <a:gd name="connsiteX190" fmla="*/ 739282 w 1984332"/>
                    <a:gd name="connsiteY190" fmla="*/ 799767 h 1520187"/>
                    <a:gd name="connsiteX191" fmla="*/ 631750 w 1984332"/>
                    <a:gd name="connsiteY191" fmla="*/ 873695 h 1520187"/>
                    <a:gd name="connsiteX192" fmla="*/ 631750 w 1984332"/>
                    <a:gd name="connsiteY192" fmla="*/ 873695 h 1520187"/>
                    <a:gd name="connsiteX193" fmla="*/ 551101 w 1984332"/>
                    <a:gd name="connsiteY193" fmla="*/ 840091 h 1520187"/>
                    <a:gd name="connsiteX194" fmla="*/ 517497 w 1984332"/>
                    <a:gd name="connsiteY194" fmla="*/ 759443 h 1520187"/>
                    <a:gd name="connsiteX195" fmla="*/ 551101 w 1984332"/>
                    <a:gd name="connsiteY195" fmla="*/ 678794 h 1520187"/>
                    <a:gd name="connsiteX196" fmla="*/ 631750 w 1984332"/>
                    <a:gd name="connsiteY196" fmla="*/ 645190 h 1520187"/>
                    <a:gd name="connsiteX197" fmla="*/ 631750 w 1984332"/>
                    <a:gd name="connsiteY197" fmla="*/ 645190 h 1520187"/>
                    <a:gd name="connsiteX198" fmla="*/ 732561 w 1984332"/>
                    <a:gd name="connsiteY198" fmla="*/ 712397 h 1520187"/>
                    <a:gd name="connsiteX199" fmla="*/ 752724 w 1984332"/>
                    <a:gd name="connsiteY199" fmla="*/ 725839 h 1520187"/>
                    <a:gd name="connsiteX200" fmla="*/ 752724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26652 w 1984332"/>
                    <a:gd name="connsiteY202" fmla="*/ 725839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0093 w 1984332"/>
                    <a:gd name="connsiteY205" fmla="*/ 719118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705677 h 1520187"/>
                    <a:gd name="connsiteX210" fmla="*/ 846814 w 1984332"/>
                    <a:gd name="connsiteY210" fmla="*/ 383082 h 1520187"/>
                    <a:gd name="connsiteX211" fmla="*/ 1155969 w 1984332"/>
                    <a:gd name="connsiteY211" fmla="*/ 383082 h 1520187"/>
                    <a:gd name="connsiteX212" fmla="*/ 1155969 w 1984332"/>
                    <a:gd name="connsiteY212" fmla="*/ 423406 h 1520187"/>
                    <a:gd name="connsiteX213" fmla="*/ 1075320 w 1984332"/>
                    <a:gd name="connsiteY213" fmla="*/ 557821 h 1520187"/>
                    <a:gd name="connsiteX214" fmla="*/ 1229897 w 1984332"/>
                    <a:gd name="connsiteY214" fmla="*/ 712397 h 1520187"/>
                    <a:gd name="connsiteX215" fmla="*/ 1229897 w 1984332"/>
                    <a:gd name="connsiteY215" fmla="*/ 712397 h 1520187"/>
                    <a:gd name="connsiteX216" fmla="*/ 1346954 w 1984332"/>
                    <a:gd name="connsiteY216" fmla="*/ 670115 h 1520187"/>
                    <a:gd name="connsiteX217" fmla="*/ 1396380 w 1984332"/>
                    <a:gd name="connsiteY217" fmla="*/ 553058 h 1520187"/>
                    <a:gd name="connsiteX218" fmla="*/ 1310546 w 1984332"/>
                    <a:gd name="connsiteY218" fmla="*/ 423406 h 1520187"/>
                    <a:gd name="connsiteX219" fmla="*/ 1310546 w 1984332"/>
                    <a:gd name="connsiteY219" fmla="*/ 376361 h 1520187"/>
                    <a:gd name="connsiteX220" fmla="*/ 1612979 w 1984332"/>
                    <a:gd name="connsiteY220" fmla="*/ 376361 h 1520187"/>
                    <a:gd name="connsiteX221" fmla="*/ 1612979 w 1984332"/>
                    <a:gd name="connsiteY221" fmla="*/ 705677 h 1520187"/>
                    <a:gd name="connsiteX222" fmla="*/ 1633141 w 1984332"/>
                    <a:gd name="connsiteY222" fmla="*/ 725839 h 1520187"/>
                    <a:gd name="connsiteX223" fmla="*/ 1633141 w 1984332"/>
                    <a:gd name="connsiteY223" fmla="*/ 725839 h 1520187"/>
                    <a:gd name="connsiteX224" fmla="*/ 1713790 w 1984332"/>
                    <a:gd name="connsiteY224" fmla="*/ 725839 h 1520187"/>
                    <a:gd name="connsiteX225" fmla="*/ 1733953 w 1984332"/>
                    <a:gd name="connsiteY225" fmla="*/ 712397 h 1520187"/>
                    <a:gd name="connsiteX226" fmla="*/ 1834764 w 1984332"/>
                    <a:gd name="connsiteY226" fmla="*/ 645190 h 1520187"/>
                    <a:gd name="connsiteX227" fmla="*/ 1834764 w 1984332"/>
                    <a:gd name="connsiteY227" fmla="*/ 645190 h 1520187"/>
                    <a:gd name="connsiteX228" fmla="*/ 1915413 w 1984332"/>
                    <a:gd name="connsiteY228" fmla="*/ 678794 h 1520187"/>
                    <a:gd name="connsiteX229" fmla="*/ 1949017 w 1984332"/>
                    <a:gd name="connsiteY229" fmla="*/ 759443 h 1520187"/>
                    <a:gd name="connsiteX230" fmla="*/ 1915413 w 1984332"/>
                    <a:gd name="connsiteY230" fmla="*/ 840091 h 1520187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83663 w 1984332"/>
                    <a:gd name="connsiteY13" fmla="*/ 423406 h 1520187"/>
                    <a:gd name="connsiteX14" fmla="*/ 1297104 w 1984332"/>
                    <a:gd name="connsiteY14" fmla="*/ 450289 h 1520187"/>
                    <a:gd name="connsiteX15" fmla="*/ 1364312 w 1984332"/>
                    <a:gd name="connsiteY15" fmla="*/ 551100 h 1520187"/>
                    <a:gd name="connsiteX16" fmla="*/ 1330708 w 1984332"/>
                    <a:gd name="connsiteY16" fmla="*/ 631749 h 1520187"/>
                    <a:gd name="connsiteX17" fmla="*/ 1250059 w 1984332"/>
                    <a:gd name="connsiteY17" fmla="*/ 665352 h 1520187"/>
                    <a:gd name="connsiteX18" fmla="*/ 1135806 w 1984332"/>
                    <a:gd name="connsiteY18" fmla="*/ 551100 h 1520187"/>
                    <a:gd name="connsiteX19" fmla="*/ 1209734 w 1984332"/>
                    <a:gd name="connsiteY19" fmla="*/ 443568 h 1520187"/>
                    <a:gd name="connsiteX20" fmla="*/ 1223176 w 1984332"/>
                    <a:gd name="connsiteY20" fmla="*/ 423406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223176 w 1984332"/>
                    <a:gd name="connsiteY23" fmla="*/ 349478 h 1520187"/>
                    <a:gd name="connsiteX24" fmla="*/ 1182852 w 1984332"/>
                    <a:gd name="connsiteY24" fmla="*/ 336037 h 1520187"/>
                    <a:gd name="connsiteX25" fmla="*/ 11828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826652 w 1984332"/>
                    <a:gd name="connsiteY28" fmla="*/ 336037 h 1520187"/>
                    <a:gd name="connsiteX29" fmla="*/ 497335 w 1984332"/>
                    <a:gd name="connsiteY29" fmla="*/ 336037 h 1520187"/>
                    <a:gd name="connsiteX30" fmla="*/ 497335 w 1984332"/>
                    <a:gd name="connsiteY30" fmla="*/ 295712 h 1520187"/>
                    <a:gd name="connsiteX31" fmla="*/ 584705 w 1984332"/>
                    <a:gd name="connsiteY31" fmla="*/ 154577 h 1520187"/>
                    <a:gd name="connsiteX32" fmla="*/ 537660 w 1984332"/>
                    <a:gd name="connsiteY32" fmla="*/ 47045 h 1520187"/>
                    <a:gd name="connsiteX33" fmla="*/ 423407 w 1984332"/>
                    <a:gd name="connsiteY33" fmla="*/ 0 h 1520187"/>
                    <a:gd name="connsiteX34" fmla="*/ 423407 w 1984332"/>
                    <a:gd name="connsiteY34" fmla="*/ 0 h 1520187"/>
                    <a:gd name="connsiteX35" fmla="*/ 268830 w 1984332"/>
                    <a:gd name="connsiteY35" fmla="*/ 154577 h 1520187"/>
                    <a:gd name="connsiteX36" fmla="*/ 349479 w 1984332"/>
                    <a:gd name="connsiteY36" fmla="*/ 288991 h 1520187"/>
                    <a:gd name="connsiteX37" fmla="*/ 349479 w 1984332"/>
                    <a:gd name="connsiteY37" fmla="*/ 329316 h 1520187"/>
                    <a:gd name="connsiteX38" fmla="*/ 20162 w 1984332"/>
                    <a:gd name="connsiteY38" fmla="*/ 336037 h 1520187"/>
                    <a:gd name="connsiteX39" fmla="*/ 0 w 1984332"/>
                    <a:gd name="connsiteY39" fmla="*/ 356199 h 1520187"/>
                    <a:gd name="connsiteX40" fmla="*/ 0 w 1984332"/>
                    <a:gd name="connsiteY40" fmla="*/ 698956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20162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94090 w 1984332"/>
                    <a:gd name="connsiteY46" fmla="*/ 719118 h 1520187"/>
                    <a:gd name="connsiteX47" fmla="*/ 120973 w 1984332"/>
                    <a:gd name="connsiteY47" fmla="*/ 705677 h 1520187"/>
                    <a:gd name="connsiteX48" fmla="*/ 221785 w 1984332"/>
                    <a:gd name="connsiteY48" fmla="*/ 638469 h 1520187"/>
                    <a:gd name="connsiteX49" fmla="*/ 221785 w 1984332"/>
                    <a:gd name="connsiteY49" fmla="*/ 638469 h 1520187"/>
                    <a:gd name="connsiteX50" fmla="*/ 336037 w 1984332"/>
                    <a:gd name="connsiteY50" fmla="*/ 752722 h 1520187"/>
                    <a:gd name="connsiteX51" fmla="*/ 221785 w 1984332"/>
                    <a:gd name="connsiteY51" fmla="*/ 873695 h 1520187"/>
                    <a:gd name="connsiteX52" fmla="*/ 221785 w 1984332"/>
                    <a:gd name="connsiteY52" fmla="*/ 873695 h 1520187"/>
                    <a:gd name="connsiteX53" fmla="*/ 114253 w 1984332"/>
                    <a:gd name="connsiteY53" fmla="*/ 799767 h 1520187"/>
                    <a:gd name="connsiteX54" fmla="*/ 94090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20162 w 1984332"/>
                    <a:gd name="connsiteY59" fmla="*/ 786325 h 1520187"/>
                    <a:gd name="connsiteX60" fmla="*/ 0 w 1984332"/>
                    <a:gd name="connsiteY60" fmla="*/ 806488 h 1520187"/>
                    <a:gd name="connsiteX61" fmla="*/ 0 w 1984332"/>
                    <a:gd name="connsiteY61" fmla="*/ 1162686 h 1520187"/>
                    <a:gd name="connsiteX62" fmla="*/ 20162 w 1984332"/>
                    <a:gd name="connsiteY62" fmla="*/ 1182849 h 1520187"/>
                    <a:gd name="connsiteX63" fmla="*/ 20162 w 1984332"/>
                    <a:gd name="connsiteY63" fmla="*/ 1182849 h 1520187"/>
                    <a:gd name="connsiteX64" fmla="*/ 356200 w 1984332"/>
                    <a:gd name="connsiteY64" fmla="*/ 1182849 h 1520187"/>
                    <a:gd name="connsiteX65" fmla="*/ 356200 w 1984332"/>
                    <a:gd name="connsiteY65" fmla="*/ 1223173 h 1520187"/>
                    <a:gd name="connsiteX66" fmla="*/ 268830 w 1984332"/>
                    <a:gd name="connsiteY66" fmla="*/ 1364308 h 1520187"/>
                    <a:gd name="connsiteX67" fmla="*/ 315875 w 1984332"/>
                    <a:gd name="connsiteY67" fmla="*/ 1471840 h 1520187"/>
                    <a:gd name="connsiteX68" fmla="*/ 423407 w 1984332"/>
                    <a:gd name="connsiteY68" fmla="*/ 1518885 h 1520187"/>
                    <a:gd name="connsiteX69" fmla="*/ 423407 w 1984332"/>
                    <a:gd name="connsiteY69" fmla="*/ 1518885 h 1520187"/>
                    <a:gd name="connsiteX70" fmla="*/ 537660 w 1984332"/>
                    <a:gd name="connsiteY70" fmla="*/ 1478561 h 1520187"/>
                    <a:gd name="connsiteX71" fmla="*/ 584705 w 1984332"/>
                    <a:gd name="connsiteY71" fmla="*/ 1371029 h 1520187"/>
                    <a:gd name="connsiteX72" fmla="*/ 510777 w 1984332"/>
                    <a:gd name="connsiteY72" fmla="*/ 1236614 h 1520187"/>
                    <a:gd name="connsiteX73" fmla="*/ 510777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833373 w 1984332"/>
                    <a:gd name="connsiteY76" fmla="*/ 1189569 h 1520187"/>
                    <a:gd name="connsiteX77" fmla="*/ 1189572 w 1984332"/>
                    <a:gd name="connsiteY77" fmla="*/ 1189569 h 1520187"/>
                    <a:gd name="connsiteX78" fmla="*/ 1203014 w 1984332"/>
                    <a:gd name="connsiteY78" fmla="*/ 1182849 h 1520187"/>
                    <a:gd name="connsiteX79" fmla="*/ 1209734 w 1984332"/>
                    <a:gd name="connsiteY79" fmla="*/ 1169407 h 1520187"/>
                    <a:gd name="connsiteX80" fmla="*/ 1209734 w 1984332"/>
                    <a:gd name="connsiteY80" fmla="*/ 1095479 h 1520187"/>
                    <a:gd name="connsiteX81" fmla="*/ 1196293 w 1984332"/>
                    <a:gd name="connsiteY81" fmla="*/ 1075317 h 1520187"/>
                    <a:gd name="connsiteX82" fmla="*/ 1122365 w 1984332"/>
                    <a:gd name="connsiteY82" fmla="*/ 967785 h 1520187"/>
                    <a:gd name="connsiteX83" fmla="*/ 1155969 w 1984332"/>
                    <a:gd name="connsiteY83" fmla="*/ 887136 h 1520187"/>
                    <a:gd name="connsiteX84" fmla="*/ 1236617 w 1984332"/>
                    <a:gd name="connsiteY84" fmla="*/ 853533 h 1520187"/>
                    <a:gd name="connsiteX85" fmla="*/ 1236617 w 1984332"/>
                    <a:gd name="connsiteY85" fmla="*/ 853533 h 1520187"/>
                    <a:gd name="connsiteX86" fmla="*/ 1317266 w 1984332"/>
                    <a:gd name="connsiteY86" fmla="*/ 887136 h 1520187"/>
                    <a:gd name="connsiteX87" fmla="*/ 1350870 w 1984332"/>
                    <a:gd name="connsiteY87" fmla="*/ 967785 h 1520187"/>
                    <a:gd name="connsiteX88" fmla="*/ 1283663 w 1984332"/>
                    <a:gd name="connsiteY88" fmla="*/ 1068596 h 1520187"/>
                    <a:gd name="connsiteX89" fmla="*/ 1270221 w 1984332"/>
                    <a:gd name="connsiteY89" fmla="*/ 1088758 h 1520187"/>
                    <a:gd name="connsiteX90" fmla="*/ 1270221 w 1984332"/>
                    <a:gd name="connsiteY90" fmla="*/ 1162686 h 1520187"/>
                    <a:gd name="connsiteX91" fmla="*/ 1276942 w 1984332"/>
                    <a:gd name="connsiteY91" fmla="*/ 1176128 h 1520187"/>
                    <a:gd name="connsiteX92" fmla="*/ 1290383 w 1984332"/>
                    <a:gd name="connsiteY92" fmla="*/ 1182849 h 1520187"/>
                    <a:gd name="connsiteX93" fmla="*/ 1290383 w 1984332"/>
                    <a:gd name="connsiteY93" fmla="*/ 1182849 h 1520187"/>
                    <a:gd name="connsiteX94" fmla="*/ 1633141 w 1984332"/>
                    <a:gd name="connsiteY94" fmla="*/ 1182849 h 1520187"/>
                    <a:gd name="connsiteX95" fmla="*/ 1653304 w 1984332"/>
                    <a:gd name="connsiteY95" fmla="*/ 1162686 h 1520187"/>
                    <a:gd name="connsiteX96" fmla="*/ 1653304 w 1984332"/>
                    <a:gd name="connsiteY96" fmla="*/ 833371 h 1520187"/>
                    <a:gd name="connsiteX97" fmla="*/ 1693628 w 1984332"/>
                    <a:gd name="connsiteY97" fmla="*/ 833371 h 1520187"/>
                    <a:gd name="connsiteX98" fmla="*/ 1828043 w 1984332"/>
                    <a:gd name="connsiteY98" fmla="*/ 914019 h 1520187"/>
                    <a:gd name="connsiteX99" fmla="*/ 1828043 w 1984332"/>
                    <a:gd name="connsiteY99" fmla="*/ 914019 h 1520187"/>
                    <a:gd name="connsiteX100" fmla="*/ 1935575 w 1984332"/>
                    <a:gd name="connsiteY100" fmla="*/ 866974 h 1520187"/>
                    <a:gd name="connsiteX101" fmla="*/ 1982620 w 1984332"/>
                    <a:gd name="connsiteY101" fmla="*/ 759443 h 1520187"/>
                    <a:gd name="connsiteX102" fmla="*/ 1949017 w 1984332"/>
                    <a:gd name="connsiteY102" fmla="*/ 645190 h 1520187"/>
                    <a:gd name="connsiteX103" fmla="*/ 483894 w 1984332"/>
                    <a:gd name="connsiteY103" fmla="*/ 1142524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162686 h 1520187"/>
                    <a:gd name="connsiteX107" fmla="*/ 463732 w 1984332"/>
                    <a:gd name="connsiteY107" fmla="*/ 1236614 h 1520187"/>
                    <a:gd name="connsiteX108" fmla="*/ 463732 w 1984332"/>
                    <a:gd name="connsiteY108" fmla="*/ 1236614 h 1520187"/>
                    <a:gd name="connsiteX109" fmla="*/ 477173 w 1984332"/>
                    <a:gd name="connsiteY109" fmla="*/ 1263497 h 1520187"/>
                    <a:gd name="connsiteX110" fmla="*/ 544381 w 1984332"/>
                    <a:gd name="connsiteY110" fmla="*/ 1364308 h 1520187"/>
                    <a:gd name="connsiteX111" fmla="*/ 510777 w 1984332"/>
                    <a:gd name="connsiteY111" fmla="*/ 1444957 h 1520187"/>
                    <a:gd name="connsiteX112" fmla="*/ 423407 w 1984332"/>
                    <a:gd name="connsiteY112" fmla="*/ 1478561 h 1520187"/>
                    <a:gd name="connsiteX113" fmla="*/ 423407 w 1984332"/>
                    <a:gd name="connsiteY113" fmla="*/ 1478561 h 1520187"/>
                    <a:gd name="connsiteX114" fmla="*/ 342758 w 1984332"/>
                    <a:gd name="connsiteY114" fmla="*/ 1444957 h 1520187"/>
                    <a:gd name="connsiteX115" fmla="*/ 309154 w 1984332"/>
                    <a:gd name="connsiteY115" fmla="*/ 1364308 h 1520187"/>
                    <a:gd name="connsiteX116" fmla="*/ 383083 w 1984332"/>
                    <a:gd name="connsiteY116" fmla="*/ 1256777 h 1520187"/>
                    <a:gd name="connsiteX117" fmla="*/ 396524 w 1984332"/>
                    <a:gd name="connsiteY117" fmla="*/ 1236614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96524 w 1984332"/>
                    <a:gd name="connsiteY120" fmla="*/ 1162686 h 1520187"/>
                    <a:gd name="connsiteX121" fmla="*/ 376362 w 1984332"/>
                    <a:gd name="connsiteY121" fmla="*/ 1142524 h 1520187"/>
                    <a:gd name="connsiteX122" fmla="*/ 376362 w 1984332"/>
                    <a:gd name="connsiteY122" fmla="*/ 1142524 h 1520187"/>
                    <a:gd name="connsiteX123" fmla="*/ 40324 w 1984332"/>
                    <a:gd name="connsiteY123" fmla="*/ 1142524 h 1520187"/>
                    <a:gd name="connsiteX124" fmla="*/ 40324 w 1984332"/>
                    <a:gd name="connsiteY124" fmla="*/ 833371 h 1520187"/>
                    <a:gd name="connsiteX125" fmla="*/ 80649 w 1984332"/>
                    <a:gd name="connsiteY125" fmla="*/ 833371 h 1520187"/>
                    <a:gd name="connsiteX126" fmla="*/ 221785 w 1984332"/>
                    <a:gd name="connsiteY126" fmla="*/ 920740 h 1520187"/>
                    <a:gd name="connsiteX127" fmla="*/ 221785 w 1984332"/>
                    <a:gd name="connsiteY127" fmla="*/ 920740 h 1520187"/>
                    <a:gd name="connsiteX128" fmla="*/ 376362 w 1984332"/>
                    <a:gd name="connsiteY128" fmla="*/ 766163 h 1520187"/>
                    <a:gd name="connsiteX129" fmla="*/ 221785 w 1984332"/>
                    <a:gd name="connsiteY129" fmla="*/ 604866 h 1520187"/>
                    <a:gd name="connsiteX130" fmla="*/ 221785 w 1984332"/>
                    <a:gd name="connsiteY130" fmla="*/ 604866 h 1520187"/>
                    <a:gd name="connsiteX131" fmla="*/ 87370 w 1984332"/>
                    <a:gd name="connsiteY131" fmla="*/ 678794 h 1520187"/>
                    <a:gd name="connsiteX132" fmla="*/ 40324 w 1984332"/>
                    <a:gd name="connsiteY132" fmla="*/ 678794 h 1520187"/>
                    <a:gd name="connsiteX133" fmla="*/ 40324 w 1984332"/>
                    <a:gd name="connsiteY133" fmla="*/ 376361 h 1520187"/>
                    <a:gd name="connsiteX134" fmla="*/ 369641 w 1984332"/>
                    <a:gd name="connsiteY134" fmla="*/ 376361 h 1520187"/>
                    <a:gd name="connsiteX135" fmla="*/ 383083 w 1984332"/>
                    <a:gd name="connsiteY135" fmla="*/ 369640 h 1520187"/>
                    <a:gd name="connsiteX136" fmla="*/ 389803 w 1984332"/>
                    <a:gd name="connsiteY136" fmla="*/ 356199 h 1520187"/>
                    <a:gd name="connsiteX137" fmla="*/ 389803 w 1984332"/>
                    <a:gd name="connsiteY137" fmla="*/ 275550 h 1520187"/>
                    <a:gd name="connsiteX138" fmla="*/ 376362 w 1984332"/>
                    <a:gd name="connsiteY138" fmla="*/ 255388 h 1520187"/>
                    <a:gd name="connsiteX139" fmla="*/ 309154 w 1984332"/>
                    <a:gd name="connsiteY139" fmla="*/ 154577 h 1520187"/>
                    <a:gd name="connsiteX140" fmla="*/ 423407 w 1984332"/>
                    <a:gd name="connsiteY140" fmla="*/ 40324 h 1520187"/>
                    <a:gd name="connsiteX141" fmla="*/ 504056 w 1984332"/>
                    <a:gd name="connsiteY141" fmla="*/ 73928 h 1520187"/>
                    <a:gd name="connsiteX142" fmla="*/ 537660 w 1984332"/>
                    <a:gd name="connsiteY142" fmla="*/ 154577 h 1520187"/>
                    <a:gd name="connsiteX143" fmla="*/ 470452 w 1984332"/>
                    <a:gd name="connsiteY143" fmla="*/ 262109 h 1520187"/>
                    <a:gd name="connsiteX144" fmla="*/ 457011 w 1984332"/>
                    <a:gd name="connsiteY144" fmla="*/ 282271 h 1520187"/>
                    <a:gd name="connsiteX145" fmla="*/ 457011 w 1984332"/>
                    <a:gd name="connsiteY145" fmla="*/ 362919 h 1520187"/>
                    <a:gd name="connsiteX146" fmla="*/ 477173 w 1984332"/>
                    <a:gd name="connsiteY146" fmla="*/ 383082 h 1520187"/>
                    <a:gd name="connsiteX147" fmla="*/ 477173 w 1984332"/>
                    <a:gd name="connsiteY147" fmla="*/ 383082 h 1520187"/>
                    <a:gd name="connsiteX148" fmla="*/ 806490 w 1984332"/>
                    <a:gd name="connsiteY148" fmla="*/ 383082 h 1520187"/>
                    <a:gd name="connsiteX149" fmla="*/ 806490 w 1984332"/>
                    <a:gd name="connsiteY149" fmla="*/ 631749 h 1520187"/>
                    <a:gd name="connsiteX150" fmla="*/ 806490 w 1984332"/>
                    <a:gd name="connsiteY150" fmla="*/ 685515 h 1520187"/>
                    <a:gd name="connsiteX151" fmla="*/ 766165 w 1984332"/>
                    <a:gd name="connsiteY151" fmla="*/ 685515 h 1520187"/>
                    <a:gd name="connsiteX152" fmla="*/ 631750 w 1984332"/>
                    <a:gd name="connsiteY152" fmla="*/ 604866 h 1520187"/>
                    <a:gd name="connsiteX153" fmla="*/ 631750 w 1984332"/>
                    <a:gd name="connsiteY153" fmla="*/ 604866 h 1520187"/>
                    <a:gd name="connsiteX154" fmla="*/ 517497 w 1984332"/>
                    <a:gd name="connsiteY154" fmla="*/ 651911 h 1520187"/>
                    <a:gd name="connsiteX155" fmla="*/ 470452 w 1984332"/>
                    <a:gd name="connsiteY155" fmla="*/ 759443 h 1520187"/>
                    <a:gd name="connsiteX156" fmla="*/ 517497 w 1984332"/>
                    <a:gd name="connsiteY156" fmla="*/ 866974 h 1520187"/>
                    <a:gd name="connsiteX157" fmla="*/ 625029 w 1984332"/>
                    <a:gd name="connsiteY157" fmla="*/ 914019 h 1520187"/>
                    <a:gd name="connsiteX158" fmla="*/ 625029 w 1984332"/>
                    <a:gd name="connsiteY158" fmla="*/ 914019 h 1520187"/>
                    <a:gd name="connsiteX159" fmla="*/ 766165 w 1984332"/>
                    <a:gd name="connsiteY159" fmla="*/ 826650 h 1520187"/>
                    <a:gd name="connsiteX160" fmla="*/ 799769 w 1984332"/>
                    <a:gd name="connsiteY160" fmla="*/ 826650 h 1520187"/>
                    <a:gd name="connsiteX161" fmla="*/ 799769 w 1984332"/>
                    <a:gd name="connsiteY161" fmla="*/ 1135803 h 1520187"/>
                    <a:gd name="connsiteX162" fmla="*/ 483894 w 1984332"/>
                    <a:gd name="connsiteY162" fmla="*/ 1142524 h 1520187"/>
                    <a:gd name="connsiteX163" fmla="*/ 1915413 w 1984332"/>
                    <a:gd name="connsiteY163" fmla="*/ 840091 h 1520187"/>
                    <a:gd name="connsiteX164" fmla="*/ 1834764 w 1984332"/>
                    <a:gd name="connsiteY164" fmla="*/ 873695 h 1520187"/>
                    <a:gd name="connsiteX165" fmla="*/ 1834764 w 1984332"/>
                    <a:gd name="connsiteY165" fmla="*/ 873695 h 1520187"/>
                    <a:gd name="connsiteX166" fmla="*/ 1733953 w 1984332"/>
                    <a:gd name="connsiteY166" fmla="*/ 806488 h 1520187"/>
                    <a:gd name="connsiteX167" fmla="*/ 1713790 w 1984332"/>
                    <a:gd name="connsiteY167" fmla="*/ 793046 h 1520187"/>
                    <a:gd name="connsiteX168" fmla="*/ 1713790 w 1984332"/>
                    <a:gd name="connsiteY168" fmla="*/ 793046 h 1520187"/>
                    <a:gd name="connsiteX169" fmla="*/ 1633141 w 1984332"/>
                    <a:gd name="connsiteY169" fmla="*/ 793046 h 1520187"/>
                    <a:gd name="connsiteX170" fmla="*/ 1612979 w 1984332"/>
                    <a:gd name="connsiteY170" fmla="*/ 813208 h 1520187"/>
                    <a:gd name="connsiteX171" fmla="*/ 1612979 w 1984332"/>
                    <a:gd name="connsiteY171" fmla="*/ 1142524 h 1520187"/>
                    <a:gd name="connsiteX172" fmla="*/ 1310546 w 1984332"/>
                    <a:gd name="connsiteY172" fmla="*/ 1142524 h 1520187"/>
                    <a:gd name="connsiteX173" fmla="*/ 1310546 w 1984332"/>
                    <a:gd name="connsiteY173" fmla="*/ 1102200 h 1520187"/>
                    <a:gd name="connsiteX174" fmla="*/ 1384474 w 1984332"/>
                    <a:gd name="connsiteY174" fmla="*/ 967785 h 1520187"/>
                    <a:gd name="connsiteX175" fmla="*/ 1337429 w 1984332"/>
                    <a:gd name="connsiteY175" fmla="*/ 860254 h 1520187"/>
                    <a:gd name="connsiteX176" fmla="*/ 1229897 w 1984332"/>
                    <a:gd name="connsiteY176" fmla="*/ 813208 h 1520187"/>
                    <a:gd name="connsiteX177" fmla="*/ 1229897 w 1984332"/>
                    <a:gd name="connsiteY177" fmla="*/ 813208 h 1520187"/>
                    <a:gd name="connsiteX178" fmla="*/ 1122365 w 1984332"/>
                    <a:gd name="connsiteY178" fmla="*/ 860254 h 1520187"/>
                    <a:gd name="connsiteX179" fmla="*/ 1075320 w 1984332"/>
                    <a:gd name="connsiteY179" fmla="*/ 967785 h 1520187"/>
                    <a:gd name="connsiteX180" fmla="*/ 1162689 w 1984332"/>
                    <a:gd name="connsiteY180" fmla="*/ 1108921 h 1520187"/>
                    <a:gd name="connsiteX181" fmla="*/ 1162689 w 1984332"/>
                    <a:gd name="connsiteY181" fmla="*/ 1142524 h 1520187"/>
                    <a:gd name="connsiteX182" fmla="*/ 853535 w 1984332"/>
                    <a:gd name="connsiteY182" fmla="*/ 1142524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19929 h 1520187"/>
                    <a:gd name="connsiteX185" fmla="*/ 853535 w 1984332"/>
                    <a:gd name="connsiteY185" fmla="*/ 806488 h 1520187"/>
                    <a:gd name="connsiteX186" fmla="*/ 846814 w 1984332"/>
                    <a:gd name="connsiteY186" fmla="*/ 793046 h 1520187"/>
                    <a:gd name="connsiteX187" fmla="*/ 833373 w 1984332"/>
                    <a:gd name="connsiteY187" fmla="*/ 786325 h 1520187"/>
                    <a:gd name="connsiteX188" fmla="*/ 833373 w 1984332"/>
                    <a:gd name="connsiteY188" fmla="*/ 786325 h 1520187"/>
                    <a:gd name="connsiteX189" fmla="*/ 759444 w 1984332"/>
                    <a:gd name="connsiteY189" fmla="*/ 786325 h 1520187"/>
                    <a:gd name="connsiteX190" fmla="*/ 739282 w 1984332"/>
                    <a:gd name="connsiteY190" fmla="*/ 799767 h 1520187"/>
                    <a:gd name="connsiteX191" fmla="*/ 631750 w 1984332"/>
                    <a:gd name="connsiteY191" fmla="*/ 873695 h 1520187"/>
                    <a:gd name="connsiteX192" fmla="*/ 631750 w 1984332"/>
                    <a:gd name="connsiteY192" fmla="*/ 873695 h 1520187"/>
                    <a:gd name="connsiteX193" fmla="*/ 551101 w 1984332"/>
                    <a:gd name="connsiteY193" fmla="*/ 840091 h 1520187"/>
                    <a:gd name="connsiteX194" fmla="*/ 517497 w 1984332"/>
                    <a:gd name="connsiteY194" fmla="*/ 759443 h 1520187"/>
                    <a:gd name="connsiteX195" fmla="*/ 551101 w 1984332"/>
                    <a:gd name="connsiteY195" fmla="*/ 678794 h 1520187"/>
                    <a:gd name="connsiteX196" fmla="*/ 631750 w 1984332"/>
                    <a:gd name="connsiteY196" fmla="*/ 645190 h 1520187"/>
                    <a:gd name="connsiteX197" fmla="*/ 631750 w 1984332"/>
                    <a:gd name="connsiteY197" fmla="*/ 645190 h 1520187"/>
                    <a:gd name="connsiteX198" fmla="*/ 732561 w 1984332"/>
                    <a:gd name="connsiteY198" fmla="*/ 712397 h 1520187"/>
                    <a:gd name="connsiteX199" fmla="*/ 752724 w 1984332"/>
                    <a:gd name="connsiteY199" fmla="*/ 725839 h 1520187"/>
                    <a:gd name="connsiteX200" fmla="*/ 752724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26652 w 1984332"/>
                    <a:gd name="connsiteY202" fmla="*/ 725839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0093 w 1984332"/>
                    <a:gd name="connsiteY205" fmla="*/ 719118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705677 h 1520187"/>
                    <a:gd name="connsiteX210" fmla="*/ 846814 w 1984332"/>
                    <a:gd name="connsiteY210" fmla="*/ 383082 h 1520187"/>
                    <a:gd name="connsiteX211" fmla="*/ 1155969 w 1984332"/>
                    <a:gd name="connsiteY211" fmla="*/ 383082 h 1520187"/>
                    <a:gd name="connsiteX212" fmla="*/ 1155969 w 1984332"/>
                    <a:gd name="connsiteY212" fmla="*/ 423406 h 1520187"/>
                    <a:gd name="connsiteX213" fmla="*/ 1075320 w 1984332"/>
                    <a:gd name="connsiteY213" fmla="*/ 557821 h 1520187"/>
                    <a:gd name="connsiteX214" fmla="*/ 1229897 w 1984332"/>
                    <a:gd name="connsiteY214" fmla="*/ 712397 h 1520187"/>
                    <a:gd name="connsiteX215" fmla="*/ 1229897 w 1984332"/>
                    <a:gd name="connsiteY215" fmla="*/ 712397 h 1520187"/>
                    <a:gd name="connsiteX216" fmla="*/ 1346954 w 1984332"/>
                    <a:gd name="connsiteY216" fmla="*/ 670115 h 1520187"/>
                    <a:gd name="connsiteX217" fmla="*/ 1396380 w 1984332"/>
                    <a:gd name="connsiteY217" fmla="*/ 553058 h 1520187"/>
                    <a:gd name="connsiteX218" fmla="*/ 1310546 w 1984332"/>
                    <a:gd name="connsiteY218" fmla="*/ 423406 h 1520187"/>
                    <a:gd name="connsiteX219" fmla="*/ 1310546 w 1984332"/>
                    <a:gd name="connsiteY219" fmla="*/ 376361 h 1520187"/>
                    <a:gd name="connsiteX220" fmla="*/ 1612979 w 1984332"/>
                    <a:gd name="connsiteY220" fmla="*/ 376361 h 1520187"/>
                    <a:gd name="connsiteX221" fmla="*/ 1612979 w 1984332"/>
                    <a:gd name="connsiteY221" fmla="*/ 705677 h 1520187"/>
                    <a:gd name="connsiteX222" fmla="*/ 1633141 w 1984332"/>
                    <a:gd name="connsiteY222" fmla="*/ 725839 h 1520187"/>
                    <a:gd name="connsiteX223" fmla="*/ 1633141 w 1984332"/>
                    <a:gd name="connsiteY223" fmla="*/ 725839 h 1520187"/>
                    <a:gd name="connsiteX224" fmla="*/ 1713790 w 1984332"/>
                    <a:gd name="connsiteY224" fmla="*/ 725839 h 1520187"/>
                    <a:gd name="connsiteX225" fmla="*/ 1733953 w 1984332"/>
                    <a:gd name="connsiteY225" fmla="*/ 712397 h 1520187"/>
                    <a:gd name="connsiteX226" fmla="*/ 1834764 w 1984332"/>
                    <a:gd name="connsiteY226" fmla="*/ 645190 h 1520187"/>
                    <a:gd name="connsiteX227" fmla="*/ 1834764 w 1984332"/>
                    <a:gd name="connsiteY227" fmla="*/ 645190 h 1520187"/>
                    <a:gd name="connsiteX228" fmla="*/ 1915413 w 1984332"/>
                    <a:gd name="connsiteY228" fmla="*/ 678794 h 1520187"/>
                    <a:gd name="connsiteX229" fmla="*/ 1949017 w 1984332"/>
                    <a:gd name="connsiteY229" fmla="*/ 759443 h 1520187"/>
                    <a:gd name="connsiteX230" fmla="*/ 1915413 w 1984332"/>
                    <a:gd name="connsiteY230" fmla="*/ 840091 h 1520187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83663 w 1984332"/>
                    <a:gd name="connsiteY13" fmla="*/ 423406 h 1520187"/>
                    <a:gd name="connsiteX14" fmla="*/ 1297104 w 1984332"/>
                    <a:gd name="connsiteY14" fmla="*/ 450289 h 1520187"/>
                    <a:gd name="connsiteX15" fmla="*/ 1364312 w 1984332"/>
                    <a:gd name="connsiteY15" fmla="*/ 551100 h 1520187"/>
                    <a:gd name="connsiteX16" fmla="*/ 1330708 w 1984332"/>
                    <a:gd name="connsiteY16" fmla="*/ 631749 h 1520187"/>
                    <a:gd name="connsiteX17" fmla="*/ 1250059 w 1984332"/>
                    <a:gd name="connsiteY17" fmla="*/ 665352 h 1520187"/>
                    <a:gd name="connsiteX18" fmla="*/ 1135806 w 1984332"/>
                    <a:gd name="connsiteY18" fmla="*/ 551100 h 1520187"/>
                    <a:gd name="connsiteX19" fmla="*/ 1209734 w 1984332"/>
                    <a:gd name="connsiteY19" fmla="*/ 443568 h 1520187"/>
                    <a:gd name="connsiteX20" fmla="*/ 1223176 w 1984332"/>
                    <a:gd name="connsiteY20" fmla="*/ 423406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223176 w 1984332"/>
                    <a:gd name="connsiteY23" fmla="*/ 349478 h 1520187"/>
                    <a:gd name="connsiteX24" fmla="*/ 1182852 w 1984332"/>
                    <a:gd name="connsiteY24" fmla="*/ 336037 h 1520187"/>
                    <a:gd name="connsiteX25" fmla="*/ 11828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826652 w 1984332"/>
                    <a:gd name="connsiteY28" fmla="*/ 336037 h 1520187"/>
                    <a:gd name="connsiteX29" fmla="*/ 497335 w 1984332"/>
                    <a:gd name="connsiteY29" fmla="*/ 336037 h 1520187"/>
                    <a:gd name="connsiteX30" fmla="*/ 497335 w 1984332"/>
                    <a:gd name="connsiteY30" fmla="*/ 295712 h 1520187"/>
                    <a:gd name="connsiteX31" fmla="*/ 584705 w 1984332"/>
                    <a:gd name="connsiteY31" fmla="*/ 154577 h 1520187"/>
                    <a:gd name="connsiteX32" fmla="*/ 537660 w 1984332"/>
                    <a:gd name="connsiteY32" fmla="*/ 47045 h 1520187"/>
                    <a:gd name="connsiteX33" fmla="*/ 423407 w 1984332"/>
                    <a:gd name="connsiteY33" fmla="*/ 0 h 1520187"/>
                    <a:gd name="connsiteX34" fmla="*/ 423407 w 1984332"/>
                    <a:gd name="connsiteY34" fmla="*/ 0 h 1520187"/>
                    <a:gd name="connsiteX35" fmla="*/ 268830 w 1984332"/>
                    <a:gd name="connsiteY35" fmla="*/ 154577 h 1520187"/>
                    <a:gd name="connsiteX36" fmla="*/ 349479 w 1984332"/>
                    <a:gd name="connsiteY36" fmla="*/ 288991 h 1520187"/>
                    <a:gd name="connsiteX37" fmla="*/ 349479 w 1984332"/>
                    <a:gd name="connsiteY37" fmla="*/ 329316 h 1520187"/>
                    <a:gd name="connsiteX38" fmla="*/ 20162 w 1984332"/>
                    <a:gd name="connsiteY38" fmla="*/ 336037 h 1520187"/>
                    <a:gd name="connsiteX39" fmla="*/ 0 w 1984332"/>
                    <a:gd name="connsiteY39" fmla="*/ 356199 h 1520187"/>
                    <a:gd name="connsiteX40" fmla="*/ 0 w 1984332"/>
                    <a:gd name="connsiteY40" fmla="*/ 698956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20162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94090 w 1984332"/>
                    <a:gd name="connsiteY46" fmla="*/ 719118 h 1520187"/>
                    <a:gd name="connsiteX47" fmla="*/ 120973 w 1984332"/>
                    <a:gd name="connsiteY47" fmla="*/ 705677 h 1520187"/>
                    <a:gd name="connsiteX48" fmla="*/ 221785 w 1984332"/>
                    <a:gd name="connsiteY48" fmla="*/ 638469 h 1520187"/>
                    <a:gd name="connsiteX49" fmla="*/ 221785 w 1984332"/>
                    <a:gd name="connsiteY49" fmla="*/ 638469 h 1520187"/>
                    <a:gd name="connsiteX50" fmla="*/ 336037 w 1984332"/>
                    <a:gd name="connsiteY50" fmla="*/ 752722 h 1520187"/>
                    <a:gd name="connsiteX51" fmla="*/ 221785 w 1984332"/>
                    <a:gd name="connsiteY51" fmla="*/ 873695 h 1520187"/>
                    <a:gd name="connsiteX52" fmla="*/ 221785 w 1984332"/>
                    <a:gd name="connsiteY52" fmla="*/ 873695 h 1520187"/>
                    <a:gd name="connsiteX53" fmla="*/ 114253 w 1984332"/>
                    <a:gd name="connsiteY53" fmla="*/ 799767 h 1520187"/>
                    <a:gd name="connsiteX54" fmla="*/ 94090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20162 w 1984332"/>
                    <a:gd name="connsiteY59" fmla="*/ 786325 h 1520187"/>
                    <a:gd name="connsiteX60" fmla="*/ 0 w 1984332"/>
                    <a:gd name="connsiteY60" fmla="*/ 806488 h 1520187"/>
                    <a:gd name="connsiteX61" fmla="*/ 0 w 1984332"/>
                    <a:gd name="connsiteY61" fmla="*/ 1162686 h 1520187"/>
                    <a:gd name="connsiteX62" fmla="*/ 20162 w 1984332"/>
                    <a:gd name="connsiteY62" fmla="*/ 1182849 h 1520187"/>
                    <a:gd name="connsiteX63" fmla="*/ 20162 w 1984332"/>
                    <a:gd name="connsiteY63" fmla="*/ 1182849 h 1520187"/>
                    <a:gd name="connsiteX64" fmla="*/ 356200 w 1984332"/>
                    <a:gd name="connsiteY64" fmla="*/ 1182849 h 1520187"/>
                    <a:gd name="connsiteX65" fmla="*/ 356200 w 1984332"/>
                    <a:gd name="connsiteY65" fmla="*/ 1223173 h 1520187"/>
                    <a:gd name="connsiteX66" fmla="*/ 268830 w 1984332"/>
                    <a:gd name="connsiteY66" fmla="*/ 1364308 h 1520187"/>
                    <a:gd name="connsiteX67" fmla="*/ 315875 w 1984332"/>
                    <a:gd name="connsiteY67" fmla="*/ 1471840 h 1520187"/>
                    <a:gd name="connsiteX68" fmla="*/ 423407 w 1984332"/>
                    <a:gd name="connsiteY68" fmla="*/ 1518885 h 1520187"/>
                    <a:gd name="connsiteX69" fmla="*/ 423407 w 1984332"/>
                    <a:gd name="connsiteY69" fmla="*/ 1518885 h 1520187"/>
                    <a:gd name="connsiteX70" fmla="*/ 537660 w 1984332"/>
                    <a:gd name="connsiteY70" fmla="*/ 1478561 h 1520187"/>
                    <a:gd name="connsiteX71" fmla="*/ 584705 w 1984332"/>
                    <a:gd name="connsiteY71" fmla="*/ 1371029 h 1520187"/>
                    <a:gd name="connsiteX72" fmla="*/ 510777 w 1984332"/>
                    <a:gd name="connsiteY72" fmla="*/ 1236614 h 1520187"/>
                    <a:gd name="connsiteX73" fmla="*/ 510777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833373 w 1984332"/>
                    <a:gd name="connsiteY76" fmla="*/ 1189569 h 1520187"/>
                    <a:gd name="connsiteX77" fmla="*/ 1189572 w 1984332"/>
                    <a:gd name="connsiteY77" fmla="*/ 1189569 h 1520187"/>
                    <a:gd name="connsiteX78" fmla="*/ 1203014 w 1984332"/>
                    <a:gd name="connsiteY78" fmla="*/ 1182849 h 1520187"/>
                    <a:gd name="connsiteX79" fmla="*/ 1209734 w 1984332"/>
                    <a:gd name="connsiteY79" fmla="*/ 1169407 h 1520187"/>
                    <a:gd name="connsiteX80" fmla="*/ 1209734 w 1984332"/>
                    <a:gd name="connsiteY80" fmla="*/ 1095479 h 1520187"/>
                    <a:gd name="connsiteX81" fmla="*/ 1196293 w 1984332"/>
                    <a:gd name="connsiteY81" fmla="*/ 1075317 h 1520187"/>
                    <a:gd name="connsiteX82" fmla="*/ 1122365 w 1984332"/>
                    <a:gd name="connsiteY82" fmla="*/ 967785 h 1520187"/>
                    <a:gd name="connsiteX83" fmla="*/ 1155969 w 1984332"/>
                    <a:gd name="connsiteY83" fmla="*/ 887136 h 1520187"/>
                    <a:gd name="connsiteX84" fmla="*/ 1236617 w 1984332"/>
                    <a:gd name="connsiteY84" fmla="*/ 853533 h 1520187"/>
                    <a:gd name="connsiteX85" fmla="*/ 1236617 w 1984332"/>
                    <a:gd name="connsiteY85" fmla="*/ 853533 h 1520187"/>
                    <a:gd name="connsiteX86" fmla="*/ 1317266 w 1984332"/>
                    <a:gd name="connsiteY86" fmla="*/ 887136 h 1520187"/>
                    <a:gd name="connsiteX87" fmla="*/ 1350870 w 1984332"/>
                    <a:gd name="connsiteY87" fmla="*/ 967785 h 1520187"/>
                    <a:gd name="connsiteX88" fmla="*/ 1283663 w 1984332"/>
                    <a:gd name="connsiteY88" fmla="*/ 1068596 h 1520187"/>
                    <a:gd name="connsiteX89" fmla="*/ 1270221 w 1984332"/>
                    <a:gd name="connsiteY89" fmla="*/ 1088758 h 1520187"/>
                    <a:gd name="connsiteX90" fmla="*/ 1270221 w 1984332"/>
                    <a:gd name="connsiteY90" fmla="*/ 1162686 h 1520187"/>
                    <a:gd name="connsiteX91" fmla="*/ 1276942 w 1984332"/>
                    <a:gd name="connsiteY91" fmla="*/ 1176128 h 1520187"/>
                    <a:gd name="connsiteX92" fmla="*/ 1290383 w 1984332"/>
                    <a:gd name="connsiteY92" fmla="*/ 1182849 h 1520187"/>
                    <a:gd name="connsiteX93" fmla="*/ 1290383 w 1984332"/>
                    <a:gd name="connsiteY93" fmla="*/ 1182849 h 1520187"/>
                    <a:gd name="connsiteX94" fmla="*/ 1633141 w 1984332"/>
                    <a:gd name="connsiteY94" fmla="*/ 1182849 h 1520187"/>
                    <a:gd name="connsiteX95" fmla="*/ 1653304 w 1984332"/>
                    <a:gd name="connsiteY95" fmla="*/ 1162686 h 1520187"/>
                    <a:gd name="connsiteX96" fmla="*/ 1653304 w 1984332"/>
                    <a:gd name="connsiteY96" fmla="*/ 833371 h 1520187"/>
                    <a:gd name="connsiteX97" fmla="*/ 1693628 w 1984332"/>
                    <a:gd name="connsiteY97" fmla="*/ 833371 h 1520187"/>
                    <a:gd name="connsiteX98" fmla="*/ 1828043 w 1984332"/>
                    <a:gd name="connsiteY98" fmla="*/ 914019 h 1520187"/>
                    <a:gd name="connsiteX99" fmla="*/ 1828043 w 1984332"/>
                    <a:gd name="connsiteY99" fmla="*/ 914019 h 1520187"/>
                    <a:gd name="connsiteX100" fmla="*/ 1935575 w 1984332"/>
                    <a:gd name="connsiteY100" fmla="*/ 866974 h 1520187"/>
                    <a:gd name="connsiteX101" fmla="*/ 1982620 w 1984332"/>
                    <a:gd name="connsiteY101" fmla="*/ 759443 h 1520187"/>
                    <a:gd name="connsiteX102" fmla="*/ 1949017 w 1984332"/>
                    <a:gd name="connsiteY102" fmla="*/ 645190 h 1520187"/>
                    <a:gd name="connsiteX103" fmla="*/ 483894 w 1984332"/>
                    <a:gd name="connsiteY103" fmla="*/ 1142524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162686 h 1520187"/>
                    <a:gd name="connsiteX107" fmla="*/ 463732 w 1984332"/>
                    <a:gd name="connsiteY107" fmla="*/ 1236614 h 1520187"/>
                    <a:gd name="connsiteX108" fmla="*/ 463732 w 1984332"/>
                    <a:gd name="connsiteY108" fmla="*/ 1236614 h 1520187"/>
                    <a:gd name="connsiteX109" fmla="*/ 477173 w 1984332"/>
                    <a:gd name="connsiteY109" fmla="*/ 1263497 h 1520187"/>
                    <a:gd name="connsiteX110" fmla="*/ 544381 w 1984332"/>
                    <a:gd name="connsiteY110" fmla="*/ 1364308 h 1520187"/>
                    <a:gd name="connsiteX111" fmla="*/ 510777 w 1984332"/>
                    <a:gd name="connsiteY111" fmla="*/ 1444957 h 1520187"/>
                    <a:gd name="connsiteX112" fmla="*/ 423407 w 1984332"/>
                    <a:gd name="connsiteY112" fmla="*/ 1478561 h 1520187"/>
                    <a:gd name="connsiteX113" fmla="*/ 423407 w 1984332"/>
                    <a:gd name="connsiteY113" fmla="*/ 1478561 h 1520187"/>
                    <a:gd name="connsiteX114" fmla="*/ 342758 w 1984332"/>
                    <a:gd name="connsiteY114" fmla="*/ 1444957 h 1520187"/>
                    <a:gd name="connsiteX115" fmla="*/ 309154 w 1984332"/>
                    <a:gd name="connsiteY115" fmla="*/ 1364308 h 1520187"/>
                    <a:gd name="connsiteX116" fmla="*/ 383083 w 1984332"/>
                    <a:gd name="connsiteY116" fmla="*/ 1256777 h 1520187"/>
                    <a:gd name="connsiteX117" fmla="*/ 396524 w 1984332"/>
                    <a:gd name="connsiteY117" fmla="*/ 1236614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96524 w 1984332"/>
                    <a:gd name="connsiteY120" fmla="*/ 1162686 h 1520187"/>
                    <a:gd name="connsiteX121" fmla="*/ 376362 w 1984332"/>
                    <a:gd name="connsiteY121" fmla="*/ 1142524 h 1520187"/>
                    <a:gd name="connsiteX122" fmla="*/ 376362 w 1984332"/>
                    <a:gd name="connsiteY122" fmla="*/ 1142524 h 1520187"/>
                    <a:gd name="connsiteX123" fmla="*/ 40324 w 1984332"/>
                    <a:gd name="connsiteY123" fmla="*/ 1142524 h 1520187"/>
                    <a:gd name="connsiteX124" fmla="*/ 40324 w 1984332"/>
                    <a:gd name="connsiteY124" fmla="*/ 833371 h 1520187"/>
                    <a:gd name="connsiteX125" fmla="*/ 80649 w 1984332"/>
                    <a:gd name="connsiteY125" fmla="*/ 833371 h 1520187"/>
                    <a:gd name="connsiteX126" fmla="*/ 221785 w 1984332"/>
                    <a:gd name="connsiteY126" fmla="*/ 920740 h 1520187"/>
                    <a:gd name="connsiteX127" fmla="*/ 221785 w 1984332"/>
                    <a:gd name="connsiteY127" fmla="*/ 920740 h 1520187"/>
                    <a:gd name="connsiteX128" fmla="*/ 376362 w 1984332"/>
                    <a:gd name="connsiteY128" fmla="*/ 766163 h 1520187"/>
                    <a:gd name="connsiteX129" fmla="*/ 221785 w 1984332"/>
                    <a:gd name="connsiteY129" fmla="*/ 604866 h 1520187"/>
                    <a:gd name="connsiteX130" fmla="*/ 221785 w 1984332"/>
                    <a:gd name="connsiteY130" fmla="*/ 604866 h 1520187"/>
                    <a:gd name="connsiteX131" fmla="*/ 87370 w 1984332"/>
                    <a:gd name="connsiteY131" fmla="*/ 678794 h 1520187"/>
                    <a:gd name="connsiteX132" fmla="*/ 40324 w 1984332"/>
                    <a:gd name="connsiteY132" fmla="*/ 678794 h 1520187"/>
                    <a:gd name="connsiteX133" fmla="*/ 40324 w 1984332"/>
                    <a:gd name="connsiteY133" fmla="*/ 376361 h 1520187"/>
                    <a:gd name="connsiteX134" fmla="*/ 369641 w 1984332"/>
                    <a:gd name="connsiteY134" fmla="*/ 376361 h 1520187"/>
                    <a:gd name="connsiteX135" fmla="*/ 383083 w 1984332"/>
                    <a:gd name="connsiteY135" fmla="*/ 369640 h 1520187"/>
                    <a:gd name="connsiteX136" fmla="*/ 389803 w 1984332"/>
                    <a:gd name="connsiteY136" fmla="*/ 356199 h 1520187"/>
                    <a:gd name="connsiteX137" fmla="*/ 389803 w 1984332"/>
                    <a:gd name="connsiteY137" fmla="*/ 275550 h 1520187"/>
                    <a:gd name="connsiteX138" fmla="*/ 376362 w 1984332"/>
                    <a:gd name="connsiteY138" fmla="*/ 255388 h 1520187"/>
                    <a:gd name="connsiteX139" fmla="*/ 309154 w 1984332"/>
                    <a:gd name="connsiteY139" fmla="*/ 154577 h 1520187"/>
                    <a:gd name="connsiteX140" fmla="*/ 423407 w 1984332"/>
                    <a:gd name="connsiteY140" fmla="*/ 40324 h 1520187"/>
                    <a:gd name="connsiteX141" fmla="*/ 504056 w 1984332"/>
                    <a:gd name="connsiteY141" fmla="*/ 73928 h 1520187"/>
                    <a:gd name="connsiteX142" fmla="*/ 537660 w 1984332"/>
                    <a:gd name="connsiteY142" fmla="*/ 154577 h 1520187"/>
                    <a:gd name="connsiteX143" fmla="*/ 470452 w 1984332"/>
                    <a:gd name="connsiteY143" fmla="*/ 262109 h 1520187"/>
                    <a:gd name="connsiteX144" fmla="*/ 457011 w 1984332"/>
                    <a:gd name="connsiteY144" fmla="*/ 282271 h 1520187"/>
                    <a:gd name="connsiteX145" fmla="*/ 457011 w 1984332"/>
                    <a:gd name="connsiteY145" fmla="*/ 362919 h 1520187"/>
                    <a:gd name="connsiteX146" fmla="*/ 477173 w 1984332"/>
                    <a:gd name="connsiteY146" fmla="*/ 383082 h 1520187"/>
                    <a:gd name="connsiteX147" fmla="*/ 477173 w 1984332"/>
                    <a:gd name="connsiteY147" fmla="*/ 383082 h 1520187"/>
                    <a:gd name="connsiteX148" fmla="*/ 806490 w 1984332"/>
                    <a:gd name="connsiteY148" fmla="*/ 383082 h 1520187"/>
                    <a:gd name="connsiteX149" fmla="*/ 806490 w 1984332"/>
                    <a:gd name="connsiteY149" fmla="*/ 631749 h 1520187"/>
                    <a:gd name="connsiteX150" fmla="*/ 806490 w 1984332"/>
                    <a:gd name="connsiteY150" fmla="*/ 685515 h 1520187"/>
                    <a:gd name="connsiteX151" fmla="*/ 766165 w 1984332"/>
                    <a:gd name="connsiteY151" fmla="*/ 685515 h 1520187"/>
                    <a:gd name="connsiteX152" fmla="*/ 631750 w 1984332"/>
                    <a:gd name="connsiteY152" fmla="*/ 604866 h 1520187"/>
                    <a:gd name="connsiteX153" fmla="*/ 631750 w 1984332"/>
                    <a:gd name="connsiteY153" fmla="*/ 604866 h 1520187"/>
                    <a:gd name="connsiteX154" fmla="*/ 517497 w 1984332"/>
                    <a:gd name="connsiteY154" fmla="*/ 651911 h 1520187"/>
                    <a:gd name="connsiteX155" fmla="*/ 470452 w 1984332"/>
                    <a:gd name="connsiteY155" fmla="*/ 759443 h 1520187"/>
                    <a:gd name="connsiteX156" fmla="*/ 517497 w 1984332"/>
                    <a:gd name="connsiteY156" fmla="*/ 866974 h 1520187"/>
                    <a:gd name="connsiteX157" fmla="*/ 625029 w 1984332"/>
                    <a:gd name="connsiteY157" fmla="*/ 914019 h 1520187"/>
                    <a:gd name="connsiteX158" fmla="*/ 625029 w 1984332"/>
                    <a:gd name="connsiteY158" fmla="*/ 914019 h 1520187"/>
                    <a:gd name="connsiteX159" fmla="*/ 766165 w 1984332"/>
                    <a:gd name="connsiteY159" fmla="*/ 826650 h 1520187"/>
                    <a:gd name="connsiteX160" fmla="*/ 799769 w 1984332"/>
                    <a:gd name="connsiteY160" fmla="*/ 826650 h 1520187"/>
                    <a:gd name="connsiteX161" fmla="*/ 799769 w 1984332"/>
                    <a:gd name="connsiteY161" fmla="*/ 1135803 h 1520187"/>
                    <a:gd name="connsiteX162" fmla="*/ 483894 w 1984332"/>
                    <a:gd name="connsiteY162" fmla="*/ 1142524 h 1520187"/>
                    <a:gd name="connsiteX163" fmla="*/ 1915413 w 1984332"/>
                    <a:gd name="connsiteY163" fmla="*/ 840091 h 1520187"/>
                    <a:gd name="connsiteX164" fmla="*/ 1834764 w 1984332"/>
                    <a:gd name="connsiteY164" fmla="*/ 873695 h 1520187"/>
                    <a:gd name="connsiteX165" fmla="*/ 1834764 w 1984332"/>
                    <a:gd name="connsiteY165" fmla="*/ 873695 h 1520187"/>
                    <a:gd name="connsiteX166" fmla="*/ 1733953 w 1984332"/>
                    <a:gd name="connsiteY166" fmla="*/ 806488 h 1520187"/>
                    <a:gd name="connsiteX167" fmla="*/ 1713790 w 1984332"/>
                    <a:gd name="connsiteY167" fmla="*/ 793046 h 1520187"/>
                    <a:gd name="connsiteX168" fmla="*/ 1713790 w 1984332"/>
                    <a:gd name="connsiteY168" fmla="*/ 793046 h 1520187"/>
                    <a:gd name="connsiteX169" fmla="*/ 1633141 w 1984332"/>
                    <a:gd name="connsiteY169" fmla="*/ 793046 h 1520187"/>
                    <a:gd name="connsiteX170" fmla="*/ 1612979 w 1984332"/>
                    <a:gd name="connsiteY170" fmla="*/ 813208 h 1520187"/>
                    <a:gd name="connsiteX171" fmla="*/ 1612979 w 1984332"/>
                    <a:gd name="connsiteY171" fmla="*/ 1142524 h 1520187"/>
                    <a:gd name="connsiteX172" fmla="*/ 1310546 w 1984332"/>
                    <a:gd name="connsiteY172" fmla="*/ 1142524 h 1520187"/>
                    <a:gd name="connsiteX173" fmla="*/ 1310546 w 1984332"/>
                    <a:gd name="connsiteY173" fmla="*/ 1102200 h 1520187"/>
                    <a:gd name="connsiteX174" fmla="*/ 1384474 w 1984332"/>
                    <a:gd name="connsiteY174" fmla="*/ 967785 h 1520187"/>
                    <a:gd name="connsiteX175" fmla="*/ 1337429 w 1984332"/>
                    <a:gd name="connsiteY175" fmla="*/ 860254 h 1520187"/>
                    <a:gd name="connsiteX176" fmla="*/ 1229897 w 1984332"/>
                    <a:gd name="connsiteY176" fmla="*/ 813208 h 1520187"/>
                    <a:gd name="connsiteX177" fmla="*/ 1229897 w 1984332"/>
                    <a:gd name="connsiteY177" fmla="*/ 813208 h 1520187"/>
                    <a:gd name="connsiteX178" fmla="*/ 1122365 w 1984332"/>
                    <a:gd name="connsiteY178" fmla="*/ 860254 h 1520187"/>
                    <a:gd name="connsiteX179" fmla="*/ 1075320 w 1984332"/>
                    <a:gd name="connsiteY179" fmla="*/ 967785 h 1520187"/>
                    <a:gd name="connsiteX180" fmla="*/ 1162689 w 1984332"/>
                    <a:gd name="connsiteY180" fmla="*/ 1108921 h 1520187"/>
                    <a:gd name="connsiteX181" fmla="*/ 1162689 w 1984332"/>
                    <a:gd name="connsiteY181" fmla="*/ 1142524 h 1520187"/>
                    <a:gd name="connsiteX182" fmla="*/ 853535 w 1984332"/>
                    <a:gd name="connsiteY182" fmla="*/ 1142524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19929 h 1520187"/>
                    <a:gd name="connsiteX185" fmla="*/ 853535 w 1984332"/>
                    <a:gd name="connsiteY185" fmla="*/ 806488 h 1520187"/>
                    <a:gd name="connsiteX186" fmla="*/ 846814 w 1984332"/>
                    <a:gd name="connsiteY186" fmla="*/ 793046 h 1520187"/>
                    <a:gd name="connsiteX187" fmla="*/ 833373 w 1984332"/>
                    <a:gd name="connsiteY187" fmla="*/ 786325 h 1520187"/>
                    <a:gd name="connsiteX188" fmla="*/ 833373 w 1984332"/>
                    <a:gd name="connsiteY188" fmla="*/ 786325 h 1520187"/>
                    <a:gd name="connsiteX189" fmla="*/ 759444 w 1984332"/>
                    <a:gd name="connsiteY189" fmla="*/ 786325 h 1520187"/>
                    <a:gd name="connsiteX190" fmla="*/ 739282 w 1984332"/>
                    <a:gd name="connsiteY190" fmla="*/ 799767 h 1520187"/>
                    <a:gd name="connsiteX191" fmla="*/ 631750 w 1984332"/>
                    <a:gd name="connsiteY191" fmla="*/ 873695 h 1520187"/>
                    <a:gd name="connsiteX192" fmla="*/ 631750 w 1984332"/>
                    <a:gd name="connsiteY192" fmla="*/ 873695 h 1520187"/>
                    <a:gd name="connsiteX193" fmla="*/ 551101 w 1984332"/>
                    <a:gd name="connsiteY193" fmla="*/ 840091 h 1520187"/>
                    <a:gd name="connsiteX194" fmla="*/ 517497 w 1984332"/>
                    <a:gd name="connsiteY194" fmla="*/ 759443 h 1520187"/>
                    <a:gd name="connsiteX195" fmla="*/ 551101 w 1984332"/>
                    <a:gd name="connsiteY195" fmla="*/ 678794 h 1520187"/>
                    <a:gd name="connsiteX196" fmla="*/ 631750 w 1984332"/>
                    <a:gd name="connsiteY196" fmla="*/ 645190 h 1520187"/>
                    <a:gd name="connsiteX197" fmla="*/ 631750 w 1984332"/>
                    <a:gd name="connsiteY197" fmla="*/ 645190 h 1520187"/>
                    <a:gd name="connsiteX198" fmla="*/ 732561 w 1984332"/>
                    <a:gd name="connsiteY198" fmla="*/ 712397 h 1520187"/>
                    <a:gd name="connsiteX199" fmla="*/ 752724 w 1984332"/>
                    <a:gd name="connsiteY199" fmla="*/ 725839 h 1520187"/>
                    <a:gd name="connsiteX200" fmla="*/ 752724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26652 w 1984332"/>
                    <a:gd name="connsiteY202" fmla="*/ 725839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0093 w 1984332"/>
                    <a:gd name="connsiteY205" fmla="*/ 719118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705677 h 1520187"/>
                    <a:gd name="connsiteX210" fmla="*/ 846814 w 1984332"/>
                    <a:gd name="connsiteY210" fmla="*/ 383082 h 1520187"/>
                    <a:gd name="connsiteX211" fmla="*/ 1155969 w 1984332"/>
                    <a:gd name="connsiteY211" fmla="*/ 383082 h 1520187"/>
                    <a:gd name="connsiteX212" fmla="*/ 1155969 w 1984332"/>
                    <a:gd name="connsiteY212" fmla="*/ 423406 h 1520187"/>
                    <a:gd name="connsiteX213" fmla="*/ 1075320 w 1984332"/>
                    <a:gd name="connsiteY213" fmla="*/ 557821 h 1520187"/>
                    <a:gd name="connsiteX214" fmla="*/ 1229897 w 1984332"/>
                    <a:gd name="connsiteY214" fmla="*/ 712397 h 1520187"/>
                    <a:gd name="connsiteX215" fmla="*/ 1229897 w 1984332"/>
                    <a:gd name="connsiteY215" fmla="*/ 712397 h 1520187"/>
                    <a:gd name="connsiteX216" fmla="*/ 1351716 w 1984332"/>
                    <a:gd name="connsiteY216" fmla="*/ 670115 h 1520187"/>
                    <a:gd name="connsiteX217" fmla="*/ 1396380 w 1984332"/>
                    <a:gd name="connsiteY217" fmla="*/ 553058 h 1520187"/>
                    <a:gd name="connsiteX218" fmla="*/ 1310546 w 1984332"/>
                    <a:gd name="connsiteY218" fmla="*/ 423406 h 1520187"/>
                    <a:gd name="connsiteX219" fmla="*/ 1310546 w 1984332"/>
                    <a:gd name="connsiteY219" fmla="*/ 376361 h 1520187"/>
                    <a:gd name="connsiteX220" fmla="*/ 1612979 w 1984332"/>
                    <a:gd name="connsiteY220" fmla="*/ 376361 h 1520187"/>
                    <a:gd name="connsiteX221" fmla="*/ 1612979 w 1984332"/>
                    <a:gd name="connsiteY221" fmla="*/ 705677 h 1520187"/>
                    <a:gd name="connsiteX222" fmla="*/ 1633141 w 1984332"/>
                    <a:gd name="connsiteY222" fmla="*/ 725839 h 1520187"/>
                    <a:gd name="connsiteX223" fmla="*/ 1633141 w 1984332"/>
                    <a:gd name="connsiteY223" fmla="*/ 725839 h 1520187"/>
                    <a:gd name="connsiteX224" fmla="*/ 1713790 w 1984332"/>
                    <a:gd name="connsiteY224" fmla="*/ 725839 h 1520187"/>
                    <a:gd name="connsiteX225" fmla="*/ 1733953 w 1984332"/>
                    <a:gd name="connsiteY225" fmla="*/ 712397 h 1520187"/>
                    <a:gd name="connsiteX226" fmla="*/ 1834764 w 1984332"/>
                    <a:gd name="connsiteY226" fmla="*/ 645190 h 1520187"/>
                    <a:gd name="connsiteX227" fmla="*/ 1834764 w 1984332"/>
                    <a:gd name="connsiteY227" fmla="*/ 645190 h 1520187"/>
                    <a:gd name="connsiteX228" fmla="*/ 1915413 w 1984332"/>
                    <a:gd name="connsiteY228" fmla="*/ 678794 h 1520187"/>
                    <a:gd name="connsiteX229" fmla="*/ 1949017 w 1984332"/>
                    <a:gd name="connsiteY229" fmla="*/ 759443 h 1520187"/>
                    <a:gd name="connsiteX230" fmla="*/ 1915413 w 1984332"/>
                    <a:gd name="connsiteY230" fmla="*/ 840091 h 1520187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83663 w 1984332"/>
                    <a:gd name="connsiteY13" fmla="*/ 423406 h 1520187"/>
                    <a:gd name="connsiteX14" fmla="*/ 1297104 w 1984332"/>
                    <a:gd name="connsiteY14" fmla="*/ 450289 h 1520187"/>
                    <a:gd name="connsiteX15" fmla="*/ 1364312 w 1984332"/>
                    <a:gd name="connsiteY15" fmla="*/ 551100 h 1520187"/>
                    <a:gd name="connsiteX16" fmla="*/ 1330708 w 1984332"/>
                    <a:gd name="connsiteY16" fmla="*/ 631749 h 1520187"/>
                    <a:gd name="connsiteX17" fmla="*/ 1250059 w 1984332"/>
                    <a:gd name="connsiteY17" fmla="*/ 665352 h 1520187"/>
                    <a:gd name="connsiteX18" fmla="*/ 1135806 w 1984332"/>
                    <a:gd name="connsiteY18" fmla="*/ 551100 h 1520187"/>
                    <a:gd name="connsiteX19" fmla="*/ 1209734 w 1984332"/>
                    <a:gd name="connsiteY19" fmla="*/ 443568 h 1520187"/>
                    <a:gd name="connsiteX20" fmla="*/ 1223176 w 1984332"/>
                    <a:gd name="connsiteY20" fmla="*/ 423406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223176 w 1984332"/>
                    <a:gd name="connsiteY23" fmla="*/ 349478 h 1520187"/>
                    <a:gd name="connsiteX24" fmla="*/ 1182852 w 1984332"/>
                    <a:gd name="connsiteY24" fmla="*/ 336037 h 1520187"/>
                    <a:gd name="connsiteX25" fmla="*/ 11828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826652 w 1984332"/>
                    <a:gd name="connsiteY28" fmla="*/ 336037 h 1520187"/>
                    <a:gd name="connsiteX29" fmla="*/ 497335 w 1984332"/>
                    <a:gd name="connsiteY29" fmla="*/ 336037 h 1520187"/>
                    <a:gd name="connsiteX30" fmla="*/ 497335 w 1984332"/>
                    <a:gd name="connsiteY30" fmla="*/ 295712 h 1520187"/>
                    <a:gd name="connsiteX31" fmla="*/ 584705 w 1984332"/>
                    <a:gd name="connsiteY31" fmla="*/ 154577 h 1520187"/>
                    <a:gd name="connsiteX32" fmla="*/ 537660 w 1984332"/>
                    <a:gd name="connsiteY32" fmla="*/ 47045 h 1520187"/>
                    <a:gd name="connsiteX33" fmla="*/ 423407 w 1984332"/>
                    <a:gd name="connsiteY33" fmla="*/ 0 h 1520187"/>
                    <a:gd name="connsiteX34" fmla="*/ 423407 w 1984332"/>
                    <a:gd name="connsiteY34" fmla="*/ 0 h 1520187"/>
                    <a:gd name="connsiteX35" fmla="*/ 268830 w 1984332"/>
                    <a:gd name="connsiteY35" fmla="*/ 154577 h 1520187"/>
                    <a:gd name="connsiteX36" fmla="*/ 349479 w 1984332"/>
                    <a:gd name="connsiteY36" fmla="*/ 288991 h 1520187"/>
                    <a:gd name="connsiteX37" fmla="*/ 349479 w 1984332"/>
                    <a:gd name="connsiteY37" fmla="*/ 329316 h 1520187"/>
                    <a:gd name="connsiteX38" fmla="*/ 20162 w 1984332"/>
                    <a:gd name="connsiteY38" fmla="*/ 336037 h 1520187"/>
                    <a:gd name="connsiteX39" fmla="*/ 0 w 1984332"/>
                    <a:gd name="connsiteY39" fmla="*/ 356199 h 1520187"/>
                    <a:gd name="connsiteX40" fmla="*/ 0 w 1984332"/>
                    <a:gd name="connsiteY40" fmla="*/ 698956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20162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94090 w 1984332"/>
                    <a:gd name="connsiteY46" fmla="*/ 719118 h 1520187"/>
                    <a:gd name="connsiteX47" fmla="*/ 120973 w 1984332"/>
                    <a:gd name="connsiteY47" fmla="*/ 705677 h 1520187"/>
                    <a:gd name="connsiteX48" fmla="*/ 221785 w 1984332"/>
                    <a:gd name="connsiteY48" fmla="*/ 638469 h 1520187"/>
                    <a:gd name="connsiteX49" fmla="*/ 221785 w 1984332"/>
                    <a:gd name="connsiteY49" fmla="*/ 638469 h 1520187"/>
                    <a:gd name="connsiteX50" fmla="*/ 336037 w 1984332"/>
                    <a:gd name="connsiteY50" fmla="*/ 752722 h 1520187"/>
                    <a:gd name="connsiteX51" fmla="*/ 221785 w 1984332"/>
                    <a:gd name="connsiteY51" fmla="*/ 873695 h 1520187"/>
                    <a:gd name="connsiteX52" fmla="*/ 221785 w 1984332"/>
                    <a:gd name="connsiteY52" fmla="*/ 873695 h 1520187"/>
                    <a:gd name="connsiteX53" fmla="*/ 114253 w 1984332"/>
                    <a:gd name="connsiteY53" fmla="*/ 799767 h 1520187"/>
                    <a:gd name="connsiteX54" fmla="*/ 94090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20162 w 1984332"/>
                    <a:gd name="connsiteY59" fmla="*/ 786325 h 1520187"/>
                    <a:gd name="connsiteX60" fmla="*/ 0 w 1984332"/>
                    <a:gd name="connsiteY60" fmla="*/ 806488 h 1520187"/>
                    <a:gd name="connsiteX61" fmla="*/ 0 w 1984332"/>
                    <a:gd name="connsiteY61" fmla="*/ 1162686 h 1520187"/>
                    <a:gd name="connsiteX62" fmla="*/ 20162 w 1984332"/>
                    <a:gd name="connsiteY62" fmla="*/ 1182849 h 1520187"/>
                    <a:gd name="connsiteX63" fmla="*/ 20162 w 1984332"/>
                    <a:gd name="connsiteY63" fmla="*/ 1182849 h 1520187"/>
                    <a:gd name="connsiteX64" fmla="*/ 356200 w 1984332"/>
                    <a:gd name="connsiteY64" fmla="*/ 1182849 h 1520187"/>
                    <a:gd name="connsiteX65" fmla="*/ 356200 w 1984332"/>
                    <a:gd name="connsiteY65" fmla="*/ 1223173 h 1520187"/>
                    <a:gd name="connsiteX66" fmla="*/ 268830 w 1984332"/>
                    <a:gd name="connsiteY66" fmla="*/ 1364308 h 1520187"/>
                    <a:gd name="connsiteX67" fmla="*/ 315875 w 1984332"/>
                    <a:gd name="connsiteY67" fmla="*/ 1471840 h 1520187"/>
                    <a:gd name="connsiteX68" fmla="*/ 423407 w 1984332"/>
                    <a:gd name="connsiteY68" fmla="*/ 1518885 h 1520187"/>
                    <a:gd name="connsiteX69" fmla="*/ 423407 w 1984332"/>
                    <a:gd name="connsiteY69" fmla="*/ 1518885 h 1520187"/>
                    <a:gd name="connsiteX70" fmla="*/ 537660 w 1984332"/>
                    <a:gd name="connsiteY70" fmla="*/ 1478561 h 1520187"/>
                    <a:gd name="connsiteX71" fmla="*/ 584705 w 1984332"/>
                    <a:gd name="connsiteY71" fmla="*/ 1371029 h 1520187"/>
                    <a:gd name="connsiteX72" fmla="*/ 510777 w 1984332"/>
                    <a:gd name="connsiteY72" fmla="*/ 1236614 h 1520187"/>
                    <a:gd name="connsiteX73" fmla="*/ 510777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833373 w 1984332"/>
                    <a:gd name="connsiteY76" fmla="*/ 1189569 h 1520187"/>
                    <a:gd name="connsiteX77" fmla="*/ 1189572 w 1984332"/>
                    <a:gd name="connsiteY77" fmla="*/ 1189569 h 1520187"/>
                    <a:gd name="connsiteX78" fmla="*/ 1203014 w 1984332"/>
                    <a:gd name="connsiteY78" fmla="*/ 1182849 h 1520187"/>
                    <a:gd name="connsiteX79" fmla="*/ 1209734 w 1984332"/>
                    <a:gd name="connsiteY79" fmla="*/ 1169407 h 1520187"/>
                    <a:gd name="connsiteX80" fmla="*/ 1209734 w 1984332"/>
                    <a:gd name="connsiteY80" fmla="*/ 1095479 h 1520187"/>
                    <a:gd name="connsiteX81" fmla="*/ 1196293 w 1984332"/>
                    <a:gd name="connsiteY81" fmla="*/ 1075317 h 1520187"/>
                    <a:gd name="connsiteX82" fmla="*/ 1122365 w 1984332"/>
                    <a:gd name="connsiteY82" fmla="*/ 967785 h 1520187"/>
                    <a:gd name="connsiteX83" fmla="*/ 1155969 w 1984332"/>
                    <a:gd name="connsiteY83" fmla="*/ 887136 h 1520187"/>
                    <a:gd name="connsiteX84" fmla="*/ 1236617 w 1984332"/>
                    <a:gd name="connsiteY84" fmla="*/ 853533 h 1520187"/>
                    <a:gd name="connsiteX85" fmla="*/ 1236617 w 1984332"/>
                    <a:gd name="connsiteY85" fmla="*/ 853533 h 1520187"/>
                    <a:gd name="connsiteX86" fmla="*/ 1317266 w 1984332"/>
                    <a:gd name="connsiteY86" fmla="*/ 887136 h 1520187"/>
                    <a:gd name="connsiteX87" fmla="*/ 1350870 w 1984332"/>
                    <a:gd name="connsiteY87" fmla="*/ 967785 h 1520187"/>
                    <a:gd name="connsiteX88" fmla="*/ 1283663 w 1984332"/>
                    <a:gd name="connsiteY88" fmla="*/ 1068596 h 1520187"/>
                    <a:gd name="connsiteX89" fmla="*/ 1270221 w 1984332"/>
                    <a:gd name="connsiteY89" fmla="*/ 1088758 h 1520187"/>
                    <a:gd name="connsiteX90" fmla="*/ 1270221 w 1984332"/>
                    <a:gd name="connsiteY90" fmla="*/ 1162686 h 1520187"/>
                    <a:gd name="connsiteX91" fmla="*/ 1276942 w 1984332"/>
                    <a:gd name="connsiteY91" fmla="*/ 1176128 h 1520187"/>
                    <a:gd name="connsiteX92" fmla="*/ 1290383 w 1984332"/>
                    <a:gd name="connsiteY92" fmla="*/ 1182849 h 1520187"/>
                    <a:gd name="connsiteX93" fmla="*/ 1290383 w 1984332"/>
                    <a:gd name="connsiteY93" fmla="*/ 1182849 h 1520187"/>
                    <a:gd name="connsiteX94" fmla="*/ 1633141 w 1984332"/>
                    <a:gd name="connsiteY94" fmla="*/ 1182849 h 1520187"/>
                    <a:gd name="connsiteX95" fmla="*/ 1653304 w 1984332"/>
                    <a:gd name="connsiteY95" fmla="*/ 1162686 h 1520187"/>
                    <a:gd name="connsiteX96" fmla="*/ 1653304 w 1984332"/>
                    <a:gd name="connsiteY96" fmla="*/ 833371 h 1520187"/>
                    <a:gd name="connsiteX97" fmla="*/ 1693628 w 1984332"/>
                    <a:gd name="connsiteY97" fmla="*/ 833371 h 1520187"/>
                    <a:gd name="connsiteX98" fmla="*/ 1828043 w 1984332"/>
                    <a:gd name="connsiteY98" fmla="*/ 914019 h 1520187"/>
                    <a:gd name="connsiteX99" fmla="*/ 1828043 w 1984332"/>
                    <a:gd name="connsiteY99" fmla="*/ 914019 h 1520187"/>
                    <a:gd name="connsiteX100" fmla="*/ 1935575 w 1984332"/>
                    <a:gd name="connsiteY100" fmla="*/ 866974 h 1520187"/>
                    <a:gd name="connsiteX101" fmla="*/ 1982620 w 1984332"/>
                    <a:gd name="connsiteY101" fmla="*/ 759443 h 1520187"/>
                    <a:gd name="connsiteX102" fmla="*/ 1949017 w 1984332"/>
                    <a:gd name="connsiteY102" fmla="*/ 645190 h 1520187"/>
                    <a:gd name="connsiteX103" fmla="*/ 483894 w 1984332"/>
                    <a:gd name="connsiteY103" fmla="*/ 1142524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162686 h 1520187"/>
                    <a:gd name="connsiteX107" fmla="*/ 463732 w 1984332"/>
                    <a:gd name="connsiteY107" fmla="*/ 1236614 h 1520187"/>
                    <a:gd name="connsiteX108" fmla="*/ 463732 w 1984332"/>
                    <a:gd name="connsiteY108" fmla="*/ 1236614 h 1520187"/>
                    <a:gd name="connsiteX109" fmla="*/ 477173 w 1984332"/>
                    <a:gd name="connsiteY109" fmla="*/ 1263497 h 1520187"/>
                    <a:gd name="connsiteX110" fmla="*/ 544381 w 1984332"/>
                    <a:gd name="connsiteY110" fmla="*/ 1364308 h 1520187"/>
                    <a:gd name="connsiteX111" fmla="*/ 510777 w 1984332"/>
                    <a:gd name="connsiteY111" fmla="*/ 1444957 h 1520187"/>
                    <a:gd name="connsiteX112" fmla="*/ 423407 w 1984332"/>
                    <a:gd name="connsiteY112" fmla="*/ 1478561 h 1520187"/>
                    <a:gd name="connsiteX113" fmla="*/ 423407 w 1984332"/>
                    <a:gd name="connsiteY113" fmla="*/ 1478561 h 1520187"/>
                    <a:gd name="connsiteX114" fmla="*/ 342758 w 1984332"/>
                    <a:gd name="connsiteY114" fmla="*/ 1444957 h 1520187"/>
                    <a:gd name="connsiteX115" fmla="*/ 309154 w 1984332"/>
                    <a:gd name="connsiteY115" fmla="*/ 1364308 h 1520187"/>
                    <a:gd name="connsiteX116" fmla="*/ 383083 w 1984332"/>
                    <a:gd name="connsiteY116" fmla="*/ 1256777 h 1520187"/>
                    <a:gd name="connsiteX117" fmla="*/ 396524 w 1984332"/>
                    <a:gd name="connsiteY117" fmla="*/ 1236614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96524 w 1984332"/>
                    <a:gd name="connsiteY120" fmla="*/ 1162686 h 1520187"/>
                    <a:gd name="connsiteX121" fmla="*/ 376362 w 1984332"/>
                    <a:gd name="connsiteY121" fmla="*/ 1142524 h 1520187"/>
                    <a:gd name="connsiteX122" fmla="*/ 376362 w 1984332"/>
                    <a:gd name="connsiteY122" fmla="*/ 1142524 h 1520187"/>
                    <a:gd name="connsiteX123" fmla="*/ 40324 w 1984332"/>
                    <a:gd name="connsiteY123" fmla="*/ 1142524 h 1520187"/>
                    <a:gd name="connsiteX124" fmla="*/ 40324 w 1984332"/>
                    <a:gd name="connsiteY124" fmla="*/ 833371 h 1520187"/>
                    <a:gd name="connsiteX125" fmla="*/ 80649 w 1984332"/>
                    <a:gd name="connsiteY125" fmla="*/ 833371 h 1520187"/>
                    <a:gd name="connsiteX126" fmla="*/ 221785 w 1984332"/>
                    <a:gd name="connsiteY126" fmla="*/ 920740 h 1520187"/>
                    <a:gd name="connsiteX127" fmla="*/ 221785 w 1984332"/>
                    <a:gd name="connsiteY127" fmla="*/ 920740 h 1520187"/>
                    <a:gd name="connsiteX128" fmla="*/ 376362 w 1984332"/>
                    <a:gd name="connsiteY128" fmla="*/ 766163 h 1520187"/>
                    <a:gd name="connsiteX129" fmla="*/ 221785 w 1984332"/>
                    <a:gd name="connsiteY129" fmla="*/ 604866 h 1520187"/>
                    <a:gd name="connsiteX130" fmla="*/ 221785 w 1984332"/>
                    <a:gd name="connsiteY130" fmla="*/ 604866 h 1520187"/>
                    <a:gd name="connsiteX131" fmla="*/ 87370 w 1984332"/>
                    <a:gd name="connsiteY131" fmla="*/ 678794 h 1520187"/>
                    <a:gd name="connsiteX132" fmla="*/ 40324 w 1984332"/>
                    <a:gd name="connsiteY132" fmla="*/ 678794 h 1520187"/>
                    <a:gd name="connsiteX133" fmla="*/ 40324 w 1984332"/>
                    <a:gd name="connsiteY133" fmla="*/ 376361 h 1520187"/>
                    <a:gd name="connsiteX134" fmla="*/ 369641 w 1984332"/>
                    <a:gd name="connsiteY134" fmla="*/ 376361 h 1520187"/>
                    <a:gd name="connsiteX135" fmla="*/ 383083 w 1984332"/>
                    <a:gd name="connsiteY135" fmla="*/ 369640 h 1520187"/>
                    <a:gd name="connsiteX136" fmla="*/ 389803 w 1984332"/>
                    <a:gd name="connsiteY136" fmla="*/ 356199 h 1520187"/>
                    <a:gd name="connsiteX137" fmla="*/ 389803 w 1984332"/>
                    <a:gd name="connsiteY137" fmla="*/ 275550 h 1520187"/>
                    <a:gd name="connsiteX138" fmla="*/ 376362 w 1984332"/>
                    <a:gd name="connsiteY138" fmla="*/ 255388 h 1520187"/>
                    <a:gd name="connsiteX139" fmla="*/ 309154 w 1984332"/>
                    <a:gd name="connsiteY139" fmla="*/ 154577 h 1520187"/>
                    <a:gd name="connsiteX140" fmla="*/ 423407 w 1984332"/>
                    <a:gd name="connsiteY140" fmla="*/ 40324 h 1520187"/>
                    <a:gd name="connsiteX141" fmla="*/ 504056 w 1984332"/>
                    <a:gd name="connsiteY141" fmla="*/ 73928 h 1520187"/>
                    <a:gd name="connsiteX142" fmla="*/ 537660 w 1984332"/>
                    <a:gd name="connsiteY142" fmla="*/ 154577 h 1520187"/>
                    <a:gd name="connsiteX143" fmla="*/ 470452 w 1984332"/>
                    <a:gd name="connsiteY143" fmla="*/ 262109 h 1520187"/>
                    <a:gd name="connsiteX144" fmla="*/ 457011 w 1984332"/>
                    <a:gd name="connsiteY144" fmla="*/ 282271 h 1520187"/>
                    <a:gd name="connsiteX145" fmla="*/ 457011 w 1984332"/>
                    <a:gd name="connsiteY145" fmla="*/ 362919 h 1520187"/>
                    <a:gd name="connsiteX146" fmla="*/ 477173 w 1984332"/>
                    <a:gd name="connsiteY146" fmla="*/ 383082 h 1520187"/>
                    <a:gd name="connsiteX147" fmla="*/ 477173 w 1984332"/>
                    <a:gd name="connsiteY147" fmla="*/ 383082 h 1520187"/>
                    <a:gd name="connsiteX148" fmla="*/ 806490 w 1984332"/>
                    <a:gd name="connsiteY148" fmla="*/ 383082 h 1520187"/>
                    <a:gd name="connsiteX149" fmla="*/ 806490 w 1984332"/>
                    <a:gd name="connsiteY149" fmla="*/ 631749 h 1520187"/>
                    <a:gd name="connsiteX150" fmla="*/ 806490 w 1984332"/>
                    <a:gd name="connsiteY150" fmla="*/ 685515 h 1520187"/>
                    <a:gd name="connsiteX151" fmla="*/ 766165 w 1984332"/>
                    <a:gd name="connsiteY151" fmla="*/ 685515 h 1520187"/>
                    <a:gd name="connsiteX152" fmla="*/ 631750 w 1984332"/>
                    <a:gd name="connsiteY152" fmla="*/ 604866 h 1520187"/>
                    <a:gd name="connsiteX153" fmla="*/ 631750 w 1984332"/>
                    <a:gd name="connsiteY153" fmla="*/ 604866 h 1520187"/>
                    <a:gd name="connsiteX154" fmla="*/ 517497 w 1984332"/>
                    <a:gd name="connsiteY154" fmla="*/ 651911 h 1520187"/>
                    <a:gd name="connsiteX155" fmla="*/ 470452 w 1984332"/>
                    <a:gd name="connsiteY155" fmla="*/ 759443 h 1520187"/>
                    <a:gd name="connsiteX156" fmla="*/ 517497 w 1984332"/>
                    <a:gd name="connsiteY156" fmla="*/ 866974 h 1520187"/>
                    <a:gd name="connsiteX157" fmla="*/ 625029 w 1984332"/>
                    <a:gd name="connsiteY157" fmla="*/ 914019 h 1520187"/>
                    <a:gd name="connsiteX158" fmla="*/ 625029 w 1984332"/>
                    <a:gd name="connsiteY158" fmla="*/ 914019 h 1520187"/>
                    <a:gd name="connsiteX159" fmla="*/ 766165 w 1984332"/>
                    <a:gd name="connsiteY159" fmla="*/ 826650 h 1520187"/>
                    <a:gd name="connsiteX160" fmla="*/ 799769 w 1984332"/>
                    <a:gd name="connsiteY160" fmla="*/ 826650 h 1520187"/>
                    <a:gd name="connsiteX161" fmla="*/ 799769 w 1984332"/>
                    <a:gd name="connsiteY161" fmla="*/ 1135803 h 1520187"/>
                    <a:gd name="connsiteX162" fmla="*/ 483894 w 1984332"/>
                    <a:gd name="connsiteY162" fmla="*/ 1142524 h 1520187"/>
                    <a:gd name="connsiteX163" fmla="*/ 1915413 w 1984332"/>
                    <a:gd name="connsiteY163" fmla="*/ 840091 h 1520187"/>
                    <a:gd name="connsiteX164" fmla="*/ 1834764 w 1984332"/>
                    <a:gd name="connsiteY164" fmla="*/ 873695 h 1520187"/>
                    <a:gd name="connsiteX165" fmla="*/ 1834764 w 1984332"/>
                    <a:gd name="connsiteY165" fmla="*/ 873695 h 1520187"/>
                    <a:gd name="connsiteX166" fmla="*/ 1733953 w 1984332"/>
                    <a:gd name="connsiteY166" fmla="*/ 806488 h 1520187"/>
                    <a:gd name="connsiteX167" fmla="*/ 1713790 w 1984332"/>
                    <a:gd name="connsiteY167" fmla="*/ 793046 h 1520187"/>
                    <a:gd name="connsiteX168" fmla="*/ 1713790 w 1984332"/>
                    <a:gd name="connsiteY168" fmla="*/ 793046 h 1520187"/>
                    <a:gd name="connsiteX169" fmla="*/ 1633141 w 1984332"/>
                    <a:gd name="connsiteY169" fmla="*/ 793046 h 1520187"/>
                    <a:gd name="connsiteX170" fmla="*/ 1612979 w 1984332"/>
                    <a:gd name="connsiteY170" fmla="*/ 813208 h 1520187"/>
                    <a:gd name="connsiteX171" fmla="*/ 1612979 w 1984332"/>
                    <a:gd name="connsiteY171" fmla="*/ 1142524 h 1520187"/>
                    <a:gd name="connsiteX172" fmla="*/ 1310546 w 1984332"/>
                    <a:gd name="connsiteY172" fmla="*/ 1142524 h 1520187"/>
                    <a:gd name="connsiteX173" fmla="*/ 1310546 w 1984332"/>
                    <a:gd name="connsiteY173" fmla="*/ 1102200 h 1520187"/>
                    <a:gd name="connsiteX174" fmla="*/ 1384474 w 1984332"/>
                    <a:gd name="connsiteY174" fmla="*/ 967785 h 1520187"/>
                    <a:gd name="connsiteX175" fmla="*/ 1337429 w 1984332"/>
                    <a:gd name="connsiteY175" fmla="*/ 860254 h 1520187"/>
                    <a:gd name="connsiteX176" fmla="*/ 1229897 w 1984332"/>
                    <a:gd name="connsiteY176" fmla="*/ 813208 h 1520187"/>
                    <a:gd name="connsiteX177" fmla="*/ 1229897 w 1984332"/>
                    <a:gd name="connsiteY177" fmla="*/ 813208 h 1520187"/>
                    <a:gd name="connsiteX178" fmla="*/ 1122365 w 1984332"/>
                    <a:gd name="connsiteY178" fmla="*/ 860254 h 1520187"/>
                    <a:gd name="connsiteX179" fmla="*/ 1075320 w 1984332"/>
                    <a:gd name="connsiteY179" fmla="*/ 967785 h 1520187"/>
                    <a:gd name="connsiteX180" fmla="*/ 1162689 w 1984332"/>
                    <a:gd name="connsiteY180" fmla="*/ 1108921 h 1520187"/>
                    <a:gd name="connsiteX181" fmla="*/ 1162689 w 1984332"/>
                    <a:gd name="connsiteY181" fmla="*/ 1142524 h 1520187"/>
                    <a:gd name="connsiteX182" fmla="*/ 853535 w 1984332"/>
                    <a:gd name="connsiteY182" fmla="*/ 1142524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19929 h 1520187"/>
                    <a:gd name="connsiteX185" fmla="*/ 853535 w 1984332"/>
                    <a:gd name="connsiteY185" fmla="*/ 806488 h 1520187"/>
                    <a:gd name="connsiteX186" fmla="*/ 846814 w 1984332"/>
                    <a:gd name="connsiteY186" fmla="*/ 793046 h 1520187"/>
                    <a:gd name="connsiteX187" fmla="*/ 833373 w 1984332"/>
                    <a:gd name="connsiteY187" fmla="*/ 786325 h 1520187"/>
                    <a:gd name="connsiteX188" fmla="*/ 833373 w 1984332"/>
                    <a:gd name="connsiteY188" fmla="*/ 786325 h 1520187"/>
                    <a:gd name="connsiteX189" fmla="*/ 759444 w 1984332"/>
                    <a:gd name="connsiteY189" fmla="*/ 786325 h 1520187"/>
                    <a:gd name="connsiteX190" fmla="*/ 739282 w 1984332"/>
                    <a:gd name="connsiteY190" fmla="*/ 799767 h 1520187"/>
                    <a:gd name="connsiteX191" fmla="*/ 631750 w 1984332"/>
                    <a:gd name="connsiteY191" fmla="*/ 873695 h 1520187"/>
                    <a:gd name="connsiteX192" fmla="*/ 631750 w 1984332"/>
                    <a:gd name="connsiteY192" fmla="*/ 873695 h 1520187"/>
                    <a:gd name="connsiteX193" fmla="*/ 551101 w 1984332"/>
                    <a:gd name="connsiteY193" fmla="*/ 840091 h 1520187"/>
                    <a:gd name="connsiteX194" fmla="*/ 517497 w 1984332"/>
                    <a:gd name="connsiteY194" fmla="*/ 759443 h 1520187"/>
                    <a:gd name="connsiteX195" fmla="*/ 551101 w 1984332"/>
                    <a:gd name="connsiteY195" fmla="*/ 678794 h 1520187"/>
                    <a:gd name="connsiteX196" fmla="*/ 631750 w 1984332"/>
                    <a:gd name="connsiteY196" fmla="*/ 645190 h 1520187"/>
                    <a:gd name="connsiteX197" fmla="*/ 631750 w 1984332"/>
                    <a:gd name="connsiteY197" fmla="*/ 645190 h 1520187"/>
                    <a:gd name="connsiteX198" fmla="*/ 732561 w 1984332"/>
                    <a:gd name="connsiteY198" fmla="*/ 712397 h 1520187"/>
                    <a:gd name="connsiteX199" fmla="*/ 752724 w 1984332"/>
                    <a:gd name="connsiteY199" fmla="*/ 725839 h 1520187"/>
                    <a:gd name="connsiteX200" fmla="*/ 752724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26652 w 1984332"/>
                    <a:gd name="connsiteY202" fmla="*/ 725839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0093 w 1984332"/>
                    <a:gd name="connsiteY205" fmla="*/ 719118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705677 h 1520187"/>
                    <a:gd name="connsiteX210" fmla="*/ 846814 w 1984332"/>
                    <a:gd name="connsiteY210" fmla="*/ 383082 h 1520187"/>
                    <a:gd name="connsiteX211" fmla="*/ 1155969 w 1984332"/>
                    <a:gd name="connsiteY211" fmla="*/ 383082 h 1520187"/>
                    <a:gd name="connsiteX212" fmla="*/ 1155969 w 1984332"/>
                    <a:gd name="connsiteY212" fmla="*/ 423406 h 1520187"/>
                    <a:gd name="connsiteX213" fmla="*/ 1075320 w 1984332"/>
                    <a:gd name="connsiteY213" fmla="*/ 557821 h 1520187"/>
                    <a:gd name="connsiteX214" fmla="*/ 1229897 w 1984332"/>
                    <a:gd name="connsiteY214" fmla="*/ 712397 h 1520187"/>
                    <a:gd name="connsiteX215" fmla="*/ 1229897 w 1984332"/>
                    <a:gd name="connsiteY215" fmla="*/ 712397 h 1520187"/>
                    <a:gd name="connsiteX216" fmla="*/ 1351716 w 1984332"/>
                    <a:gd name="connsiteY216" fmla="*/ 670115 h 1520187"/>
                    <a:gd name="connsiteX217" fmla="*/ 1396380 w 1984332"/>
                    <a:gd name="connsiteY217" fmla="*/ 553058 h 1520187"/>
                    <a:gd name="connsiteX218" fmla="*/ 1310546 w 1984332"/>
                    <a:gd name="connsiteY218" fmla="*/ 423406 h 1520187"/>
                    <a:gd name="connsiteX219" fmla="*/ 1310546 w 1984332"/>
                    <a:gd name="connsiteY219" fmla="*/ 376361 h 1520187"/>
                    <a:gd name="connsiteX220" fmla="*/ 1612979 w 1984332"/>
                    <a:gd name="connsiteY220" fmla="*/ 376361 h 1520187"/>
                    <a:gd name="connsiteX221" fmla="*/ 1612979 w 1984332"/>
                    <a:gd name="connsiteY221" fmla="*/ 705677 h 1520187"/>
                    <a:gd name="connsiteX222" fmla="*/ 1633141 w 1984332"/>
                    <a:gd name="connsiteY222" fmla="*/ 725839 h 1520187"/>
                    <a:gd name="connsiteX223" fmla="*/ 1633141 w 1984332"/>
                    <a:gd name="connsiteY223" fmla="*/ 725839 h 1520187"/>
                    <a:gd name="connsiteX224" fmla="*/ 1713790 w 1984332"/>
                    <a:gd name="connsiteY224" fmla="*/ 725839 h 1520187"/>
                    <a:gd name="connsiteX225" fmla="*/ 1733953 w 1984332"/>
                    <a:gd name="connsiteY225" fmla="*/ 712397 h 1520187"/>
                    <a:gd name="connsiteX226" fmla="*/ 1834764 w 1984332"/>
                    <a:gd name="connsiteY226" fmla="*/ 645190 h 1520187"/>
                    <a:gd name="connsiteX227" fmla="*/ 1834764 w 1984332"/>
                    <a:gd name="connsiteY227" fmla="*/ 645190 h 1520187"/>
                    <a:gd name="connsiteX228" fmla="*/ 1915413 w 1984332"/>
                    <a:gd name="connsiteY228" fmla="*/ 678794 h 1520187"/>
                    <a:gd name="connsiteX229" fmla="*/ 1949017 w 1984332"/>
                    <a:gd name="connsiteY229" fmla="*/ 759443 h 1520187"/>
                    <a:gd name="connsiteX230" fmla="*/ 1915413 w 1984332"/>
                    <a:gd name="connsiteY230" fmla="*/ 840091 h 1520187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83663 w 1984332"/>
                    <a:gd name="connsiteY13" fmla="*/ 423406 h 1520187"/>
                    <a:gd name="connsiteX14" fmla="*/ 1297104 w 1984332"/>
                    <a:gd name="connsiteY14" fmla="*/ 450289 h 1520187"/>
                    <a:gd name="connsiteX15" fmla="*/ 1364312 w 1984332"/>
                    <a:gd name="connsiteY15" fmla="*/ 551100 h 1520187"/>
                    <a:gd name="connsiteX16" fmla="*/ 1330708 w 1984332"/>
                    <a:gd name="connsiteY16" fmla="*/ 631749 h 1520187"/>
                    <a:gd name="connsiteX17" fmla="*/ 1250059 w 1984332"/>
                    <a:gd name="connsiteY17" fmla="*/ 665352 h 1520187"/>
                    <a:gd name="connsiteX18" fmla="*/ 1135806 w 1984332"/>
                    <a:gd name="connsiteY18" fmla="*/ 551100 h 1520187"/>
                    <a:gd name="connsiteX19" fmla="*/ 1209734 w 1984332"/>
                    <a:gd name="connsiteY19" fmla="*/ 443568 h 1520187"/>
                    <a:gd name="connsiteX20" fmla="*/ 1223176 w 1984332"/>
                    <a:gd name="connsiteY20" fmla="*/ 423406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223176 w 1984332"/>
                    <a:gd name="connsiteY23" fmla="*/ 349478 h 1520187"/>
                    <a:gd name="connsiteX24" fmla="*/ 1182852 w 1984332"/>
                    <a:gd name="connsiteY24" fmla="*/ 336037 h 1520187"/>
                    <a:gd name="connsiteX25" fmla="*/ 11828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826652 w 1984332"/>
                    <a:gd name="connsiteY28" fmla="*/ 336037 h 1520187"/>
                    <a:gd name="connsiteX29" fmla="*/ 497335 w 1984332"/>
                    <a:gd name="connsiteY29" fmla="*/ 336037 h 1520187"/>
                    <a:gd name="connsiteX30" fmla="*/ 497335 w 1984332"/>
                    <a:gd name="connsiteY30" fmla="*/ 295712 h 1520187"/>
                    <a:gd name="connsiteX31" fmla="*/ 584705 w 1984332"/>
                    <a:gd name="connsiteY31" fmla="*/ 154577 h 1520187"/>
                    <a:gd name="connsiteX32" fmla="*/ 537660 w 1984332"/>
                    <a:gd name="connsiteY32" fmla="*/ 47045 h 1520187"/>
                    <a:gd name="connsiteX33" fmla="*/ 423407 w 1984332"/>
                    <a:gd name="connsiteY33" fmla="*/ 0 h 1520187"/>
                    <a:gd name="connsiteX34" fmla="*/ 423407 w 1984332"/>
                    <a:gd name="connsiteY34" fmla="*/ 0 h 1520187"/>
                    <a:gd name="connsiteX35" fmla="*/ 268830 w 1984332"/>
                    <a:gd name="connsiteY35" fmla="*/ 154577 h 1520187"/>
                    <a:gd name="connsiteX36" fmla="*/ 349479 w 1984332"/>
                    <a:gd name="connsiteY36" fmla="*/ 288991 h 1520187"/>
                    <a:gd name="connsiteX37" fmla="*/ 349479 w 1984332"/>
                    <a:gd name="connsiteY37" fmla="*/ 329316 h 1520187"/>
                    <a:gd name="connsiteX38" fmla="*/ 20162 w 1984332"/>
                    <a:gd name="connsiteY38" fmla="*/ 336037 h 1520187"/>
                    <a:gd name="connsiteX39" fmla="*/ 0 w 1984332"/>
                    <a:gd name="connsiteY39" fmla="*/ 356199 h 1520187"/>
                    <a:gd name="connsiteX40" fmla="*/ 0 w 1984332"/>
                    <a:gd name="connsiteY40" fmla="*/ 698956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20162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94090 w 1984332"/>
                    <a:gd name="connsiteY46" fmla="*/ 719118 h 1520187"/>
                    <a:gd name="connsiteX47" fmla="*/ 120973 w 1984332"/>
                    <a:gd name="connsiteY47" fmla="*/ 705677 h 1520187"/>
                    <a:gd name="connsiteX48" fmla="*/ 221785 w 1984332"/>
                    <a:gd name="connsiteY48" fmla="*/ 638469 h 1520187"/>
                    <a:gd name="connsiteX49" fmla="*/ 221785 w 1984332"/>
                    <a:gd name="connsiteY49" fmla="*/ 638469 h 1520187"/>
                    <a:gd name="connsiteX50" fmla="*/ 336037 w 1984332"/>
                    <a:gd name="connsiteY50" fmla="*/ 752722 h 1520187"/>
                    <a:gd name="connsiteX51" fmla="*/ 221785 w 1984332"/>
                    <a:gd name="connsiteY51" fmla="*/ 873695 h 1520187"/>
                    <a:gd name="connsiteX52" fmla="*/ 221785 w 1984332"/>
                    <a:gd name="connsiteY52" fmla="*/ 873695 h 1520187"/>
                    <a:gd name="connsiteX53" fmla="*/ 114253 w 1984332"/>
                    <a:gd name="connsiteY53" fmla="*/ 799767 h 1520187"/>
                    <a:gd name="connsiteX54" fmla="*/ 94090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20162 w 1984332"/>
                    <a:gd name="connsiteY59" fmla="*/ 786325 h 1520187"/>
                    <a:gd name="connsiteX60" fmla="*/ 0 w 1984332"/>
                    <a:gd name="connsiteY60" fmla="*/ 806488 h 1520187"/>
                    <a:gd name="connsiteX61" fmla="*/ 0 w 1984332"/>
                    <a:gd name="connsiteY61" fmla="*/ 1162686 h 1520187"/>
                    <a:gd name="connsiteX62" fmla="*/ 20162 w 1984332"/>
                    <a:gd name="connsiteY62" fmla="*/ 1182849 h 1520187"/>
                    <a:gd name="connsiteX63" fmla="*/ 20162 w 1984332"/>
                    <a:gd name="connsiteY63" fmla="*/ 1182849 h 1520187"/>
                    <a:gd name="connsiteX64" fmla="*/ 356200 w 1984332"/>
                    <a:gd name="connsiteY64" fmla="*/ 1182849 h 1520187"/>
                    <a:gd name="connsiteX65" fmla="*/ 356200 w 1984332"/>
                    <a:gd name="connsiteY65" fmla="*/ 1223173 h 1520187"/>
                    <a:gd name="connsiteX66" fmla="*/ 268830 w 1984332"/>
                    <a:gd name="connsiteY66" fmla="*/ 1364308 h 1520187"/>
                    <a:gd name="connsiteX67" fmla="*/ 315875 w 1984332"/>
                    <a:gd name="connsiteY67" fmla="*/ 1471840 h 1520187"/>
                    <a:gd name="connsiteX68" fmla="*/ 423407 w 1984332"/>
                    <a:gd name="connsiteY68" fmla="*/ 1518885 h 1520187"/>
                    <a:gd name="connsiteX69" fmla="*/ 423407 w 1984332"/>
                    <a:gd name="connsiteY69" fmla="*/ 1518885 h 1520187"/>
                    <a:gd name="connsiteX70" fmla="*/ 537660 w 1984332"/>
                    <a:gd name="connsiteY70" fmla="*/ 1478561 h 1520187"/>
                    <a:gd name="connsiteX71" fmla="*/ 584705 w 1984332"/>
                    <a:gd name="connsiteY71" fmla="*/ 1371029 h 1520187"/>
                    <a:gd name="connsiteX72" fmla="*/ 510777 w 1984332"/>
                    <a:gd name="connsiteY72" fmla="*/ 1236614 h 1520187"/>
                    <a:gd name="connsiteX73" fmla="*/ 510777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833373 w 1984332"/>
                    <a:gd name="connsiteY76" fmla="*/ 1189569 h 1520187"/>
                    <a:gd name="connsiteX77" fmla="*/ 1189572 w 1984332"/>
                    <a:gd name="connsiteY77" fmla="*/ 1189569 h 1520187"/>
                    <a:gd name="connsiteX78" fmla="*/ 1203014 w 1984332"/>
                    <a:gd name="connsiteY78" fmla="*/ 1182849 h 1520187"/>
                    <a:gd name="connsiteX79" fmla="*/ 1209734 w 1984332"/>
                    <a:gd name="connsiteY79" fmla="*/ 1169407 h 1520187"/>
                    <a:gd name="connsiteX80" fmla="*/ 1209734 w 1984332"/>
                    <a:gd name="connsiteY80" fmla="*/ 1095479 h 1520187"/>
                    <a:gd name="connsiteX81" fmla="*/ 1196293 w 1984332"/>
                    <a:gd name="connsiteY81" fmla="*/ 1075317 h 1520187"/>
                    <a:gd name="connsiteX82" fmla="*/ 1122365 w 1984332"/>
                    <a:gd name="connsiteY82" fmla="*/ 967785 h 1520187"/>
                    <a:gd name="connsiteX83" fmla="*/ 1155969 w 1984332"/>
                    <a:gd name="connsiteY83" fmla="*/ 887136 h 1520187"/>
                    <a:gd name="connsiteX84" fmla="*/ 1236617 w 1984332"/>
                    <a:gd name="connsiteY84" fmla="*/ 853533 h 1520187"/>
                    <a:gd name="connsiteX85" fmla="*/ 1236617 w 1984332"/>
                    <a:gd name="connsiteY85" fmla="*/ 853533 h 1520187"/>
                    <a:gd name="connsiteX86" fmla="*/ 1317266 w 1984332"/>
                    <a:gd name="connsiteY86" fmla="*/ 887136 h 1520187"/>
                    <a:gd name="connsiteX87" fmla="*/ 1350870 w 1984332"/>
                    <a:gd name="connsiteY87" fmla="*/ 967785 h 1520187"/>
                    <a:gd name="connsiteX88" fmla="*/ 1283663 w 1984332"/>
                    <a:gd name="connsiteY88" fmla="*/ 1068596 h 1520187"/>
                    <a:gd name="connsiteX89" fmla="*/ 1270221 w 1984332"/>
                    <a:gd name="connsiteY89" fmla="*/ 1088758 h 1520187"/>
                    <a:gd name="connsiteX90" fmla="*/ 1270221 w 1984332"/>
                    <a:gd name="connsiteY90" fmla="*/ 1162686 h 1520187"/>
                    <a:gd name="connsiteX91" fmla="*/ 1276942 w 1984332"/>
                    <a:gd name="connsiteY91" fmla="*/ 1176128 h 1520187"/>
                    <a:gd name="connsiteX92" fmla="*/ 1290383 w 1984332"/>
                    <a:gd name="connsiteY92" fmla="*/ 1182849 h 1520187"/>
                    <a:gd name="connsiteX93" fmla="*/ 1290383 w 1984332"/>
                    <a:gd name="connsiteY93" fmla="*/ 1182849 h 1520187"/>
                    <a:gd name="connsiteX94" fmla="*/ 1633141 w 1984332"/>
                    <a:gd name="connsiteY94" fmla="*/ 1182849 h 1520187"/>
                    <a:gd name="connsiteX95" fmla="*/ 1653304 w 1984332"/>
                    <a:gd name="connsiteY95" fmla="*/ 1162686 h 1520187"/>
                    <a:gd name="connsiteX96" fmla="*/ 1653304 w 1984332"/>
                    <a:gd name="connsiteY96" fmla="*/ 833371 h 1520187"/>
                    <a:gd name="connsiteX97" fmla="*/ 1693628 w 1984332"/>
                    <a:gd name="connsiteY97" fmla="*/ 833371 h 1520187"/>
                    <a:gd name="connsiteX98" fmla="*/ 1828043 w 1984332"/>
                    <a:gd name="connsiteY98" fmla="*/ 914019 h 1520187"/>
                    <a:gd name="connsiteX99" fmla="*/ 1828043 w 1984332"/>
                    <a:gd name="connsiteY99" fmla="*/ 914019 h 1520187"/>
                    <a:gd name="connsiteX100" fmla="*/ 1935575 w 1984332"/>
                    <a:gd name="connsiteY100" fmla="*/ 866974 h 1520187"/>
                    <a:gd name="connsiteX101" fmla="*/ 1982620 w 1984332"/>
                    <a:gd name="connsiteY101" fmla="*/ 759443 h 1520187"/>
                    <a:gd name="connsiteX102" fmla="*/ 1949017 w 1984332"/>
                    <a:gd name="connsiteY102" fmla="*/ 645190 h 1520187"/>
                    <a:gd name="connsiteX103" fmla="*/ 483894 w 1984332"/>
                    <a:gd name="connsiteY103" fmla="*/ 1142524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162686 h 1520187"/>
                    <a:gd name="connsiteX107" fmla="*/ 463732 w 1984332"/>
                    <a:gd name="connsiteY107" fmla="*/ 1236614 h 1520187"/>
                    <a:gd name="connsiteX108" fmla="*/ 463732 w 1984332"/>
                    <a:gd name="connsiteY108" fmla="*/ 1236614 h 1520187"/>
                    <a:gd name="connsiteX109" fmla="*/ 477173 w 1984332"/>
                    <a:gd name="connsiteY109" fmla="*/ 1263497 h 1520187"/>
                    <a:gd name="connsiteX110" fmla="*/ 544381 w 1984332"/>
                    <a:gd name="connsiteY110" fmla="*/ 1364308 h 1520187"/>
                    <a:gd name="connsiteX111" fmla="*/ 510777 w 1984332"/>
                    <a:gd name="connsiteY111" fmla="*/ 1444957 h 1520187"/>
                    <a:gd name="connsiteX112" fmla="*/ 423407 w 1984332"/>
                    <a:gd name="connsiteY112" fmla="*/ 1478561 h 1520187"/>
                    <a:gd name="connsiteX113" fmla="*/ 423407 w 1984332"/>
                    <a:gd name="connsiteY113" fmla="*/ 1478561 h 1520187"/>
                    <a:gd name="connsiteX114" fmla="*/ 342758 w 1984332"/>
                    <a:gd name="connsiteY114" fmla="*/ 1444957 h 1520187"/>
                    <a:gd name="connsiteX115" fmla="*/ 309154 w 1984332"/>
                    <a:gd name="connsiteY115" fmla="*/ 1364308 h 1520187"/>
                    <a:gd name="connsiteX116" fmla="*/ 383083 w 1984332"/>
                    <a:gd name="connsiteY116" fmla="*/ 1256777 h 1520187"/>
                    <a:gd name="connsiteX117" fmla="*/ 396524 w 1984332"/>
                    <a:gd name="connsiteY117" fmla="*/ 1236614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96524 w 1984332"/>
                    <a:gd name="connsiteY120" fmla="*/ 1162686 h 1520187"/>
                    <a:gd name="connsiteX121" fmla="*/ 376362 w 1984332"/>
                    <a:gd name="connsiteY121" fmla="*/ 1142524 h 1520187"/>
                    <a:gd name="connsiteX122" fmla="*/ 376362 w 1984332"/>
                    <a:gd name="connsiteY122" fmla="*/ 1142524 h 1520187"/>
                    <a:gd name="connsiteX123" fmla="*/ 40324 w 1984332"/>
                    <a:gd name="connsiteY123" fmla="*/ 1142524 h 1520187"/>
                    <a:gd name="connsiteX124" fmla="*/ 40324 w 1984332"/>
                    <a:gd name="connsiteY124" fmla="*/ 833371 h 1520187"/>
                    <a:gd name="connsiteX125" fmla="*/ 80649 w 1984332"/>
                    <a:gd name="connsiteY125" fmla="*/ 833371 h 1520187"/>
                    <a:gd name="connsiteX126" fmla="*/ 221785 w 1984332"/>
                    <a:gd name="connsiteY126" fmla="*/ 920740 h 1520187"/>
                    <a:gd name="connsiteX127" fmla="*/ 221785 w 1984332"/>
                    <a:gd name="connsiteY127" fmla="*/ 920740 h 1520187"/>
                    <a:gd name="connsiteX128" fmla="*/ 376362 w 1984332"/>
                    <a:gd name="connsiteY128" fmla="*/ 766163 h 1520187"/>
                    <a:gd name="connsiteX129" fmla="*/ 221785 w 1984332"/>
                    <a:gd name="connsiteY129" fmla="*/ 604866 h 1520187"/>
                    <a:gd name="connsiteX130" fmla="*/ 221785 w 1984332"/>
                    <a:gd name="connsiteY130" fmla="*/ 604866 h 1520187"/>
                    <a:gd name="connsiteX131" fmla="*/ 87370 w 1984332"/>
                    <a:gd name="connsiteY131" fmla="*/ 678794 h 1520187"/>
                    <a:gd name="connsiteX132" fmla="*/ 40324 w 1984332"/>
                    <a:gd name="connsiteY132" fmla="*/ 678794 h 1520187"/>
                    <a:gd name="connsiteX133" fmla="*/ 40324 w 1984332"/>
                    <a:gd name="connsiteY133" fmla="*/ 376361 h 1520187"/>
                    <a:gd name="connsiteX134" fmla="*/ 369641 w 1984332"/>
                    <a:gd name="connsiteY134" fmla="*/ 376361 h 1520187"/>
                    <a:gd name="connsiteX135" fmla="*/ 383083 w 1984332"/>
                    <a:gd name="connsiteY135" fmla="*/ 369640 h 1520187"/>
                    <a:gd name="connsiteX136" fmla="*/ 389803 w 1984332"/>
                    <a:gd name="connsiteY136" fmla="*/ 356199 h 1520187"/>
                    <a:gd name="connsiteX137" fmla="*/ 389803 w 1984332"/>
                    <a:gd name="connsiteY137" fmla="*/ 275550 h 1520187"/>
                    <a:gd name="connsiteX138" fmla="*/ 376362 w 1984332"/>
                    <a:gd name="connsiteY138" fmla="*/ 255388 h 1520187"/>
                    <a:gd name="connsiteX139" fmla="*/ 309154 w 1984332"/>
                    <a:gd name="connsiteY139" fmla="*/ 154577 h 1520187"/>
                    <a:gd name="connsiteX140" fmla="*/ 423407 w 1984332"/>
                    <a:gd name="connsiteY140" fmla="*/ 40324 h 1520187"/>
                    <a:gd name="connsiteX141" fmla="*/ 504056 w 1984332"/>
                    <a:gd name="connsiteY141" fmla="*/ 73928 h 1520187"/>
                    <a:gd name="connsiteX142" fmla="*/ 537660 w 1984332"/>
                    <a:gd name="connsiteY142" fmla="*/ 154577 h 1520187"/>
                    <a:gd name="connsiteX143" fmla="*/ 470452 w 1984332"/>
                    <a:gd name="connsiteY143" fmla="*/ 262109 h 1520187"/>
                    <a:gd name="connsiteX144" fmla="*/ 457011 w 1984332"/>
                    <a:gd name="connsiteY144" fmla="*/ 282271 h 1520187"/>
                    <a:gd name="connsiteX145" fmla="*/ 457011 w 1984332"/>
                    <a:gd name="connsiteY145" fmla="*/ 362919 h 1520187"/>
                    <a:gd name="connsiteX146" fmla="*/ 477173 w 1984332"/>
                    <a:gd name="connsiteY146" fmla="*/ 383082 h 1520187"/>
                    <a:gd name="connsiteX147" fmla="*/ 477173 w 1984332"/>
                    <a:gd name="connsiteY147" fmla="*/ 383082 h 1520187"/>
                    <a:gd name="connsiteX148" fmla="*/ 806490 w 1984332"/>
                    <a:gd name="connsiteY148" fmla="*/ 383082 h 1520187"/>
                    <a:gd name="connsiteX149" fmla="*/ 806490 w 1984332"/>
                    <a:gd name="connsiteY149" fmla="*/ 631749 h 1520187"/>
                    <a:gd name="connsiteX150" fmla="*/ 806490 w 1984332"/>
                    <a:gd name="connsiteY150" fmla="*/ 685515 h 1520187"/>
                    <a:gd name="connsiteX151" fmla="*/ 766165 w 1984332"/>
                    <a:gd name="connsiteY151" fmla="*/ 685515 h 1520187"/>
                    <a:gd name="connsiteX152" fmla="*/ 631750 w 1984332"/>
                    <a:gd name="connsiteY152" fmla="*/ 604866 h 1520187"/>
                    <a:gd name="connsiteX153" fmla="*/ 631750 w 1984332"/>
                    <a:gd name="connsiteY153" fmla="*/ 604866 h 1520187"/>
                    <a:gd name="connsiteX154" fmla="*/ 517497 w 1984332"/>
                    <a:gd name="connsiteY154" fmla="*/ 651911 h 1520187"/>
                    <a:gd name="connsiteX155" fmla="*/ 470452 w 1984332"/>
                    <a:gd name="connsiteY155" fmla="*/ 759443 h 1520187"/>
                    <a:gd name="connsiteX156" fmla="*/ 517497 w 1984332"/>
                    <a:gd name="connsiteY156" fmla="*/ 866974 h 1520187"/>
                    <a:gd name="connsiteX157" fmla="*/ 625029 w 1984332"/>
                    <a:gd name="connsiteY157" fmla="*/ 914019 h 1520187"/>
                    <a:gd name="connsiteX158" fmla="*/ 625029 w 1984332"/>
                    <a:gd name="connsiteY158" fmla="*/ 914019 h 1520187"/>
                    <a:gd name="connsiteX159" fmla="*/ 766165 w 1984332"/>
                    <a:gd name="connsiteY159" fmla="*/ 826650 h 1520187"/>
                    <a:gd name="connsiteX160" fmla="*/ 799769 w 1984332"/>
                    <a:gd name="connsiteY160" fmla="*/ 826650 h 1520187"/>
                    <a:gd name="connsiteX161" fmla="*/ 799769 w 1984332"/>
                    <a:gd name="connsiteY161" fmla="*/ 1135803 h 1520187"/>
                    <a:gd name="connsiteX162" fmla="*/ 483894 w 1984332"/>
                    <a:gd name="connsiteY162" fmla="*/ 1142524 h 1520187"/>
                    <a:gd name="connsiteX163" fmla="*/ 1915413 w 1984332"/>
                    <a:gd name="connsiteY163" fmla="*/ 840091 h 1520187"/>
                    <a:gd name="connsiteX164" fmla="*/ 1834764 w 1984332"/>
                    <a:gd name="connsiteY164" fmla="*/ 873695 h 1520187"/>
                    <a:gd name="connsiteX165" fmla="*/ 1834764 w 1984332"/>
                    <a:gd name="connsiteY165" fmla="*/ 873695 h 1520187"/>
                    <a:gd name="connsiteX166" fmla="*/ 1733953 w 1984332"/>
                    <a:gd name="connsiteY166" fmla="*/ 806488 h 1520187"/>
                    <a:gd name="connsiteX167" fmla="*/ 1713790 w 1984332"/>
                    <a:gd name="connsiteY167" fmla="*/ 793046 h 1520187"/>
                    <a:gd name="connsiteX168" fmla="*/ 1713790 w 1984332"/>
                    <a:gd name="connsiteY168" fmla="*/ 793046 h 1520187"/>
                    <a:gd name="connsiteX169" fmla="*/ 1633141 w 1984332"/>
                    <a:gd name="connsiteY169" fmla="*/ 793046 h 1520187"/>
                    <a:gd name="connsiteX170" fmla="*/ 1612979 w 1984332"/>
                    <a:gd name="connsiteY170" fmla="*/ 813208 h 1520187"/>
                    <a:gd name="connsiteX171" fmla="*/ 1612979 w 1984332"/>
                    <a:gd name="connsiteY171" fmla="*/ 1142524 h 1520187"/>
                    <a:gd name="connsiteX172" fmla="*/ 1310546 w 1984332"/>
                    <a:gd name="connsiteY172" fmla="*/ 1142524 h 1520187"/>
                    <a:gd name="connsiteX173" fmla="*/ 1310546 w 1984332"/>
                    <a:gd name="connsiteY173" fmla="*/ 1102200 h 1520187"/>
                    <a:gd name="connsiteX174" fmla="*/ 1384474 w 1984332"/>
                    <a:gd name="connsiteY174" fmla="*/ 967785 h 1520187"/>
                    <a:gd name="connsiteX175" fmla="*/ 1337429 w 1984332"/>
                    <a:gd name="connsiteY175" fmla="*/ 860254 h 1520187"/>
                    <a:gd name="connsiteX176" fmla="*/ 1229897 w 1984332"/>
                    <a:gd name="connsiteY176" fmla="*/ 813208 h 1520187"/>
                    <a:gd name="connsiteX177" fmla="*/ 1229897 w 1984332"/>
                    <a:gd name="connsiteY177" fmla="*/ 813208 h 1520187"/>
                    <a:gd name="connsiteX178" fmla="*/ 1122365 w 1984332"/>
                    <a:gd name="connsiteY178" fmla="*/ 860254 h 1520187"/>
                    <a:gd name="connsiteX179" fmla="*/ 1075320 w 1984332"/>
                    <a:gd name="connsiteY179" fmla="*/ 967785 h 1520187"/>
                    <a:gd name="connsiteX180" fmla="*/ 1162689 w 1984332"/>
                    <a:gd name="connsiteY180" fmla="*/ 1108921 h 1520187"/>
                    <a:gd name="connsiteX181" fmla="*/ 1162689 w 1984332"/>
                    <a:gd name="connsiteY181" fmla="*/ 1142524 h 1520187"/>
                    <a:gd name="connsiteX182" fmla="*/ 853535 w 1984332"/>
                    <a:gd name="connsiteY182" fmla="*/ 1142524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19929 h 1520187"/>
                    <a:gd name="connsiteX185" fmla="*/ 853535 w 1984332"/>
                    <a:gd name="connsiteY185" fmla="*/ 806488 h 1520187"/>
                    <a:gd name="connsiteX186" fmla="*/ 846814 w 1984332"/>
                    <a:gd name="connsiteY186" fmla="*/ 793046 h 1520187"/>
                    <a:gd name="connsiteX187" fmla="*/ 833373 w 1984332"/>
                    <a:gd name="connsiteY187" fmla="*/ 786325 h 1520187"/>
                    <a:gd name="connsiteX188" fmla="*/ 833373 w 1984332"/>
                    <a:gd name="connsiteY188" fmla="*/ 786325 h 1520187"/>
                    <a:gd name="connsiteX189" fmla="*/ 759444 w 1984332"/>
                    <a:gd name="connsiteY189" fmla="*/ 786325 h 1520187"/>
                    <a:gd name="connsiteX190" fmla="*/ 739282 w 1984332"/>
                    <a:gd name="connsiteY190" fmla="*/ 799767 h 1520187"/>
                    <a:gd name="connsiteX191" fmla="*/ 631750 w 1984332"/>
                    <a:gd name="connsiteY191" fmla="*/ 873695 h 1520187"/>
                    <a:gd name="connsiteX192" fmla="*/ 631750 w 1984332"/>
                    <a:gd name="connsiteY192" fmla="*/ 873695 h 1520187"/>
                    <a:gd name="connsiteX193" fmla="*/ 551101 w 1984332"/>
                    <a:gd name="connsiteY193" fmla="*/ 840091 h 1520187"/>
                    <a:gd name="connsiteX194" fmla="*/ 517497 w 1984332"/>
                    <a:gd name="connsiteY194" fmla="*/ 759443 h 1520187"/>
                    <a:gd name="connsiteX195" fmla="*/ 551101 w 1984332"/>
                    <a:gd name="connsiteY195" fmla="*/ 678794 h 1520187"/>
                    <a:gd name="connsiteX196" fmla="*/ 631750 w 1984332"/>
                    <a:gd name="connsiteY196" fmla="*/ 645190 h 1520187"/>
                    <a:gd name="connsiteX197" fmla="*/ 631750 w 1984332"/>
                    <a:gd name="connsiteY197" fmla="*/ 645190 h 1520187"/>
                    <a:gd name="connsiteX198" fmla="*/ 732561 w 1984332"/>
                    <a:gd name="connsiteY198" fmla="*/ 712397 h 1520187"/>
                    <a:gd name="connsiteX199" fmla="*/ 752724 w 1984332"/>
                    <a:gd name="connsiteY199" fmla="*/ 725839 h 1520187"/>
                    <a:gd name="connsiteX200" fmla="*/ 752724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26652 w 1984332"/>
                    <a:gd name="connsiteY202" fmla="*/ 725839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0093 w 1984332"/>
                    <a:gd name="connsiteY205" fmla="*/ 719118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705677 h 1520187"/>
                    <a:gd name="connsiteX210" fmla="*/ 846814 w 1984332"/>
                    <a:gd name="connsiteY210" fmla="*/ 383082 h 1520187"/>
                    <a:gd name="connsiteX211" fmla="*/ 1155969 w 1984332"/>
                    <a:gd name="connsiteY211" fmla="*/ 383082 h 1520187"/>
                    <a:gd name="connsiteX212" fmla="*/ 1155969 w 1984332"/>
                    <a:gd name="connsiteY212" fmla="*/ 423406 h 1520187"/>
                    <a:gd name="connsiteX213" fmla="*/ 1075320 w 1984332"/>
                    <a:gd name="connsiteY213" fmla="*/ 557821 h 1520187"/>
                    <a:gd name="connsiteX214" fmla="*/ 1229897 w 1984332"/>
                    <a:gd name="connsiteY214" fmla="*/ 712397 h 1520187"/>
                    <a:gd name="connsiteX215" fmla="*/ 1220372 w 1984332"/>
                    <a:gd name="connsiteY215" fmla="*/ 729066 h 1520187"/>
                    <a:gd name="connsiteX216" fmla="*/ 1351716 w 1984332"/>
                    <a:gd name="connsiteY216" fmla="*/ 670115 h 1520187"/>
                    <a:gd name="connsiteX217" fmla="*/ 1396380 w 1984332"/>
                    <a:gd name="connsiteY217" fmla="*/ 553058 h 1520187"/>
                    <a:gd name="connsiteX218" fmla="*/ 1310546 w 1984332"/>
                    <a:gd name="connsiteY218" fmla="*/ 423406 h 1520187"/>
                    <a:gd name="connsiteX219" fmla="*/ 1310546 w 1984332"/>
                    <a:gd name="connsiteY219" fmla="*/ 376361 h 1520187"/>
                    <a:gd name="connsiteX220" fmla="*/ 1612979 w 1984332"/>
                    <a:gd name="connsiteY220" fmla="*/ 376361 h 1520187"/>
                    <a:gd name="connsiteX221" fmla="*/ 1612979 w 1984332"/>
                    <a:gd name="connsiteY221" fmla="*/ 705677 h 1520187"/>
                    <a:gd name="connsiteX222" fmla="*/ 1633141 w 1984332"/>
                    <a:gd name="connsiteY222" fmla="*/ 725839 h 1520187"/>
                    <a:gd name="connsiteX223" fmla="*/ 1633141 w 1984332"/>
                    <a:gd name="connsiteY223" fmla="*/ 725839 h 1520187"/>
                    <a:gd name="connsiteX224" fmla="*/ 1713790 w 1984332"/>
                    <a:gd name="connsiteY224" fmla="*/ 725839 h 1520187"/>
                    <a:gd name="connsiteX225" fmla="*/ 1733953 w 1984332"/>
                    <a:gd name="connsiteY225" fmla="*/ 712397 h 1520187"/>
                    <a:gd name="connsiteX226" fmla="*/ 1834764 w 1984332"/>
                    <a:gd name="connsiteY226" fmla="*/ 645190 h 1520187"/>
                    <a:gd name="connsiteX227" fmla="*/ 1834764 w 1984332"/>
                    <a:gd name="connsiteY227" fmla="*/ 645190 h 1520187"/>
                    <a:gd name="connsiteX228" fmla="*/ 1915413 w 1984332"/>
                    <a:gd name="connsiteY228" fmla="*/ 678794 h 1520187"/>
                    <a:gd name="connsiteX229" fmla="*/ 1949017 w 1984332"/>
                    <a:gd name="connsiteY229" fmla="*/ 759443 h 1520187"/>
                    <a:gd name="connsiteX230" fmla="*/ 1915413 w 1984332"/>
                    <a:gd name="connsiteY230" fmla="*/ 840091 h 1520187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83663 w 1984332"/>
                    <a:gd name="connsiteY13" fmla="*/ 423406 h 1520187"/>
                    <a:gd name="connsiteX14" fmla="*/ 1297104 w 1984332"/>
                    <a:gd name="connsiteY14" fmla="*/ 450289 h 1520187"/>
                    <a:gd name="connsiteX15" fmla="*/ 1364312 w 1984332"/>
                    <a:gd name="connsiteY15" fmla="*/ 551100 h 1520187"/>
                    <a:gd name="connsiteX16" fmla="*/ 1330708 w 1984332"/>
                    <a:gd name="connsiteY16" fmla="*/ 631749 h 1520187"/>
                    <a:gd name="connsiteX17" fmla="*/ 1250059 w 1984332"/>
                    <a:gd name="connsiteY17" fmla="*/ 665352 h 1520187"/>
                    <a:gd name="connsiteX18" fmla="*/ 1135806 w 1984332"/>
                    <a:gd name="connsiteY18" fmla="*/ 551100 h 1520187"/>
                    <a:gd name="connsiteX19" fmla="*/ 1209734 w 1984332"/>
                    <a:gd name="connsiteY19" fmla="*/ 443568 h 1520187"/>
                    <a:gd name="connsiteX20" fmla="*/ 1223176 w 1984332"/>
                    <a:gd name="connsiteY20" fmla="*/ 423406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223176 w 1984332"/>
                    <a:gd name="connsiteY23" fmla="*/ 349478 h 1520187"/>
                    <a:gd name="connsiteX24" fmla="*/ 1182852 w 1984332"/>
                    <a:gd name="connsiteY24" fmla="*/ 336037 h 1520187"/>
                    <a:gd name="connsiteX25" fmla="*/ 11828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826652 w 1984332"/>
                    <a:gd name="connsiteY28" fmla="*/ 336037 h 1520187"/>
                    <a:gd name="connsiteX29" fmla="*/ 497335 w 1984332"/>
                    <a:gd name="connsiteY29" fmla="*/ 336037 h 1520187"/>
                    <a:gd name="connsiteX30" fmla="*/ 497335 w 1984332"/>
                    <a:gd name="connsiteY30" fmla="*/ 295712 h 1520187"/>
                    <a:gd name="connsiteX31" fmla="*/ 584705 w 1984332"/>
                    <a:gd name="connsiteY31" fmla="*/ 154577 h 1520187"/>
                    <a:gd name="connsiteX32" fmla="*/ 537660 w 1984332"/>
                    <a:gd name="connsiteY32" fmla="*/ 47045 h 1520187"/>
                    <a:gd name="connsiteX33" fmla="*/ 423407 w 1984332"/>
                    <a:gd name="connsiteY33" fmla="*/ 0 h 1520187"/>
                    <a:gd name="connsiteX34" fmla="*/ 423407 w 1984332"/>
                    <a:gd name="connsiteY34" fmla="*/ 0 h 1520187"/>
                    <a:gd name="connsiteX35" fmla="*/ 268830 w 1984332"/>
                    <a:gd name="connsiteY35" fmla="*/ 154577 h 1520187"/>
                    <a:gd name="connsiteX36" fmla="*/ 349479 w 1984332"/>
                    <a:gd name="connsiteY36" fmla="*/ 288991 h 1520187"/>
                    <a:gd name="connsiteX37" fmla="*/ 349479 w 1984332"/>
                    <a:gd name="connsiteY37" fmla="*/ 329316 h 1520187"/>
                    <a:gd name="connsiteX38" fmla="*/ 20162 w 1984332"/>
                    <a:gd name="connsiteY38" fmla="*/ 336037 h 1520187"/>
                    <a:gd name="connsiteX39" fmla="*/ 0 w 1984332"/>
                    <a:gd name="connsiteY39" fmla="*/ 356199 h 1520187"/>
                    <a:gd name="connsiteX40" fmla="*/ 0 w 1984332"/>
                    <a:gd name="connsiteY40" fmla="*/ 698956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20162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94090 w 1984332"/>
                    <a:gd name="connsiteY46" fmla="*/ 719118 h 1520187"/>
                    <a:gd name="connsiteX47" fmla="*/ 120973 w 1984332"/>
                    <a:gd name="connsiteY47" fmla="*/ 705677 h 1520187"/>
                    <a:gd name="connsiteX48" fmla="*/ 221785 w 1984332"/>
                    <a:gd name="connsiteY48" fmla="*/ 638469 h 1520187"/>
                    <a:gd name="connsiteX49" fmla="*/ 221785 w 1984332"/>
                    <a:gd name="connsiteY49" fmla="*/ 638469 h 1520187"/>
                    <a:gd name="connsiteX50" fmla="*/ 336037 w 1984332"/>
                    <a:gd name="connsiteY50" fmla="*/ 752722 h 1520187"/>
                    <a:gd name="connsiteX51" fmla="*/ 221785 w 1984332"/>
                    <a:gd name="connsiteY51" fmla="*/ 873695 h 1520187"/>
                    <a:gd name="connsiteX52" fmla="*/ 221785 w 1984332"/>
                    <a:gd name="connsiteY52" fmla="*/ 873695 h 1520187"/>
                    <a:gd name="connsiteX53" fmla="*/ 114253 w 1984332"/>
                    <a:gd name="connsiteY53" fmla="*/ 799767 h 1520187"/>
                    <a:gd name="connsiteX54" fmla="*/ 94090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20162 w 1984332"/>
                    <a:gd name="connsiteY59" fmla="*/ 786325 h 1520187"/>
                    <a:gd name="connsiteX60" fmla="*/ 0 w 1984332"/>
                    <a:gd name="connsiteY60" fmla="*/ 806488 h 1520187"/>
                    <a:gd name="connsiteX61" fmla="*/ 0 w 1984332"/>
                    <a:gd name="connsiteY61" fmla="*/ 1162686 h 1520187"/>
                    <a:gd name="connsiteX62" fmla="*/ 20162 w 1984332"/>
                    <a:gd name="connsiteY62" fmla="*/ 1182849 h 1520187"/>
                    <a:gd name="connsiteX63" fmla="*/ 20162 w 1984332"/>
                    <a:gd name="connsiteY63" fmla="*/ 1182849 h 1520187"/>
                    <a:gd name="connsiteX64" fmla="*/ 356200 w 1984332"/>
                    <a:gd name="connsiteY64" fmla="*/ 1182849 h 1520187"/>
                    <a:gd name="connsiteX65" fmla="*/ 356200 w 1984332"/>
                    <a:gd name="connsiteY65" fmla="*/ 1223173 h 1520187"/>
                    <a:gd name="connsiteX66" fmla="*/ 268830 w 1984332"/>
                    <a:gd name="connsiteY66" fmla="*/ 1364308 h 1520187"/>
                    <a:gd name="connsiteX67" fmla="*/ 315875 w 1984332"/>
                    <a:gd name="connsiteY67" fmla="*/ 1471840 h 1520187"/>
                    <a:gd name="connsiteX68" fmla="*/ 423407 w 1984332"/>
                    <a:gd name="connsiteY68" fmla="*/ 1518885 h 1520187"/>
                    <a:gd name="connsiteX69" fmla="*/ 423407 w 1984332"/>
                    <a:gd name="connsiteY69" fmla="*/ 1518885 h 1520187"/>
                    <a:gd name="connsiteX70" fmla="*/ 537660 w 1984332"/>
                    <a:gd name="connsiteY70" fmla="*/ 1478561 h 1520187"/>
                    <a:gd name="connsiteX71" fmla="*/ 584705 w 1984332"/>
                    <a:gd name="connsiteY71" fmla="*/ 1371029 h 1520187"/>
                    <a:gd name="connsiteX72" fmla="*/ 510777 w 1984332"/>
                    <a:gd name="connsiteY72" fmla="*/ 1236614 h 1520187"/>
                    <a:gd name="connsiteX73" fmla="*/ 510777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833373 w 1984332"/>
                    <a:gd name="connsiteY76" fmla="*/ 1189569 h 1520187"/>
                    <a:gd name="connsiteX77" fmla="*/ 1189572 w 1984332"/>
                    <a:gd name="connsiteY77" fmla="*/ 1189569 h 1520187"/>
                    <a:gd name="connsiteX78" fmla="*/ 1203014 w 1984332"/>
                    <a:gd name="connsiteY78" fmla="*/ 1182849 h 1520187"/>
                    <a:gd name="connsiteX79" fmla="*/ 1209734 w 1984332"/>
                    <a:gd name="connsiteY79" fmla="*/ 1169407 h 1520187"/>
                    <a:gd name="connsiteX80" fmla="*/ 1209734 w 1984332"/>
                    <a:gd name="connsiteY80" fmla="*/ 1095479 h 1520187"/>
                    <a:gd name="connsiteX81" fmla="*/ 1196293 w 1984332"/>
                    <a:gd name="connsiteY81" fmla="*/ 1075317 h 1520187"/>
                    <a:gd name="connsiteX82" fmla="*/ 1122365 w 1984332"/>
                    <a:gd name="connsiteY82" fmla="*/ 967785 h 1520187"/>
                    <a:gd name="connsiteX83" fmla="*/ 1155969 w 1984332"/>
                    <a:gd name="connsiteY83" fmla="*/ 887136 h 1520187"/>
                    <a:gd name="connsiteX84" fmla="*/ 1236617 w 1984332"/>
                    <a:gd name="connsiteY84" fmla="*/ 853533 h 1520187"/>
                    <a:gd name="connsiteX85" fmla="*/ 1236617 w 1984332"/>
                    <a:gd name="connsiteY85" fmla="*/ 853533 h 1520187"/>
                    <a:gd name="connsiteX86" fmla="*/ 1317266 w 1984332"/>
                    <a:gd name="connsiteY86" fmla="*/ 887136 h 1520187"/>
                    <a:gd name="connsiteX87" fmla="*/ 1350870 w 1984332"/>
                    <a:gd name="connsiteY87" fmla="*/ 967785 h 1520187"/>
                    <a:gd name="connsiteX88" fmla="*/ 1283663 w 1984332"/>
                    <a:gd name="connsiteY88" fmla="*/ 1068596 h 1520187"/>
                    <a:gd name="connsiteX89" fmla="*/ 1270221 w 1984332"/>
                    <a:gd name="connsiteY89" fmla="*/ 1088758 h 1520187"/>
                    <a:gd name="connsiteX90" fmla="*/ 1270221 w 1984332"/>
                    <a:gd name="connsiteY90" fmla="*/ 1162686 h 1520187"/>
                    <a:gd name="connsiteX91" fmla="*/ 1276942 w 1984332"/>
                    <a:gd name="connsiteY91" fmla="*/ 1176128 h 1520187"/>
                    <a:gd name="connsiteX92" fmla="*/ 1290383 w 1984332"/>
                    <a:gd name="connsiteY92" fmla="*/ 1182849 h 1520187"/>
                    <a:gd name="connsiteX93" fmla="*/ 1290383 w 1984332"/>
                    <a:gd name="connsiteY93" fmla="*/ 1182849 h 1520187"/>
                    <a:gd name="connsiteX94" fmla="*/ 1633141 w 1984332"/>
                    <a:gd name="connsiteY94" fmla="*/ 1182849 h 1520187"/>
                    <a:gd name="connsiteX95" fmla="*/ 1653304 w 1984332"/>
                    <a:gd name="connsiteY95" fmla="*/ 1162686 h 1520187"/>
                    <a:gd name="connsiteX96" fmla="*/ 1653304 w 1984332"/>
                    <a:gd name="connsiteY96" fmla="*/ 833371 h 1520187"/>
                    <a:gd name="connsiteX97" fmla="*/ 1693628 w 1984332"/>
                    <a:gd name="connsiteY97" fmla="*/ 833371 h 1520187"/>
                    <a:gd name="connsiteX98" fmla="*/ 1828043 w 1984332"/>
                    <a:gd name="connsiteY98" fmla="*/ 914019 h 1520187"/>
                    <a:gd name="connsiteX99" fmla="*/ 1828043 w 1984332"/>
                    <a:gd name="connsiteY99" fmla="*/ 914019 h 1520187"/>
                    <a:gd name="connsiteX100" fmla="*/ 1935575 w 1984332"/>
                    <a:gd name="connsiteY100" fmla="*/ 866974 h 1520187"/>
                    <a:gd name="connsiteX101" fmla="*/ 1982620 w 1984332"/>
                    <a:gd name="connsiteY101" fmla="*/ 759443 h 1520187"/>
                    <a:gd name="connsiteX102" fmla="*/ 1949017 w 1984332"/>
                    <a:gd name="connsiteY102" fmla="*/ 645190 h 1520187"/>
                    <a:gd name="connsiteX103" fmla="*/ 483894 w 1984332"/>
                    <a:gd name="connsiteY103" fmla="*/ 1142524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162686 h 1520187"/>
                    <a:gd name="connsiteX107" fmla="*/ 463732 w 1984332"/>
                    <a:gd name="connsiteY107" fmla="*/ 1236614 h 1520187"/>
                    <a:gd name="connsiteX108" fmla="*/ 463732 w 1984332"/>
                    <a:gd name="connsiteY108" fmla="*/ 1236614 h 1520187"/>
                    <a:gd name="connsiteX109" fmla="*/ 477173 w 1984332"/>
                    <a:gd name="connsiteY109" fmla="*/ 1263497 h 1520187"/>
                    <a:gd name="connsiteX110" fmla="*/ 544381 w 1984332"/>
                    <a:gd name="connsiteY110" fmla="*/ 1364308 h 1520187"/>
                    <a:gd name="connsiteX111" fmla="*/ 510777 w 1984332"/>
                    <a:gd name="connsiteY111" fmla="*/ 1444957 h 1520187"/>
                    <a:gd name="connsiteX112" fmla="*/ 423407 w 1984332"/>
                    <a:gd name="connsiteY112" fmla="*/ 1478561 h 1520187"/>
                    <a:gd name="connsiteX113" fmla="*/ 423407 w 1984332"/>
                    <a:gd name="connsiteY113" fmla="*/ 1478561 h 1520187"/>
                    <a:gd name="connsiteX114" fmla="*/ 342758 w 1984332"/>
                    <a:gd name="connsiteY114" fmla="*/ 1444957 h 1520187"/>
                    <a:gd name="connsiteX115" fmla="*/ 309154 w 1984332"/>
                    <a:gd name="connsiteY115" fmla="*/ 1364308 h 1520187"/>
                    <a:gd name="connsiteX116" fmla="*/ 383083 w 1984332"/>
                    <a:gd name="connsiteY116" fmla="*/ 1256777 h 1520187"/>
                    <a:gd name="connsiteX117" fmla="*/ 396524 w 1984332"/>
                    <a:gd name="connsiteY117" fmla="*/ 1236614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96524 w 1984332"/>
                    <a:gd name="connsiteY120" fmla="*/ 1162686 h 1520187"/>
                    <a:gd name="connsiteX121" fmla="*/ 376362 w 1984332"/>
                    <a:gd name="connsiteY121" fmla="*/ 1142524 h 1520187"/>
                    <a:gd name="connsiteX122" fmla="*/ 376362 w 1984332"/>
                    <a:gd name="connsiteY122" fmla="*/ 1142524 h 1520187"/>
                    <a:gd name="connsiteX123" fmla="*/ 40324 w 1984332"/>
                    <a:gd name="connsiteY123" fmla="*/ 1142524 h 1520187"/>
                    <a:gd name="connsiteX124" fmla="*/ 40324 w 1984332"/>
                    <a:gd name="connsiteY124" fmla="*/ 833371 h 1520187"/>
                    <a:gd name="connsiteX125" fmla="*/ 80649 w 1984332"/>
                    <a:gd name="connsiteY125" fmla="*/ 833371 h 1520187"/>
                    <a:gd name="connsiteX126" fmla="*/ 221785 w 1984332"/>
                    <a:gd name="connsiteY126" fmla="*/ 920740 h 1520187"/>
                    <a:gd name="connsiteX127" fmla="*/ 221785 w 1984332"/>
                    <a:gd name="connsiteY127" fmla="*/ 920740 h 1520187"/>
                    <a:gd name="connsiteX128" fmla="*/ 376362 w 1984332"/>
                    <a:gd name="connsiteY128" fmla="*/ 766163 h 1520187"/>
                    <a:gd name="connsiteX129" fmla="*/ 221785 w 1984332"/>
                    <a:gd name="connsiteY129" fmla="*/ 604866 h 1520187"/>
                    <a:gd name="connsiteX130" fmla="*/ 221785 w 1984332"/>
                    <a:gd name="connsiteY130" fmla="*/ 604866 h 1520187"/>
                    <a:gd name="connsiteX131" fmla="*/ 87370 w 1984332"/>
                    <a:gd name="connsiteY131" fmla="*/ 678794 h 1520187"/>
                    <a:gd name="connsiteX132" fmla="*/ 40324 w 1984332"/>
                    <a:gd name="connsiteY132" fmla="*/ 678794 h 1520187"/>
                    <a:gd name="connsiteX133" fmla="*/ 40324 w 1984332"/>
                    <a:gd name="connsiteY133" fmla="*/ 376361 h 1520187"/>
                    <a:gd name="connsiteX134" fmla="*/ 369641 w 1984332"/>
                    <a:gd name="connsiteY134" fmla="*/ 376361 h 1520187"/>
                    <a:gd name="connsiteX135" fmla="*/ 383083 w 1984332"/>
                    <a:gd name="connsiteY135" fmla="*/ 369640 h 1520187"/>
                    <a:gd name="connsiteX136" fmla="*/ 389803 w 1984332"/>
                    <a:gd name="connsiteY136" fmla="*/ 356199 h 1520187"/>
                    <a:gd name="connsiteX137" fmla="*/ 389803 w 1984332"/>
                    <a:gd name="connsiteY137" fmla="*/ 275550 h 1520187"/>
                    <a:gd name="connsiteX138" fmla="*/ 376362 w 1984332"/>
                    <a:gd name="connsiteY138" fmla="*/ 255388 h 1520187"/>
                    <a:gd name="connsiteX139" fmla="*/ 309154 w 1984332"/>
                    <a:gd name="connsiteY139" fmla="*/ 154577 h 1520187"/>
                    <a:gd name="connsiteX140" fmla="*/ 423407 w 1984332"/>
                    <a:gd name="connsiteY140" fmla="*/ 40324 h 1520187"/>
                    <a:gd name="connsiteX141" fmla="*/ 504056 w 1984332"/>
                    <a:gd name="connsiteY141" fmla="*/ 73928 h 1520187"/>
                    <a:gd name="connsiteX142" fmla="*/ 537660 w 1984332"/>
                    <a:gd name="connsiteY142" fmla="*/ 154577 h 1520187"/>
                    <a:gd name="connsiteX143" fmla="*/ 470452 w 1984332"/>
                    <a:gd name="connsiteY143" fmla="*/ 262109 h 1520187"/>
                    <a:gd name="connsiteX144" fmla="*/ 457011 w 1984332"/>
                    <a:gd name="connsiteY144" fmla="*/ 282271 h 1520187"/>
                    <a:gd name="connsiteX145" fmla="*/ 457011 w 1984332"/>
                    <a:gd name="connsiteY145" fmla="*/ 362919 h 1520187"/>
                    <a:gd name="connsiteX146" fmla="*/ 477173 w 1984332"/>
                    <a:gd name="connsiteY146" fmla="*/ 383082 h 1520187"/>
                    <a:gd name="connsiteX147" fmla="*/ 477173 w 1984332"/>
                    <a:gd name="connsiteY147" fmla="*/ 383082 h 1520187"/>
                    <a:gd name="connsiteX148" fmla="*/ 806490 w 1984332"/>
                    <a:gd name="connsiteY148" fmla="*/ 383082 h 1520187"/>
                    <a:gd name="connsiteX149" fmla="*/ 806490 w 1984332"/>
                    <a:gd name="connsiteY149" fmla="*/ 631749 h 1520187"/>
                    <a:gd name="connsiteX150" fmla="*/ 806490 w 1984332"/>
                    <a:gd name="connsiteY150" fmla="*/ 685515 h 1520187"/>
                    <a:gd name="connsiteX151" fmla="*/ 766165 w 1984332"/>
                    <a:gd name="connsiteY151" fmla="*/ 685515 h 1520187"/>
                    <a:gd name="connsiteX152" fmla="*/ 631750 w 1984332"/>
                    <a:gd name="connsiteY152" fmla="*/ 604866 h 1520187"/>
                    <a:gd name="connsiteX153" fmla="*/ 631750 w 1984332"/>
                    <a:gd name="connsiteY153" fmla="*/ 604866 h 1520187"/>
                    <a:gd name="connsiteX154" fmla="*/ 517497 w 1984332"/>
                    <a:gd name="connsiteY154" fmla="*/ 651911 h 1520187"/>
                    <a:gd name="connsiteX155" fmla="*/ 470452 w 1984332"/>
                    <a:gd name="connsiteY155" fmla="*/ 759443 h 1520187"/>
                    <a:gd name="connsiteX156" fmla="*/ 517497 w 1984332"/>
                    <a:gd name="connsiteY156" fmla="*/ 866974 h 1520187"/>
                    <a:gd name="connsiteX157" fmla="*/ 625029 w 1984332"/>
                    <a:gd name="connsiteY157" fmla="*/ 914019 h 1520187"/>
                    <a:gd name="connsiteX158" fmla="*/ 625029 w 1984332"/>
                    <a:gd name="connsiteY158" fmla="*/ 914019 h 1520187"/>
                    <a:gd name="connsiteX159" fmla="*/ 766165 w 1984332"/>
                    <a:gd name="connsiteY159" fmla="*/ 826650 h 1520187"/>
                    <a:gd name="connsiteX160" fmla="*/ 799769 w 1984332"/>
                    <a:gd name="connsiteY160" fmla="*/ 826650 h 1520187"/>
                    <a:gd name="connsiteX161" fmla="*/ 799769 w 1984332"/>
                    <a:gd name="connsiteY161" fmla="*/ 1135803 h 1520187"/>
                    <a:gd name="connsiteX162" fmla="*/ 483894 w 1984332"/>
                    <a:gd name="connsiteY162" fmla="*/ 1142524 h 1520187"/>
                    <a:gd name="connsiteX163" fmla="*/ 1915413 w 1984332"/>
                    <a:gd name="connsiteY163" fmla="*/ 840091 h 1520187"/>
                    <a:gd name="connsiteX164" fmla="*/ 1834764 w 1984332"/>
                    <a:gd name="connsiteY164" fmla="*/ 873695 h 1520187"/>
                    <a:gd name="connsiteX165" fmla="*/ 1834764 w 1984332"/>
                    <a:gd name="connsiteY165" fmla="*/ 873695 h 1520187"/>
                    <a:gd name="connsiteX166" fmla="*/ 1733953 w 1984332"/>
                    <a:gd name="connsiteY166" fmla="*/ 806488 h 1520187"/>
                    <a:gd name="connsiteX167" fmla="*/ 1713790 w 1984332"/>
                    <a:gd name="connsiteY167" fmla="*/ 793046 h 1520187"/>
                    <a:gd name="connsiteX168" fmla="*/ 1713790 w 1984332"/>
                    <a:gd name="connsiteY168" fmla="*/ 793046 h 1520187"/>
                    <a:gd name="connsiteX169" fmla="*/ 1633141 w 1984332"/>
                    <a:gd name="connsiteY169" fmla="*/ 793046 h 1520187"/>
                    <a:gd name="connsiteX170" fmla="*/ 1612979 w 1984332"/>
                    <a:gd name="connsiteY170" fmla="*/ 813208 h 1520187"/>
                    <a:gd name="connsiteX171" fmla="*/ 1612979 w 1984332"/>
                    <a:gd name="connsiteY171" fmla="*/ 1142524 h 1520187"/>
                    <a:gd name="connsiteX172" fmla="*/ 1310546 w 1984332"/>
                    <a:gd name="connsiteY172" fmla="*/ 1142524 h 1520187"/>
                    <a:gd name="connsiteX173" fmla="*/ 1310546 w 1984332"/>
                    <a:gd name="connsiteY173" fmla="*/ 1102200 h 1520187"/>
                    <a:gd name="connsiteX174" fmla="*/ 1384474 w 1984332"/>
                    <a:gd name="connsiteY174" fmla="*/ 967785 h 1520187"/>
                    <a:gd name="connsiteX175" fmla="*/ 1337429 w 1984332"/>
                    <a:gd name="connsiteY175" fmla="*/ 860254 h 1520187"/>
                    <a:gd name="connsiteX176" fmla="*/ 1229897 w 1984332"/>
                    <a:gd name="connsiteY176" fmla="*/ 813208 h 1520187"/>
                    <a:gd name="connsiteX177" fmla="*/ 1229897 w 1984332"/>
                    <a:gd name="connsiteY177" fmla="*/ 813208 h 1520187"/>
                    <a:gd name="connsiteX178" fmla="*/ 1122365 w 1984332"/>
                    <a:gd name="connsiteY178" fmla="*/ 860254 h 1520187"/>
                    <a:gd name="connsiteX179" fmla="*/ 1075320 w 1984332"/>
                    <a:gd name="connsiteY179" fmla="*/ 967785 h 1520187"/>
                    <a:gd name="connsiteX180" fmla="*/ 1162689 w 1984332"/>
                    <a:gd name="connsiteY180" fmla="*/ 1108921 h 1520187"/>
                    <a:gd name="connsiteX181" fmla="*/ 1162689 w 1984332"/>
                    <a:gd name="connsiteY181" fmla="*/ 1142524 h 1520187"/>
                    <a:gd name="connsiteX182" fmla="*/ 853535 w 1984332"/>
                    <a:gd name="connsiteY182" fmla="*/ 1142524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19929 h 1520187"/>
                    <a:gd name="connsiteX185" fmla="*/ 853535 w 1984332"/>
                    <a:gd name="connsiteY185" fmla="*/ 806488 h 1520187"/>
                    <a:gd name="connsiteX186" fmla="*/ 846814 w 1984332"/>
                    <a:gd name="connsiteY186" fmla="*/ 793046 h 1520187"/>
                    <a:gd name="connsiteX187" fmla="*/ 833373 w 1984332"/>
                    <a:gd name="connsiteY187" fmla="*/ 786325 h 1520187"/>
                    <a:gd name="connsiteX188" fmla="*/ 833373 w 1984332"/>
                    <a:gd name="connsiteY188" fmla="*/ 786325 h 1520187"/>
                    <a:gd name="connsiteX189" fmla="*/ 759444 w 1984332"/>
                    <a:gd name="connsiteY189" fmla="*/ 786325 h 1520187"/>
                    <a:gd name="connsiteX190" fmla="*/ 739282 w 1984332"/>
                    <a:gd name="connsiteY190" fmla="*/ 799767 h 1520187"/>
                    <a:gd name="connsiteX191" fmla="*/ 631750 w 1984332"/>
                    <a:gd name="connsiteY191" fmla="*/ 873695 h 1520187"/>
                    <a:gd name="connsiteX192" fmla="*/ 631750 w 1984332"/>
                    <a:gd name="connsiteY192" fmla="*/ 873695 h 1520187"/>
                    <a:gd name="connsiteX193" fmla="*/ 551101 w 1984332"/>
                    <a:gd name="connsiteY193" fmla="*/ 840091 h 1520187"/>
                    <a:gd name="connsiteX194" fmla="*/ 517497 w 1984332"/>
                    <a:gd name="connsiteY194" fmla="*/ 759443 h 1520187"/>
                    <a:gd name="connsiteX195" fmla="*/ 551101 w 1984332"/>
                    <a:gd name="connsiteY195" fmla="*/ 678794 h 1520187"/>
                    <a:gd name="connsiteX196" fmla="*/ 631750 w 1984332"/>
                    <a:gd name="connsiteY196" fmla="*/ 645190 h 1520187"/>
                    <a:gd name="connsiteX197" fmla="*/ 631750 w 1984332"/>
                    <a:gd name="connsiteY197" fmla="*/ 645190 h 1520187"/>
                    <a:gd name="connsiteX198" fmla="*/ 732561 w 1984332"/>
                    <a:gd name="connsiteY198" fmla="*/ 712397 h 1520187"/>
                    <a:gd name="connsiteX199" fmla="*/ 752724 w 1984332"/>
                    <a:gd name="connsiteY199" fmla="*/ 725839 h 1520187"/>
                    <a:gd name="connsiteX200" fmla="*/ 752724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26652 w 1984332"/>
                    <a:gd name="connsiteY202" fmla="*/ 725839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0093 w 1984332"/>
                    <a:gd name="connsiteY205" fmla="*/ 719118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705677 h 1520187"/>
                    <a:gd name="connsiteX210" fmla="*/ 846814 w 1984332"/>
                    <a:gd name="connsiteY210" fmla="*/ 383082 h 1520187"/>
                    <a:gd name="connsiteX211" fmla="*/ 1155969 w 1984332"/>
                    <a:gd name="connsiteY211" fmla="*/ 383082 h 1520187"/>
                    <a:gd name="connsiteX212" fmla="*/ 1155969 w 1984332"/>
                    <a:gd name="connsiteY212" fmla="*/ 423406 h 1520187"/>
                    <a:gd name="connsiteX213" fmla="*/ 1075320 w 1984332"/>
                    <a:gd name="connsiteY213" fmla="*/ 557821 h 1520187"/>
                    <a:gd name="connsiteX214" fmla="*/ 1229897 w 1984332"/>
                    <a:gd name="connsiteY214" fmla="*/ 712397 h 1520187"/>
                    <a:gd name="connsiteX215" fmla="*/ 1251328 w 1984332"/>
                    <a:gd name="connsiteY215" fmla="*/ 714779 h 1520187"/>
                    <a:gd name="connsiteX216" fmla="*/ 1351716 w 1984332"/>
                    <a:gd name="connsiteY216" fmla="*/ 670115 h 1520187"/>
                    <a:gd name="connsiteX217" fmla="*/ 1396380 w 1984332"/>
                    <a:gd name="connsiteY217" fmla="*/ 553058 h 1520187"/>
                    <a:gd name="connsiteX218" fmla="*/ 1310546 w 1984332"/>
                    <a:gd name="connsiteY218" fmla="*/ 423406 h 1520187"/>
                    <a:gd name="connsiteX219" fmla="*/ 1310546 w 1984332"/>
                    <a:gd name="connsiteY219" fmla="*/ 376361 h 1520187"/>
                    <a:gd name="connsiteX220" fmla="*/ 1612979 w 1984332"/>
                    <a:gd name="connsiteY220" fmla="*/ 376361 h 1520187"/>
                    <a:gd name="connsiteX221" fmla="*/ 1612979 w 1984332"/>
                    <a:gd name="connsiteY221" fmla="*/ 705677 h 1520187"/>
                    <a:gd name="connsiteX222" fmla="*/ 1633141 w 1984332"/>
                    <a:gd name="connsiteY222" fmla="*/ 725839 h 1520187"/>
                    <a:gd name="connsiteX223" fmla="*/ 1633141 w 1984332"/>
                    <a:gd name="connsiteY223" fmla="*/ 725839 h 1520187"/>
                    <a:gd name="connsiteX224" fmla="*/ 1713790 w 1984332"/>
                    <a:gd name="connsiteY224" fmla="*/ 725839 h 1520187"/>
                    <a:gd name="connsiteX225" fmla="*/ 1733953 w 1984332"/>
                    <a:gd name="connsiteY225" fmla="*/ 712397 h 1520187"/>
                    <a:gd name="connsiteX226" fmla="*/ 1834764 w 1984332"/>
                    <a:gd name="connsiteY226" fmla="*/ 645190 h 1520187"/>
                    <a:gd name="connsiteX227" fmla="*/ 1834764 w 1984332"/>
                    <a:gd name="connsiteY227" fmla="*/ 645190 h 1520187"/>
                    <a:gd name="connsiteX228" fmla="*/ 1915413 w 1984332"/>
                    <a:gd name="connsiteY228" fmla="*/ 678794 h 1520187"/>
                    <a:gd name="connsiteX229" fmla="*/ 1949017 w 1984332"/>
                    <a:gd name="connsiteY229" fmla="*/ 759443 h 1520187"/>
                    <a:gd name="connsiteX230" fmla="*/ 1915413 w 1984332"/>
                    <a:gd name="connsiteY230" fmla="*/ 840091 h 1520187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83663 w 1984332"/>
                    <a:gd name="connsiteY13" fmla="*/ 423406 h 1520187"/>
                    <a:gd name="connsiteX14" fmla="*/ 1297104 w 1984332"/>
                    <a:gd name="connsiteY14" fmla="*/ 450289 h 1520187"/>
                    <a:gd name="connsiteX15" fmla="*/ 1364312 w 1984332"/>
                    <a:gd name="connsiteY15" fmla="*/ 551100 h 1520187"/>
                    <a:gd name="connsiteX16" fmla="*/ 1330708 w 1984332"/>
                    <a:gd name="connsiteY16" fmla="*/ 631749 h 1520187"/>
                    <a:gd name="connsiteX17" fmla="*/ 1250059 w 1984332"/>
                    <a:gd name="connsiteY17" fmla="*/ 665352 h 1520187"/>
                    <a:gd name="connsiteX18" fmla="*/ 1135806 w 1984332"/>
                    <a:gd name="connsiteY18" fmla="*/ 551100 h 1520187"/>
                    <a:gd name="connsiteX19" fmla="*/ 1209734 w 1984332"/>
                    <a:gd name="connsiteY19" fmla="*/ 443568 h 1520187"/>
                    <a:gd name="connsiteX20" fmla="*/ 1223176 w 1984332"/>
                    <a:gd name="connsiteY20" fmla="*/ 423406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223176 w 1984332"/>
                    <a:gd name="connsiteY23" fmla="*/ 349478 h 1520187"/>
                    <a:gd name="connsiteX24" fmla="*/ 1182852 w 1984332"/>
                    <a:gd name="connsiteY24" fmla="*/ 336037 h 1520187"/>
                    <a:gd name="connsiteX25" fmla="*/ 11828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826652 w 1984332"/>
                    <a:gd name="connsiteY28" fmla="*/ 336037 h 1520187"/>
                    <a:gd name="connsiteX29" fmla="*/ 497335 w 1984332"/>
                    <a:gd name="connsiteY29" fmla="*/ 336037 h 1520187"/>
                    <a:gd name="connsiteX30" fmla="*/ 497335 w 1984332"/>
                    <a:gd name="connsiteY30" fmla="*/ 295712 h 1520187"/>
                    <a:gd name="connsiteX31" fmla="*/ 584705 w 1984332"/>
                    <a:gd name="connsiteY31" fmla="*/ 154577 h 1520187"/>
                    <a:gd name="connsiteX32" fmla="*/ 537660 w 1984332"/>
                    <a:gd name="connsiteY32" fmla="*/ 47045 h 1520187"/>
                    <a:gd name="connsiteX33" fmla="*/ 423407 w 1984332"/>
                    <a:gd name="connsiteY33" fmla="*/ 0 h 1520187"/>
                    <a:gd name="connsiteX34" fmla="*/ 423407 w 1984332"/>
                    <a:gd name="connsiteY34" fmla="*/ 0 h 1520187"/>
                    <a:gd name="connsiteX35" fmla="*/ 268830 w 1984332"/>
                    <a:gd name="connsiteY35" fmla="*/ 154577 h 1520187"/>
                    <a:gd name="connsiteX36" fmla="*/ 349479 w 1984332"/>
                    <a:gd name="connsiteY36" fmla="*/ 288991 h 1520187"/>
                    <a:gd name="connsiteX37" fmla="*/ 349479 w 1984332"/>
                    <a:gd name="connsiteY37" fmla="*/ 329316 h 1520187"/>
                    <a:gd name="connsiteX38" fmla="*/ 20162 w 1984332"/>
                    <a:gd name="connsiteY38" fmla="*/ 336037 h 1520187"/>
                    <a:gd name="connsiteX39" fmla="*/ 0 w 1984332"/>
                    <a:gd name="connsiteY39" fmla="*/ 356199 h 1520187"/>
                    <a:gd name="connsiteX40" fmla="*/ 0 w 1984332"/>
                    <a:gd name="connsiteY40" fmla="*/ 698956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20162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94090 w 1984332"/>
                    <a:gd name="connsiteY46" fmla="*/ 719118 h 1520187"/>
                    <a:gd name="connsiteX47" fmla="*/ 120973 w 1984332"/>
                    <a:gd name="connsiteY47" fmla="*/ 705677 h 1520187"/>
                    <a:gd name="connsiteX48" fmla="*/ 221785 w 1984332"/>
                    <a:gd name="connsiteY48" fmla="*/ 638469 h 1520187"/>
                    <a:gd name="connsiteX49" fmla="*/ 221785 w 1984332"/>
                    <a:gd name="connsiteY49" fmla="*/ 638469 h 1520187"/>
                    <a:gd name="connsiteX50" fmla="*/ 336037 w 1984332"/>
                    <a:gd name="connsiteY50" fmla="*/ 752722 h 1520187"/>
                    <a:gd name="connsiteX51" fmla="*/ 221785 w 1984332"/>
                    <a:gd name="connsiteY51" fmla="*/ 873695 h 1520187"/>
                    <a:gd name="connsiteX52" fmla="*/ 221785 w 1984332"/>
                    <a:gd name="connsiteY52" fmla="*/ 873695 h 1520187"/>
                    <a:gd name="connsiteX53" fmla="*/ 114253 w 1984332"/>
                    <a:gd name="connsiteY53" fmla="*/ 799767 h 1520187"/>
                    <a:gd name="connsiteX54" fmla="*/ 94090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20162 w 1984332"/>
                    <a:gd name="connsiteY59" fmla="*/ 786325 h 1520187"/>
                    <a:gd name="connsiteX60" fmla="*/ 0 w 1984332"/>
                    <a:gd name="connsiteY60" fmla="*/ 806488 h 1520187"/>
                    <a:gd name="connsiteX61" fmla="*/ 0 w 1984332"/>
                    <a:gd name="connsiteY61" fmla="*/ 1162686 h 1520187"/>
                    <a:gd name="connsiteX62" fmla="*/ 20162 w 1984332"/>
                    <a:gd name="connsiteY62" fmla="*/ 1182849 h 1520187"/>
                    <a:gd name="connsiteX63" fmla="*/ 20162 w 1984332"/>
                    <a:gd name="connsiteY63" fmla="*/ 1182849 h 1520187"/>
                    <a:gd name="connsiteX64" fmla="*/ 356200 w 1984332"/>
                    <a:gd name="connsiteY64" fmla="*/ 1182849 h 1520187"/>
                    <a:gd name="connsiteX65" fmla="*/ 356200 w 1984332"/>
                    <a:gd name="connsiteY65" fmla="*/ 1223173 h 1520187"/>
                    <a:gd name="connsiteX66" fmla="*/ 268830 w 1984332"/>
                    <a:gd name="connsiteY66" fmla="*/ 1364308 h 1520187"/>
                    <a:gd name="connsiteX67" fmla="*/ 315875 w 1984332"/>
                    <a:gd name="connsiteY67" fmla="*/ 1471840 h 1520187"/>
                    <a:gd name="connsiteX68" fmla="*/ 423407 w 1984332"/>
                    <a:gd name="connsiteY68" fmla="*/ 1518885 h 1520187"/>
                    <a:gd name="connsiteX69" fmla="*/ 423407 w 1984332"/>
                    <a:gd name="connsiteY69" fmla="*/ 1518885 h 1520187"/>
                    <a:gd name="connsiteX70" fmla="*/ 537660 w 1984332"/>
                    <a:gd name="connsiteY70" fmla="*/ 1478561 h 1520187"/>
                    <a:gd name="connsiteX71" fmla="*/ 584705 w 1984332"/>
                    <a:gd name="connsiteY71" fmla="*/ 1371029 h 1520187"/>
                    <a:gd name="connsiteX72" fmla="*/ 510777 w 1984332"/>
                    <a:gd name="connsiteY72" fmla="*/ 1236614 h 1520187"/>
                    <a:gd name="connsiteX73" fmla="*/ 510777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833373 w 1984332"/>
                    <a:gd name="connsiteY76" fmla="*/ 1189569 h 1520187"/>
                    <a:gd name="connsiteX77" fmla="*/ 1189572 w 1984332"/>
                    <a:gd name="connsiteY77" fmla="*/ 1189569 h 1520187"/>
                    <a:gd name="connsiteX78" fmla="*/ 1203014 w 1984332"/>
                    <a:gd name="connsiteY78" fmla="*/ 1182849 h 1520187"/>
                    <a:gd name="connsiteX79" fmla="*/ 1209734 w 1984332"/>
                    <a:gd name="connsiteY79" fmla="*/ 1169407 h 1520187"/>
                    <a:gd name="connsiteX80" fmla="*/ 1209734 w 1984332"/>
                    <a:gd name="connsiteY80" fmla="*/ 1095479 h 1520187"/>
                    <a:gd name="connsiteX81" fmla="*/ 1196293 w 1984332"/>
                    <a:gd name="connsiteY81" fmla="*/ 1075317 h 1520187"/>
                    <a:gd name="connsiteX82" fmla="*/ 1122365 w 1984332"/>
                    <a:gd name="connsiteY82" fmla="*/ 967785 h 1520187"/>
                    <a:gd name="connsiteX83" fmla="*/ 1155969 w 1984332"/>
                    <a:gd name="connsiteY83" fmla="*/ 887136 h 1520187"/>
                    <a:gd name="connsiteX84" fmla="*/ 1236617 w 1984332"/>
                    <a:gd name="connsiteY84" fmla="*/ 853533 h 1520187"/>
                    <a:gd name="connsiteX85" fmla="*/ 1236617 w 1984332"/>
                    <a:gd name="connsiteY85" fmla="*/ 853533 h 1520187"/>
                    <a:gd name="connsiteX86" fmla="*/ 1317266 w 1984332"/>
                    <a:gd name="connsiteY86" fmla="*/ 887136 h 1520187"/>
                    <a:gd name="connsiteX87" fmla="*/ 1350870 w 1984332"/>
                    <a:gd name="connsiteY87" fmla="*/ 967785 h 1520187"/>
                    <a:gd name="connsiteX88" fmla="*/ 1283663 w 1984332"/>
                    <a:gd name="connsiteY88" fmla="*/ 1068596 h 1520187"/>
                    <a:gd name="connsiteX89" fmla="*/ 1270221 w 1984332"/>
                    <a:gd name="connsiteY89" fmla="*/ 1088758 h 1520187"/>
                    <a:gd name="connsiteX90" fmla="*/ 1270221 w 1984332"/>
                    <a:gd name="connsiteY90" fmla="*/ 1162686 h 1520187"/>
                    <a:gd name="connsiteX91" fmla="*/ 1276942 w 1984332"/>
                    <a:gd name="connsiteY91" fmla="*/ 1176128 h 1520187"/>
                    <a:gd name="connsiteX92" fmla="*/ 1290383 w 1984332"/>
                    <a:gd name="connsiteY92" fmla="*/ 1182849 h 1520187"/>
                    <a:gd name="connsiteX93" fmla="*/ 1290383 w 1984332"/>
                    <a:gd name="connsiteY93" fmla="*/ 1182849 h 1520187"/>
                    <a:gd name="connsiteX94" fmla="*/ 1633141 w 1984332"/>
                    <a:gd name="connsiteY94" fmla="*/ 1182849 h 1520187"/>
                    <a:gd name="connsiteX95" fmla="*/ 1653304 w 1984332"/>
                    <a:gd name="connsiteY95" fmla="*/ 1162686 h 1520187"/>
                    <a:gd name="connsiteX96" fmla="*/ 1653304 w 1984332"/>
                    <a:gd name="connsiteY96" fmla="*/ 833371 h 1520187"/>
                    <a:gd name="connsiteX97" fmla="*/ 1693628 w 1984332"/>
                    <a:gd name="connsiteY97" fmla="*/ 833371 h 1520187"/>
                    <a:gd name="connsiteX98" fmla="*/ 1828043 w 1984332"/>
                    <a:gd name="connsiteY98" fmla="*/ 914019 h 1520187"/>
                    <a:gd name="connsiteX99" fmla="*/ 1828043 w 1984332"/>
                    <a:gd name="connsiteY99" fmla="*/ 914019 h 1520187"/>
                    <a:gd name="connsiteX100" fmla="*/ 1935575 w 1984332"/>
                    <a:gd name="connsiteY100" fmla="*/ 866974 h 1520187"/>
                    <a:gd name="connsiteX101" fmla="*/ 1982620 w 1984332"/>
                    <a:gd name="connsiteY101" fmla="*/ 759443 h 1520187"/>
                    <a:gd name="connsiteX102" fmla="*/ 1949017 w 1984332"/>
                    <a:gd name="connsiteY102" fmla="*/ 645190 h 1520187"/>
                    <a:gd name="connsiteX103" fmla="*/ 483894 w 1984332"/>
                    <a:gd name="connsiteY103" fmla="*/ 1142524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162686 h 1520187"/>
                    <a:gd name="connsiteX107" fmla="*/ 463732 w 1984332"/>
                    <a:gd name="connsiteY107" fmla="*/ 1236614 h 1520187"/>
                    <a:gd name="connsiteX108" fmla="*/ 463732 w 1984332"/>
                    <a:gd name="connsiteY108" fmla="*/ 1236614 h 1520187"/>
                    <a:gd name="connsiteX109" fmla="*/ 477173 w 1984332"/>
                    <a:gd name="connsiteY109" fmla="*/ 1263497 h 1520187"/>
                    <a:gd name="connsiteX110" fmla="*/ 544381 w 1984332"/>
                    <a:gd name="connsiteY110" fmla="*/ 1364308 h 1520187"/>
                    <a:gd name="connsiteX111" fmla="*/ 510777 w 1984332"/>
                    <a:gd name="connsiteY111" fmla="*/ 1444957 h 1520187"/>
                    <a:gd name="connsiteX112" fmla="*/ 423407 w 1984332"/>
                    <a:gd name="connsiteY112" fmla="*/ 1478561 h 1520187"/>
                    <a:gd name="connsiteX113" fmla="*/ 423407 w 1984332"/>
                    <a:gd name="connsiteY113" fmla="*/ 1478561 h 1520187"/>
                    <a:gd name="connsiteX114" fmla="*/ 342758 w 1984332"/>
                    <a:gd name="connsiteY114" fmla="*/ 1444957 h 1520187"/>
                    <a:gd name="connsiteX115" fmla="*/ 309154 w 1984332"/>
                    <a:gd name="connsiteY115" fmla="*/ 1364308 h 1520187"/>
                    <a:gd name="connsiteX116" fmla="*/ 383083 w 1984332"/>
                    <a:gd name="connsiteY116" fmla="*/ 1256777 h 1520187"/>
                    <a:gd name="connsiteX117" fmla="*/ 396524 w 1984332"/>
                    <a:gd name="connsiteY117" fmla="*/ 1236614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96524 w 1984332"/>
                    <a:gd name="connsiteY120" fmla="*/ 1162686 h 1520187"/>
                    <a:gd name="connsiteX121" fmla="*/ 376362 w 1984332"/>
                    <a:gd name="connsiteY121" fmla="*/ 1142524 h 1520187"/>
                    <a:gd name="connsiteX122" fmla="*/ 376362 w 1984332"/>
                    <a:gd name="connsiteY122" fmla="*/ 1142524 h 1520187"/>
                    <a:gd name="connsiteX123" fmla="*/ 40324 w 1984332"/>
                    <a:gd name="connsiteY123" fmla="*/ 1142524 h 1520187"/>
                    <a:gd name="connsiteX124" fmla="*/ 40324 w 1984332"/>
                    <a:gd name="connsiteY124" fmla="*/ 833371 h 1520187"/>
                    <a:gd name="connsiteX125" fmla="*/ 80649 w 1984332"/>
                    <a:gd name="connsiteY125" fmla="*/ 833371 h 1520187"/>
                    <a:gd name="connsiteX126" fmla="*/ 221785 w 1984332"/>
                    <a:gd name="connsiteY126" fmla="*/ 920740 h 1520187"/>
                    <a:gd name="connsiteX127" fmla="*/ 221785 w 1984332"/>
                    <a:gd name="connsiteY127" fmla="*/ 920740 h 1520187"/>
                    <a:gd name="connsiteX128" fmla="*/ 376362 w 1984332"/>
                    <a:gd name="connsiteY128" fmla="*/ 766163 h 1520187"/>
                    <a:gd name="connsiteX129" fmla="*/ 221785 w 1984332"/>
                    <a:gd name="connsiteY129" fmla="*/ 604866 h 1520187"/>
                    <a:gd name="connsiteX130" fmla="*/ 221785 w 1984332"/>
                    <a:gd name="connsiteY130" fmla="*/ 604866 h 1520187"/>
                    <a:gd name="connsiteX131" fmla="*/ 87370 w 1984332"/>
                    <a:gd name="connsiteY131" fmla="*/ 678794 h 1520187"/>
                    <a:gd name="connsiteX132" fmla="*/ 40324 w 1984332"/>
                    <a:gd name="connsiteY132" fmla="*/ 678794 h 1520187"/>
                    <a:gd name="connsiteX133" fmla="*/ 40324 w 1984332"/>
                    <a:gd name="connsiteY133" fmla="*/ 376361 h 1520187"/>
                    <a:gd name="connsiteX134" fmla="*/ 369641 w 1984332"/>
                    <a:gd name="connsiteY134" fmla="*/ 376361 h 1520187"/>
                    <a:gd name="connsiteX135" fmla="*/ 383083 w 1984332"/>
                    <a:gd name="connsiteY135" fmla="*/ 369640 h 1520187"/>
                    <a:gd name="connsiteX136" fmla="*/ 389803 w 1984332"/>
                    <a:gd name="connsiteY136" fmla="*/ 356199 h 1520187"/>
                    <a:gd name="connsiteX137" fmla="*/ 389803 w 1984332"/>
                    <a:gd name="connsiteY137" fmla="*/ 275550 h 1520187"/>
                    <a:gd name="connsiteX138" fmla="*/ 376362 w 1984332"/>
                    <a:gd name="connsiteY138" fmla="*/ 255388 h 1520187"/>
                    <a:gd name="connsiteX139" fmla="*/ 309154 w 1984332"/>
                    <a:gd name="connsiteY139" fmla="*/ 154577 h 1520187"/>
                    <a:gd name="connsiteX140" fmla="*/ 423407 w 1984332"/>
                    <a:gd name="connsiteY140" fmla="*/ 40324 h 1520187"/>
                    <a:gd name="connsiteX141" fmla="*/ 504056 w 1984332"/>
                    <a:gd name="connsiteY141" fmla="*/ 73928 h 1520187"/>
                    <a:gd name="connsiteX142" fmla="*/ 537660 w 1984332"/>
                    <a:gd name="connsiteY142" fmla="*/ 154577 h 1520187"/>
                    <a:gd name="connsiteX143" fmla="*/ 470452 w 1984332"/>
                    <a:gd name="connsiteY143" fmla="*/ 262109 h 1520187"/>
                    <a:gd name="connsiteX144" fmla="*/ 457011 w 1984332"/>
                    <a:gd name="connsiteY144" fmla="*/ 282271 h 1520187"/>
                    <a:gd name="connsiteX145" fmla="*/ 457011 w 1984332"/>
                    <a:gd name="connsiteY145" fmla="*/ 362919 h 1520187"/>
                    <a:gd name="connsiteX146" fmla="*/ 477173 w 1984332"/>
                    <a:gd name="connsiteY146" fmla="*/ 383082 h 1520187"/>
                    <a:gd name="connsiteX147" fmla="*/ 477173 w 1984332"/>
                    <a:gd name="connsiteY147" fmla="*/ 383082 h 1520187"/>
                    <a:gd name="connsiteX148" fmla="*/ 806490 w 1984332"/>
                    <a:gd name="connsiteY148" fmla="*/ 383082 h 1520187"/>
                    <a:gd name="connsiteX149" fmla="*/ 806490 w 1984332"/>
                    <a:gd name="connsiteY149" fmla="*/ 631749 h 1520187"/>
                    <a:gd name="connsiteX150" fmla="*/ 806490 w 1984332"/>
                    <a:gd name="connsiteY150" fmla="*/ 685515 h 1520187"/>
                    <a:gd name="connsiteX151" fmla="*/ 766165 w 1984332"/>
                    <a:gd name="connsiteY151" fmla="*/ 685515 h 1520187"/>
                    <a:gd name="connsiteX152" fmla="*/ 631750 w 1984332"/>
                    <a:gd name="connsiteY152" fmla="*/ 604866 h 1520187"/>
                    <a:gd name="connsiteX153" fmla="*/ 631750 w 1984332"/>
                    <a:gd name="connsiteY153" fmla="*/ 604866 h 1520187"/>
                    <a:gd name="connsiteX154" fmla="*/ 517497 w 1984332"/>
                    <a:gd name="connsiteY154" fmla="*/ 651911 h 1520187"/>
                    <a:gd name="connsiteX155" fmla="*/ 470452 w 1984332"/>
                    <a:gd name="connsiteY155" fmla="*/ 759443 h 1520187"/>
                    <a:gd name="connsiteX156" fmla="*/ 517497 w 1984332"/>
                    <a:gd name="connsiteY156" fmla="*/ 866974 h 1520187"/>
                    <a:gd name="connsiteX157" fmla="*/ 625029 w 1984332"/>
                    <a:gd name="connsiteY157" fmla="*/ 914019 h 1520187"/>
                    <a:gd name="connsiteX158" fmla="*/ 625029 w 1984332"/>
                    <a:gd name="connsiteY158" fmla="*/ 914019 h 1520187"/>
                    <a:gd name="connsiteX159" fmla="*/ 766165 w 1984332"/>
                    <a:gd name="connsiteY159" fmla="*/ 826650 h 1520187"/>
                    <a:gd name="connsiteX160" fmla="*/ 799769 w 1984332"/>
                    <a:gd name="connsiteY160" fmla="*/ 826650 h 1520187"/>
                    <a:gd name="connsiteX161" fmla="*/ 799769 w 1984332"/>
                    <a:gd name="connsiteY161" fmla="*/ 1135803 h 1520187"/>
                    <a:gd name="connsiteX162" fmla="*/ 483894 w 1984332"/>
                    <a:gd name="connsiteY162" fmla="*/ 1142524 h 1520187"/>
                    <a:gd name="connsiteX163" fmla="*/ 1915413 w 1984332"/>
                    <a:gd name="connsiteY163" fmla="*/ 840091 h 1520187"/>
                    <a:gd name="connsiteX164" fmla="*/ 1834764 w 1984332"/>
                    <a:gd name="connsiteY164" fmla="*/ 873695 h 1520187"/>
                    <a:gd name="connsiteX165" fmla="*/ 1834764 w 1984332"/>
                    <a:gd name="connsiteY165" fmla="*/ 873695 h 1520187"/>
                    <a:gd name="connsiteX166" fmla="*/ 1733953 w 1984332"/>
                    <a:gd name="connsiteY166" fmla="*/ 806488 h 1520187"/>
                    <a:gd name="connsiteX167" fmla="*/ 1713790 w 1984332"/>
                    <a:gd name="connsiteY167" fmla="*/ 793046 h 1520187"/>
                    <a:gd name="connsiteX168" fmla="*/ 1713790 w 1984332"/>
                    <a:gd name="connsiteY168" fmla="*/ 793046 h 1520187"/>
                    <a:gd name="connsiteX169" fmla="*/ 1633141 w 1984332"/>
                    <a:gd name="connsiteY169" fmla="*/ 793046 h 1520187"/>
                    <a:gd name="connsiteX170" fmla="*/ 1612979 w 1984332"/>
                    <a:gd name="connsiteY170" fmla="*/ 813208 h 1520187"/>
                    <a:gd name="connsiteX171" fmla="*/ 1612979 w 1984332"/>
                    <a:gd name="connsiteY171" fmla="*/ 1142524 h 1520187"/>
                    <a:gd name="connsiteX172" fmla="*/ 1310546 w 1984332"/>
                    <a:gd name="connsiteY172" fmla="*/ 1142524 h 1520187"/>
                    <a:gd name="connsiteX173" fmla="*/ 1310546 w 1984332"/>
                    <a:gd name="connsiteY173" fmla="*/ 1102200 h 1520187"/>
                    <a:gd name="connsiteX174" fmla="*/ 1384474 w 1984332"/>
                    <a:gd name="connsiteY174" fmla="*/ 967785 h 1520187"/>
                    <a:gd name="connsiteX175" fmla="*/ 1337429 w 1984332"/>
                    <a:gd name="connsiteY175" fmla="*/ 860254 h 1520187"/>
                    <a:gd name="connsiteX176" fmla="*/ 1229897 w 1984332"/>
                    <a:gd name="connsiteY176" fmla="*/ 813208 h 1520187"/>
                    <a:gd name="connsiteX177" fmla="*/ 1229897 w 1984332"/>
                    <a:gd name="connsiteY177" fmla="*/ 813208 h 1520187"/>
                    <a:gd name="connsiteX178" fmla="*/ 1122365 w 1984332"/>
                    <a:gd name="connsiteY178" fmla="*/ 860254 h 1520187"/>
                    <a:gd name="connsiteX179" fmla="*/ 1075320 w 1984332"/>
                    <a:gd name="connsiteY179" fmla="*/ 967785 h 1520187"/>
                    <a:gd name="connsiteX180" fmla="*/ 1162689 w 1984332"/>
                    <a:gd name="connsiteY180" fmla="*/ 1108921 h 1520187"/>
                    <a:gd name="connsiteX181" fmla="*/ 1162689 w 1984332"/>
                    <a:gd name="connsiteY181" fmla="*/ 1142524 h 1520187"/>
                    <a:gd name="connsiteX182" fmla="*/ 853535 w 1984332"/>
                    <a:gd name="connsiteY182" fmla="*/ 1142524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19929 h 1520187"/>
                    <a:gd name="connsiteX185" fmla="*/ 853535 w 1984332"/>
                    <a:gd name="connsiteY185" fmla="*/ 806488 h 1520187"/>
                    <a:gd name="connsiteX186" fmla="*/ 846814 w 1984332"/>
                    <a:gd name="connsiteY186" fmla="*/ 793046 h 1520187"/>
                    <a:gd name="connsiteX187" fmla="*/ 833373 w 1984332"/>
                    <a:gd name="connsiteY187" fmla="*/ 786325 h 1520187"/>
                    <a:gd name="connsiteX188" fmla="*/ 833373 w 1984332"/>
                    <a:gd name="connsiteY188" fmla="*/ 786325 h 1520187"/>
                    <a:gd name="connsiteX189" fmla="*/ 759444 w 1984332"/>
                    <a:gd name="connsiteY189" fmla="*/ 786325 h 1520187"/>
                    <a:gd name="connsiteX190" fmla="*/ 739282 w 1984332"/>
                    <a:gd name="connsiteY190" fmla="*/ 799767 h 1520187"/>
                    <a:gd name="connsiteX191" fmla="*/ 631750 w 1984332"/>
                    <a:gd name="connsiteY191" fmla="*/ 873695 h 1520187"/>
                    <a:gd name="connsiteX192" fmla="*/ 631750 w 1984332"/>
                    <a:gd name="connsiteY192" fmla="*/ 873695 h 1520187"/>
                    <a:gd name="connsiteX193" fmla="*/ 551101 w 1984332"/>
                    <a:gd name="connsiteY193" fmla="*/ 840091 h 1520187"/>
                    <a:gd name="connsiteX194" fmla="*/ 517497 w 1984332"/>
                    <a:gd name="connsiteY194" fmla="*/ 759443 h 1520187"/>
                    <a:gd name="connsiteX195" fmla="*/ 551101 w 1984332"/>
                    <a:gd name="connsiteY195" fmla="*/ 678794 h 1520187"/>
                    <a:gd name="connsiteX196" fmla="*/ 631750 w 1984332"/>
                    <a:gd name="connsiteY196" fmla="*/ 645190 h 1520187"/>
                    <a:gd name="connsiteX197" fmla="*/ 631750 w 1984332"/>
                    <a:gd name="connsiteY197" fmla="*/ 645190 h 1520187"/>
                    <a:gd name="connsiteX198" fmla="*/ 732561 w 1984332"/>
                    <a:gd name="connsiteY198" fmla="*/ 712397 h 1520187"/>
                    <a:gd name="connsiteX199" fmla="*/ 752724 w 1984332"/>
                    <a:gd name="connsiteY199" fmla="*/ 725839 h 1520187"/>
                    <a:gd name="connsiteX200" fmla="*/ 752724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26652 w 1984332"/>
                    <a:gd name="connsiteY202" fmla="*/ 725839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0093 w 1984332"/>
                    <a:gd name="connsiteY205" fmla="*/ 719118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705677 h 1520187"/>
                    <a:gd name="connsiteX210" fmla="*/ 846814 w 1984332"/>
                    <a:gd name="connsiteY210" fmla="*/ 383082 h 1520187"/>
                    <a:gd name="connsiteX211" fmla="*/ 1155969 w 1984332"/>
                    <a:gd name="connsiteY211" fmla="*/ 383082 h 1520187"/>
                    <a:gd name="connsiteX212" fmla="*/ 1155969 w 1984332"/>
                    <a:gd name="connsiteY212" fmla="*/ 423406 h 1520187"/>
                    <a:gd name="connsiteX213" fmla="*/ 1075320 w 1984332"/>
                    <a:gd name="connsiteY213" fmla="*/ 557821 h 1520187"/>
                    <a:gd name="connsiteX214" fmla="*/ 1198940 w 1984332"/>
                    <a:gd name="connsiteY214" fmla="*/ 705254 h 1520187"/>
                    <a:gd name="connsiteX215" fmla="*/ 1251328 w 1984332"/>
                    <a:gd name="connsiteY215" fmla="*/ 714779 h 1520187"/>
                    <a:gd name="connsiteX216" fmla="*/ 1351716 w 1984332"/>
                    <a:gd name="connsiteY216" fmla="*/ 670115 h 1520187"/>
                    <a:gd name="connsiteX217" fmla="*/ 1396380 w 1984332"/>
                    <a:gd name="connsiteY217" fmla="*/ 553058 h 1520187"/>
                    <a:gd name="connsiteX218" fmla="*/ 1310546 w 1984332"/>
                    <a:gd name="connsiteY218" fmla="*/ 423406 h 1520187"/>
                    <a:gd name="connsiteX219" fmla="*/ 1310546 w 1984332"/>
                    <a:gd name="connsiteY219" fmla="*/ 376361 h 1520187"/>
                    <a:gd name="connsiteX220" fmla="*/ 1612979 w 1984332"/>
                    <a:gd name="connsiteY220" fmla="*/ 376361 h 1520187"/>
                    <a:gd name="connsiteX221" fmla="*/ 1612979 w 1984332"/>
                    <a:gd name="connsiteY221" fmla="*/ 705677 h 1520187"/>
                    <a:gd name="connsiteX222" fmla="*/ 1633141 w 1984332"/>
                    <a:gd name="connsiteY222" fmla="*/ 725839 h 1520187"/>
                    <a:gd name="connsiteX223" fmla="*/ 1633141 w 1984332"/>
                    <a:gd name="connsiteY223" fmla="*/ 725839 h 1520187"/>
                    <a:gd name="connsiteX224" fmla="*/ 1713790 w 1984332"/>
                    <a:gd name="connsiteY224" fmla="*/ 725839 h 1520187"/>
                    <a:gd name="connsiteX225" fmla="*/ 1733953 w 1984332"/>
                    <a:gd name="connsiteY225" fmla="*/ 712397 h 1520187"/>
                    <a:gd name="connsiteX226" fmla="*/ 1834764 w 1984332"/>
                    <a:gd name="connsiteY226" fmla="*/ 645190 h 1520187"/>
                    <a:gd name="connsiteX227" fmla="*/ 1834764 w 1984332"/>
                    <a:gd name="connsiteY227" fmla="*/ 645190 h 1520187"/>
                    <a:gd name="connsiteX228" fmla="*/ 1915413 w 1984332"/>
                    <a:gd name="connsiteY228" fmla="*/ 678794 h 1520187"/>
                    <a:gd name="connsiteX229" fmla="*/ 1949017 w 1984332"/>
                    <a:gd name="connsiteY229" fmla="*/ 759443 h 1520187"/>
                    <a:gd name="connsiteX230" fmla="*/ 1915413 w 1984332"/>
                    <a:gd name="connsiteY230" fmla="*/ 840091 h 1520187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83663 w 1984332"/>
                    <a:gd name="connsiteY13" fmla="*/ 423406 h 1520187"/>
                    <a:gd name="connsiteX14" fmla="*/ 1297104 w 1984332"/>
                    <a:gd name="connsiteY14" fmla="*/ 450289 h 1520187"/>
                    <a:gd name="connsiteX15" fmla="*/ 1364312 w 1984332"/>
                    <a:gd name="connsiteY15" fmla="*/ 551100 h 1520187"/>
                    <a:gd name="connsiteX16" fmla="*/ 1330708 w 1984332"/>
                    <a:gd name="connsiteY16" fmla="*/ 631749 h 1520187"/>
                    <a:gd name="connsiteX17" fmla="*/ 1250059 w 1984332"/>
                    <a:gd name="connsiteY17" fmla="*/ 665352 h 1520187"/>
                    <a:gd name="connsiteX18" fmla="*/ 1135806 w 1984332"/>
                    <a:gd name="connsiteY18" fmla="*/ 551100 h 1520187"/>
                    <a:gd name="connsiteX19" fmla="*/ 1209734 w 1984332"/>
                    <a:gd name="connsiteY19" fmla="*/ 443568 h 1520187"/>
                    <a:gd name="connsiteX20" fmla="*/ 1223176 w 1984332"/>
                    <a:gd name="connsiteY20" fmla="*/ 423406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223176 w 1984332"/>
                    <a:gd name="connsiteY23" fmla="*/ 349478 h 1520187"/>
                    <a:gd name="connsiteX24" fmla="*/ 1182852 w 1984332"/>
                    <a:gd name="connsiteY24" fmla="*/ 336037 h 1520187"/>
                    <a:gd name="connsiteX25" fmla="*/ 11828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826652 w 1984332"/>
                    <a:gd name="connsiteY28" fmla="*/ 336037 h 1520187"/>
                    <a:gd name="connsiteX29" fmla="*/ 497335 w 1984332"/>
                    <a:gd name="connsiteY29" fmla="*/ 336037 h 1520187"/>
                    <a:gd name="connsiteX30" fmla="*/ 497335 w 1984332"/>
                    <a:gd name="connsiteY30" fmla="*/ 295712 h 1520187"/>
                    <a:gd name="connsiteX31" fmla="*/ 584705 w 1984332"/>
                    <a:gd name="connsiteY31" fmla="*/ 154577 h 1520187"/>
                    <a:gd name="connsiteX32" fmla="*/ 537660 w 1984332"/>
                    <a:gd name="connsiteY32" fmla="*/ 47045 h 1520187"/>
                    <a:gd name="connsiteX33" fmla="*/ 423407 w 1984332"/>
                    <a:gd name="connsiteY33" fmla="*/ 0 h 1520187"/>
                    <a:gd name="connsiteX34" fmla="*/ 423407 w 1984332"/>
                    <a:gd name="connsiteY34" fmla="*/ 0 h 1520187"/>
                    <a:gd name="connsiteX35" fmla="*/ 268830 w 1984332"/>
                    <a:gd name="connsiteY35" fmla="*/ 154577 h 1520187"/>
                    <a:gd name="connsiteX36" fmla="*/ 349479 w 1984332"/>
                    <a:gd name="connsiteY36" fmla="*/ 288991 h 1520187"/>
                    <a:gd name="connsiteX37" fmla="*/ 349479 w 1984332"/>
                    <a:gd name="connsiteY37" fmla="*/ 329316 h 1520187"/>
                    <a:gd name="connsiteX38" fmla="*/ 20162 w 1984332"/>
                    <a:gd name="connsiteY38" fmla="*/ 336037 h 1520187"/>
                    <a:gd name="connsiteX39" fmla="*/ 0 w 1984332"/>
                    <a:gd name="connsiteY39" fmla="*/ 356199 h 1520187"/>
                    <a:gd name="connsiteX40" fmla="*/ 0 w 1984332"/>
                    <a:gd name="connsiteY40" fmla="*/ 698956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20162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94090 w 1984332"/>
                    <a:gd name="connsiteY46" fmla="*/ 719118 h 1520187"/>
                    <a:gd name="connsiteX47" fmla="*/ 120973 w 1984332"/>
                    <a:gd name="connsiteY47" fmla="*/ 705677 h 1520187"/>
                    <a:gd name="connsiteX48" fmla="*/ 221785 w 1984332"/>
                    <a:gd name="connsiteY48" fmla="*/ 638469 h 1520187"/>
                    <a:gd name="connsiteX49" fmla="*/ 221785 w 1984332"/>
                    <a:gd name="connsiteY49" fmla="*/ 638469 h 1520187"/>
                    <a:gd name="connsiteX50" fmla="*/ 336037 w 1984332"/>
                    <a:gd name="connsiteY50" fmla="*/ 752722 h 1520187"/>
                    <a:gd name="connsiteX51" fmla="*/ 221785 w 1984332"/>
                    <a:gd name="connsiteY51" fmla="*/ 873695 h 1520187"/>
                    <a:gd name="connsiteX52" fmla="*/ 221785 w 1984332"/>
                    <a:gd name="connsiteY52" fmla="*/ 873695 h 1520187"/>
                    <a:gd name="connsiteX53" fmla="*/ 114253 w 1984332"/>
                    <a:gd name="connsiteY53" fmla="*/ 799767 h 1520187"/>
                    <a:gd name="connsiteX54" fmla="*/ 94090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20162 w 1984332"/>
                    <a:gd name="connsiteY59" fmla="*/ 786325 h 1520187"/>
                    <a:gd name="connsiteX60" fmla="*/ 0 w 1984332"/>
                    <a:gd name="connsiteY60" fmla="*/ 806488 h 1520187"/>
                    <a:gd name="connsiteX61" fmla="*/ 0 w 1984332"/>
                    <a:gd name="connsiteY61" fmla="*/ 1162686 h 1520187"/>
                    <a:gd name="connsiteX62" fmla="*/ 20162 w 1984332"/>
                    <a:gd name="connsiteY62" fmla="*/ 1182849 h 1520187"/>
                    <a:gd name="connsiteX63" fmla="*/ 20162 w 1984332"/>
                    <a:gd name="connsiteY63" fmla="*/ 1182849 h 1520187"/>
                    <a:gd name="connsiteX64" fmla="*/ 356200 w 1984332"/>
                    <a:gd name="connsiteY64" fmla="*/ 1182849 h 1520187"/>
                    <a:gd name="connsiteX65" fmla="*/ 356200 w 1984332"/>
                    <a:gd name="connsiteY65" fmla="*/ 1223173 h 1520187"/>
                    <a:gd name="connsiteX66" fmla="*/ 268830 w 1984332"/>
                    <a:gd name="connsiteY66" fmla="*/ 1364308 h 1520187"/>
                    <a:gd name="connsiteX67" fmla="*/ 315875 w 1984332"/>
                    <a:gd name="connsiteY67" fmla="*/ 1471840 h 1520187"/>
                    <a:gd name="connsiteX68" fmla="*/ 423407 w 1984332"/>
                    <a:gd name="connsiteY68" fmla="*/ 1518885 h 1520187"/>
                    <a:gd name="connsiteX69" fmla="*/ 423407 w 1984332"/>
                    <a:gd name="connsiteY69" fmla="*/ 1518885 h 1520187"/>
                    <a:gd name="connsiteX70" fmla="*/ 537660 w 1984332"/>
                    <a:gd name="connsiteY70" fmla="*/ 1478561 h 1520187"/>
                    <a:gd name="connsiteX71" fmla="*/ 584705 w 1984332"/>
                    <a:gd name="connsiteY71" fmla="*/ 1371029 h 1520187"/>
                    <a:gd name="connsiteX72" fmla="*/ 510777 w 1984332"/>
                    <a:gd name="connsiteY72" fmla="*/ 1236614 h 1520187"/>
                    <a:gd name="connsiteX73" fmla="*/ 510777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833373 w 1984332"/>
                    <a:gd name="connsiteY76" fmla="*/ 1189569 h 1520187"/>
                    <a:gd name="connsiteX77" fmla="*/ 1189572 w 1984332"/>
                    <a:gd name="connsiteY77" fmla="*/ 1189569 h 1520187"/>
                    <a:gd name="connsiteX78" fmla="*/ 1203014 w 1984332"/>
                    <a:gd name="connsiteY78" fmla="*/ 1182849 h 1520187"/>
                    <a:gd name="connsiteX79" fmla="*/ 1209734 w 1984332"/>
                    <a:gd name="connsiteY79" fmla="*/ 1169407 h 1520187"/>
                    <a:gd name="connsiteX80" fmla="*/ 1209734 w 1984332"/>
                    <a:gd name="connsiteY80" fmla="*/ 1095479 h 1520187"/>
                    <a:gd name="connsiteX81" fmla="*/ 1196293 w 1984332"/>
                    <a:gd name="connsiteY81" fmla="*/ 1075317 h 1520187"/>
                    <a:gd name="connsiteX82" fmla="*/ 1122365 w 1984332"/>
                    <a:gd name="connsiteY82" fmla="*/ 967785 h 1520187"/>
                    <a:gd name="connsiteX83" fmla="*/ 1155969 w 1984332"/>
                    <a:gd name="connsiteY83" fmla="*/ 887136 h 1520187"/>
                    <a:gd name="connsiteX84" fmla="*/ 1236617 w 1984332"/>
                    <a:gd name="connsiteY84" fmla="*/ 853533 h 1520187"/>
                    <a:gd name="connsiteX85" fmla="*/ 1236617 w 1984332"/>
                    <a:gd name="connsiteY85" fmla="*/ 853533 h 1520187"/>
                    <a:gd name="connsiteX86" fmla="*/ 1317266 w 1984332"/>
                    <a:gd name="connsiteY86" fmla="*/ 887136 h 1520187"/>
                    <a:gd name="connsiteX87" fmla="*/ 1350870 w 1984332"/>
                    <a:gd name="connsiteY87" fmla="*/ 967785 h 1520187"/>
                    <a:gd name="connsiteX88" fmla="*/ 1283663 w 1984332"/>
                    <a:gd name="connsiteY88" fmla="*/ 1068596 h 1520187"/>
                    <a:gd name="connsiteX89" fmla="*/ 1270221 w 1984332"/>
                    <a:gd name="connsiteY89" fmla="*/ 1088758 h 1520187"/>
                    <a:gd name="connsiteX90" fmla="*/ 1270221 w 1984332"/>
                    <a:gd name="connsiteY90" fmla="*/ 1162686 h 1520187"/>
                    <a:gd name="connsiteX91" fmla="*/ 1276942 w 1984332"/>
                    <a:gd name="connsiteY91" fmla="*/ 1176128 h 1520187"/>
                    <a:gd name="connsiteX92" fmla="*/ 1290383 w 1984332"/>
                    <a:gd name="connsiteY92" fmla="*/ 1182849 h 1520187"/>
                    <a:gd name="connsiteX93" fmla="*/ 1290383 w 1984332"/>
                    <a:gd name="connsiteY93" fmla="*/ 1182849 h 1520187"/>
                    <a:gd name="connsiteX94" fmla="*/ 1633141 w 1984332"/>
                    <a:gd name="connsiteY94" fmla="*/ 1182849 h 1520187"/>
                    <a:gd name="connsiteX95" fmla="*/ 1653304 w 1984332"/>
                    <a:gd name="connsiteY95" fmla="*/ 1162686 h 1520187"/>
                    <a:gd name="connsiteX96" fmla="*/ 1653304 w 1984332"/>
                    <a:gd name="connsiteY96" fmla="*/ 833371 h 1520187"/>
                    <a:gd name="connsiteX97" fmla="*/ 1693628 w 1984332"/>
                    <a:gd name="connsiteY97" fmla="*/ 833371 h 1520187"/>
                    <a:gd name="connsiteX98" fmla="*/ 1828043 w 1984332"/>
                    <a:gd name="connsiteY98" fmla="*/ 914019 h 1520187"/>
                    <a:gd name="connsiteX99" fmla="*/ 1828043 w 1984332"/>
                    <a:gd name="connsiteY99" fmla="*/ 914019 h 1520187"/>
                    <a:gd name="connsiteX100" fmla="*/ 1935575 w 1984332"/>
                    <a:gd name="connsiteY100" fmla="*/ 866974 h 1520187"/>
                    <a:gd name="connsiteX101" fmla="*/ 1982620 w 1984332"/>
                    <a:gd name="connsiteY101" fmla="*/ 759443 h 1520187"/>
                    <a:gd name="connsiteX102" fmla="*/ 1949017 w 1984332"/>
                    <a:gd name="connsiteY102" fmla="*/ 645190 h 1520187"/>
                    <a:gd name="connsiteX103" fmla="*/ 483894 w 1984332"/>
                    <a:gd name="connsiteY103" fmla="*/ 1142524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162686 h 1520187"/>
                    <a:gd name="connsiteX107" fmla="*/ 463732 w 1984332"/>
                    <a:gd name="connsiteY107" fmla="*/ 1236614 h 1520187"/>
                    <a:gd name="connsiteX108" fmla="*/ 463732 w 1984332"/>
                    <a:gd name="connsiteY108" fmla="*/ 1236614 h 1520187"/>
                    <a:gd name="connsiteX109" fmla="*/ 477173 w 1984332"/>
                    <a:gd name="connsiteY109" fmla="*/ 1263497 h 1520187"/>
                    <a:gd name="connsiteX110" fmla="*/ 544381 w 1984332"/>
                    <a:gd name="connsiteY110" fmla="*/ 1364308 h 1520187"/>
                    <a:gd name="connsiteX111" fmla="*/ 510777 w 1984332"/>
                    <a:gd name="connsiteY111" fmla="*/ 1444957 h 1520187"/>
                    <a:gd name="connsiteX112" fmla="*/ 423407 w 1984332"/>
                    <a:gd name="connsiteY112" fmla="*/ 1478561 h 1520187"/>
                    <a:gd name="connsiteX113" fmla="*/ 423407 w 1984332"/>
                    <a:gd name="connsiteY113" fmla="*/ 1478561 h 1520187"/>
                    <a:gd name="connsiteX114" fmla="*/ 342758 w 1984332"/>
                    <a:gd name="connsiteY114" fmla="*/ 1444957 h 1520187"/>
                    <a:gd name="connsiteX115" fmla="*/ 309154 w 1984332"/>
                    <a:gd name="connsiteY115" fmla="*/ 1364308 h 1520187"/>
                    <a:gd name="connsiteX116" fmla="*/ 383083 w 1984332"/>
                    <a:gd name="connsiteY116" fmla="*/ 1256777 h 1520187"/>
                    <a:gd name="connsiteX117" fmla="*/ 396524 w 1984332"/>
                    <a:gd name="connsiteY117" fmla="*/ 1236614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96524 w 1984332"/>
                    <a:gd name="connsiteY120" fmla="*/ 1162686 h 1520187"/>
                    <a:gd name="connsiteX121" fmla="*/ 376362 w 1984332"/>
                    <a:gd name="connsiteY121" fmla="*/ 1142524 h 1520187"/>
                    <a:gd name="connsiteX122" fmla="*/ 376362 w 1984332"/>
                    <a:gd name="connsiteY122" fmla="*/ 1142524 h 1520187"/>
                    <a:gd name="connsiteX123" fmla="*/ 40324 w 1984332"/>
                    <a:gd name="connsiteY123" fmla="*/ 1142524 h 1520187"/>
                    <a:gd name="connsiteX124" fmla="*/ 40324 w 1984332"/>
                    <a:gd name="connsiteY124" fmla="*/ 833371 h 1520187"/>
                    <a:gd name="connsiteX125" fmla="*/ 80649 w 1984332"/>
                    <a:gd name="connsiteY125" fmla="*/ 833371 h 1520187"/>
                    <a:gd name="connsiteX126" fmla="*/ 221785 w 1984332"/>
                    <a:gd name="connsiteY126" fmla="*/ 920740 h 1520187"/>
                    <a:gd name="connsiteX127" fmla="*/ 221785 w 1984332"/>
                    <a:gd name="connsiteY127" fmla="*/ 920740 h 1520187"/>
                    <a:gd name="connsiteX128" fmla="*/ 376362 w 1984332"/>
                    <a:gd name="connsiteY128" fmla="*/ 766163 h 1520187"/>
                    <a:gd name="connsiteX129" fmla="*/ 221785 w 1984332"/>
                    <a:gd name="connsiteY129" fmla="*/ 604866 h 1520187"/>
                    <a:gd name="connsiteX130" fmla="*/ 221785 w 1984332"/>
                    <a:gd name="connsiteY130" fmla="*/ 604866 h 1520187"/>
                    <a:gd name="connsiteX131" fmla="*/ 87370 w 1984332"/>
                    <a:gd name="connsiteY131" fmla="*/ 678794 h 1520187"/>
                    <a:gd name="connsiteX132" fmla="*/ 40324 w 1984332"/>
                    <a:gd name="connsiteY132" fmla="*/ 678794 h 1520187"/>
                    <a:gd name="connsiteX133" fmla="*/ 40324 w 1984332"/>
                    <a:gd name="connsiteY133" fmla="*/ 376361 h 1520187"/>
                    <a:gd name="connsiteX134" fmla="*/ 369641 w 1984332"/>
                    <a:gd name="connsiteY134" fmla="*/ 376361 h 1520187"/>
                    <a:gd name="connsiteX135" fmla="*/ 383083 w 1984332"/>
                    <a:gd name="connsiteY135" fmla="*/ 369640 h 1520187"/>
                    <a:gd name="connsiteX136" fmla="*/ 389803 w 1984332"/>
                    <a:gd name="connsiteY136" fmla="*/ 356199 h 1520187"/>
                    <a:gd name="connsiteX137" fmla="*/ 389803 w 1984332"/>
                    <a:gd name="connsiteY137" fmla="*/ 275550 h 1520187"/>
                    <a:gd name="connsiteX138" fmla="*/ 376362 w 1984332"/>
                    <a:gd name="connsiteY138" fmla="*/ 255388 h 1520187"/>
                    <a:gd name="connsiteX139" fmla="*/ 309154 w 1984332"/>
                    <a:gd name="connsiteY139" fmla="*/ 154577 h 1520187"/>
                    <a:gd name="connsiteX140" fmla="*/ 423407 w 1984332"/>
                    <a:gd name="connsiteY140" fmla="*/ 40324 h 1520187"/>
                    <a:gd name="connsiteX141" fmla="*/ 504056 w 1984332"/>
                    <a:gd name="connsiteY141" fmla="*/ 73928 h 1520187"/>
                    <a:gd name="connsiteX142" fmla="*/ 537660 w 1984332"/>
                    <a:gd name="connsiteY142" fmla="*/ 154577 h 1520187"/>
                    <a:gd name="connsiteX143" fmla="*/ 470452 w 1984332"/>
                    <a:gd name="connsiteY143" fmla="*/ 262109 h 1520187"/>
                    <a:gd name="connsiteX144" fmla="*/ 457011 w 1984332"/>
                    <a:gd name="connsiteY144" fmla="*/ 282271 h 1520187"/>
                    <a:gd name="connsiteX145" fmla="*/ 457011 w 1984332"/>
                    <a:gd name="connsiteY145" fmla="*/ 362919 h 1520187"/>
                    <a:gd name="connsiteX146" fmla="*/ 477173 w 1984332"/>
                    <a:gd name="connsiteY146" fmla="*/ 383082 h 1520187"/>
                    <a:gd name="connsiteX147" fmla="*/ 477173 w 1984332"/>
                    <a:gd name="connsiteY147" fmla="*/ 383082 h 1520187"/>
                    <a:gd name="connsiteX148" fmla="*/ 806490 w 1984332"/>
                    <a:gd name="connsiteY148" fmla="*/ 383082 h 1520187"/>
                    <a:gd name="connsiteX149" fmla="*/ 806490 w 1984332"/>
                    <a:gd name="connsiteY149" fmla="*/ 631749 h 1520187"/>
                    <a:gd name="connsiteX150" fmla="*/ 806490 w 1984332"/>
                    <a:gd name="connsiteY150" fmla="*/ 685515 h 1520187"/>
                    <a:gd name="connsiteX151" fmla="*/ 766165 w 1984332"/>
                    <a:gd name="connsiteY151" fmla="*/ 685515 h 1520187"/>
                    <a:gd name="connsiteX152" fmla="*/ 631750 w 1984332"/>
                    <a:gd name="connsiteY152" fmla="*/ 604866 h 1520187"/>
                    <a:gd name="connsiteX153" fmla="*/ 631750 w 1984332"/>
                    <a:gd name="connsiteY153" fmla="*/ 604866 h 1520187"/>
                    <a:gd name="connsiteX154" fmla="*/ 517497 w 1984332"/>
                    <a:gd name="connsiteY154" fmla="*/ 651911 h 1520187"/>
                    <a:gd name="connsiteX155" fmla="*/ 470452 w 1984332"/>
                    <a:gd name="connsiteY155" fmla="*/ 759443 h 1520187"/>
                    <a:gd name="connsiteX156" fmla="*/ 517497 w 1984332"/>
                    <a:gd name="connsiteY156" fmla="*/ 866974 h 1520187"/>
                    <a:gd name="connsiteX157" fmla="*/ 625029 w 1984332"/>
                    <a:gd name="connsiteY157" fmla="*/ 914019 h 1520187"/>
                    <a:gd name="connsiteX158" fmla="*/ 625029 w 1984332"/>
                    <a:gd name="connsiteY158" fmla="*/ 914019 h 1520187"/>
                    <a:gd name="connsiteX159" fmla="*/ 766165 w 1984332"/>
                    <a:gd name="connsiteY159" fmla="*/ 826650 h 1520187"/>
                    <a:gd name="connsiteX160" fmla="*/ 799769 w 1984332"/>
                    <a:gd name="connsiteY160" fmla="*/ 826650 h 1520187"/>
                    <a:gd name="connsiteX161" fmla="*/ 799769 w 1984332"/>
                    <a:gd name="connsiteY161" fmla="*/ 1135803 h 1520187"/>
                    <a:gd name="connsiteX162" fmla="*/ 483894 w 1984332"/>
                    <a:gd name="connsiteY162" fmla="*/ 1142524 h 1520187"/>
                    <a:gd name="connsiteX163" fmla="*/ 1915413 w 1984332"/>
                    <a:gd name="connsiteY163" fmla="*/ 840091 h 1520187"/>
                    <a:gd name="connsiteX164" fmla="*/ 1834764 w 1984332"/>
                    <a:gd name="connsiteY164" fmla="*/ 873695 h 1520187"/>
                    <a:gd name="connsiteX165" fmla="*/ 1834764 w 1984332"/>
                    <a:gd name="connsiteY165" fmla="*/ 873695 h 1520187"/>
                    <a:gd name="connsiteX166" fmla="*/ 1733953 w 1984332"/>
                    <a:gd name="connsiteY166" fmla="*/ 806488 h 1520187"/>
                    <a:gd name="connsiteX167" fmla="*/ 1713790 w 1984332"/>
                    <a:gd name="connsiteY167" fmla="*/ 793046 h 1520187"/>
                    <a:gd name="connsiteX168" fmla="*/ 1713790 w 1984332"/>
                    <a:gd name="connsiteY168" fmla="*/ 793046 h 1520187"/>
                    <a:gd name="connsiteX169" fmla="*/ 1633141 w 1984332"/>
                    <a:gd name="connsiteY169" fmla="*/ 793046 h 1520187"/>
                    <a:gd name="connsiteX170" fmla="*/ 1612979 w 1984332"/>
                    <a:gd name="connsiteY170" fmla="*/ 813208 h 1520187"/>
                    <a:gd name="connsiteX171" fmla="*/ 1612979 w 1984332"/>
                    <a:gd name="connsiteY171" fmla="*/ 1142524 h 1520187"/>
                    <a:gd name="connsiteX172" fmla="*/ 1310546 w 1984332"/>
                    <a:gd name="connsiteY172" fmla="*/ 1142524 h 1520187"/>
                    <a:gd name="connsiteX173" fmla="*/ 1310546 w 1984332"/>
                    <a:gd name="connsiteY173" fmla="*/ 1102200 h 1520187"/>
                    <a:gd name="connsiteX174" fmla="*/ 1384474 w 1984332"/>
                    <a:gd name="connsiteY174" fmla="*/ 967785 h 1520187"/>
                    <a:gd name="connsiteX175" fmla="*/ 1337429 w 1984332"/>
                    <a:gd name="connsiteY175" fmla="*/ 860254 h 1520187"/>
                    <a:gd name="connsiteX176" fmla="*/ 1229897 w 1984332"/>
                    <a:gd name="connsiteY176" fmla="*/ 813208 h 1520187"/>
                    <a:gd name="connsiteX177" fmla="*/ 1229897 w 1984332"/>
                    <a:gd name="connsiteY177" fmla="*/ 813208 h 1520187"/>
                    <a:gd name="connsiteX178" fmla="*/ 1122365 w 1984332"/>
                    <a:gd name="connsiteY178" fmla="*/ 860254 h 1520187"/>
                    <a:gd name="connsiteX179" fmla="*/ 1075320 w 1984332"/>
                    <a:gd name="connsiteY179" fmla="*/ 967785 h 1520187"/>
                    <a:gd name="connsiteX180" fmla="*/ 1162689 w 1984332"/>
                    <a:gd name="connsiteY180" fmla="*/ 1108921 h 1520187"/>
                    <a:gd name="connsiteX181" fmla="*/ 1162689 w 1984332"/>
                    <a:gd name="connsiteY181" fmla="*/ 1142524 h 1520187"/>
                    <a:gd name="connsiteX182" fmla="*/ 853535 w 1984332"/>
                    <a:gd name="connsiteY182" fmla="*/ 1142524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19929 h 1520187"/>
                    <a:gd name="connsiteX185" fmla="*/ 853535 w 1984332"/>
                    <a:gd name="connsiteY185" fmla="*/ 806488 h 1520187"/>
                    <a:gd name="connsiteX186" fmla="*/ 846814 w 1984332"/>
                    <a:gd name="connsiteY186" fmla="*/ 793046 h 1520187"/>
                    <a:gd name="connsiteX187" fmla="*/ 833373 w 1984332"/>
                    <a:gd name="connsiteY187" fmla="*/ 786325 h 1520187"/>
                    <a:gd name="connsiteX188" fmla="*/ 833373 w 1984332"/>
                    <a:gd name="connsiteY188" fmla="*/ 786325 h 1520187"/>
                    <a:gd name="connsiteX189" fmla="*/ 759444 w 1984332"/>
                    <a:gd name="connsiteY189" fmla="*/ 786325 h 1520187"/>
                    <a:gd name="connsiteX190" fmla="*/ 739282 w 1984332"/>
                    <a:gd name="connsiteY190" fmla="*/ 799767 h 1520187"/>
                    <a:gd name="connsiteX191" fmla="*/ 631750 w 1984332"/>
                    <a:gd name="connsiteY191" fmla="*/ 873695 h 1520187"/>
                    <a:gd name="connsiteX192" fmla="*/ 631750 w 1984332"/>
                    <a:gd name="connsiteY192" fmla="*/ 873695 h 1520187"/>
                    <a:gd name="connsiteX193" fmla="*/ 551101 w 1984332"/>
                    <a:gd name="connsiteY193" fmla="*/ 840091 h 1520187"/>
                    <a:gd name="connsiteX194" fmla="*/ 517497 w 1984332"/>
                    <a:gd name="connsiteY194" fmla="*/ 759443 h 1520187"/>
                    <a:gd name="connsiteX195" fmla="*/ 551101 w 1984332"/>
                    <a:gd name="connsiteY195" fmla="*/ 678794 h 1520187"/>
                    <a:gd name="connsiteX196" fmla="*/ 631750 w 1984332"/>
                    <a:gd name="connsiteY196" fmla="*/ 645190 h 1520187"/>
                    <a:gd name="connsiteX197" fmla="*/ 631750 w 1984332"/>
                    <a:gd name="connsiteY197" fmla="*/ 645190 h 1520187"/>
                    <a:gd name="connsiteX198" fmla="*/ 732561 w 1984332"/>
                    <a:gd name="connsiteY198" fmla="*/ 712397 h 1520187"/>
                    <a:gd name="connsiteX199" fmla="*/ 752724 w 1984332"/>
                    <a:gd name="connsiteY199" fmla="*/ 725839 h 1520187"/>
                    <a:gd name="connsiteX200" fmla="*/ 752724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26652 w 1984332"/>
                    <a:gd name="connsiteY202" fmla="*/ 725839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0093 w 1984332"/>
                    <a:gd name="connsiteY205" fmla="*/ 719118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705677 h 1520187"/>
                    <a:gd name="connsiteX210" fmla="*/ 846814 w 1984332"/>
                    <a:gd name="connsiteY210" fmla="*/ 383082 h 1520187"/>
                    <a:gd name="connsiteX211" fmla="*/ 1155969 w 1984332"/>
                    <a:gd name="connsiteY211" fmla="*/ 383082 h 1520187"/>
                    <a:gd name="connsiteX212" fmla="*/ 1155969 w 1984332"/>
                    <a:gd name="connsiteY212" fmla="*/ 423406 h 1520187"/>
                    <a:gd name="connsiteX213" fmla="*/ 1075320 w 1984332"/>
                    <a:gd name="connsiteY213" fmla="*/ 557821 h 1520187"/>
                    <a:gd name="connsiteX214" fmla="*/ 1198940 w 1984332"/>
                    <a:gd name="connsiteY214" fmla="*/ 705254 h 1520187"/>
                    <a:gd name="connsiteX215" fmla="*/ 1251328 w 1984332"/>
                    <a:gd name="connsiteY215" fmla="*/ 714779 h 1520187"/>
                    <a:gd name="connsiteX216" fmla="*/ 1351716 w 1984332"/>
                    <a:gd name="connsiteY216" fmla="*/ 670115 h 1520187"/>
                    <a:gd name="connsiteX217" fmla="*/ 1396380 w 1984332"/>
                    <a:gd name="connsiteY217" fmla="*/ 553058 h 1520187"/>
                    <a:gd name="connsiteX218" fmla="*/ 1310546 w 1984332"/>
                    <a:gd name="connsiteY218" fmla="*/ 423406 h 1520187"/>
                    <a:gd name="connsiteX219" fmla="*/ 1310546 w 1984332"/>
                    <a:gd name="connsiteY219" fmla="*/ 376361 h 1520187"/>
                    <a:gd name="connsiteX220" fmla="*/ 1612979 w 1984332"/>
                    <a:gd name="connsiteY220" fmla="*/ 376361 h 1520187"/>
                    <a:gd name="connsiteX221" fmla="*/ 1612979 w 1984332"/>
                    <a:gd name="connsiteY221" fmla="*/ 705677 h 1520187"/>
                    <a:gd name="connsiteX222" fmla="*/ 1633141 w 1984332"/>
                    <a:gd name="connsiteY222" fmla="*/ 725839 h 1520187"/>
                    <a:gd name="connsiteX223" fmla="*/ 1633141 w 1984332"/>
                    <a:gd name="connsiteY223" fmla="*/ 725839 h 1520187"/>
                    <a:gd name="connsiteX224" fmla="*/ 1713790 w 1984332"/>
                    <a:gd name="connsiteY224" fmla="*/ 725839 h 1520187"/>
                    <a:gd name="connsiteX225" fmla="*/ 1733953 w 1984332"/>
                    <a:gd name="connsiteY225" fmla="*/ 712397 h 1520187"/>
                    <a:gd name="connsiteX226" fmla="*/ 1834764 w 1984332"/>
                    <a:gd name="connsiteY226" fmla="*/ 645190 h 1520187"/>
                    <a:gd name="connsiteX227" fmla="*/ 1834764 w 1984332"/>
                    <a:gd name="connsiteY227" fmla="*/ 645190 h 1520187"/>
                    <a:gd name="connsiteX228" fmla="*/ 1915413 w 1984332"/>
                    <a:gd name="connsiteY228" fmla="*/ 678794 h 1520187"/>
                    <a:gd name="connsiteX229" fmla="*/ 1949017 w 1984332"/>
                    <a:gd name="connsiteY229" fmla="*/ 759443 h 1520187"/>
                    <a:gd name="connsiteX230" fmla="*/ 1915413 w 1984332"/>
                    <a:gd name="connsiteY230" fmla="*/ 840091 h 1520187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83663 w 1984332"/>
                    <a:gd name="connsiteY13" fmla="*/ 423406 h 1520187"/>
                    <a:gd name="connsiteX14" fmla="*/ 1297104 w 1984332"/>
                    <a:gd name="connsiteY14" fmla="*/ 450289 h 1520187"/>
                    <a:gd name="connsiteX15" fmla="*/ 1364312 w 1984332"/>
                    <a:gd name="connsiteY15" fmla="*/ 551100 h 1520187"/>
                    <a:gd name="connsiteX16" fmla="*/ 1330708 w 1984332"/>
                    <a:gd name="connsiteY16" fmla="*/ 631749 h 1520187"/>
                    <a:gd name="connsiteX17" fmla="*/ 1250059 w 1984332"/>
                    <a:gd name="connsiteY17" fmla="*/ 665352 h 1520187"/>
                    <a:gd name="connsiteX18" fmla="*/ 1135806 w 1984332"/>
                    <a:gd name="connsiteY18" fmla="*/ 551100 h 1520187"/>
                    <a:gd name="connsiteX19" fmla="*/ 1209734 w 1984332"/>
                    <a:gd name="connsiteY19" fmla="*/ 443568 h 1520187"/>
                    <a:gd name="connsiteX20" fmla="*/ 1223176 w 1984332"/>
                    <a:gd name="connsiteY20" fmla="*/ 423406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223176 w 1984332"/>
                    <a:gd name="connsiteY23" fmla="*/ 349478 h 1520187"/>
                    <a:gd name="connsiteX24" fmla="*/ 1182852 w 1984332"/>
                    <a:gd name="connsiteY24" fmla="*/ 336037 h 1520187"/>
                    <a:gd name="connsiteX25" fmla="*/ 11828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826652 w 1984332"/>
                    <a:gd name="connsiteY28" fmla="*/ 336037 h 1520187"/>
                    <a:gd name="connsiteX29" fmla="*/ 497335 w 1984332"/>
                    <a:gd name="connsiteY29" fmla="*/ 336037 h 1520187"/>
                    <a:gd name="connsiteX30" fmla="*/ 497335 w 1984332"/>
                    <a:gd name="connsiteY30" fmla="*/ 295712 h 1520187"/>
                    <a:gd name="connsiteX31" fmla="*/ 584705 w 1984332"/>
                    <a:gd name="connsiteY31" fmla="*/ 154577 h 1520187"/>
                    <a:gd name="connsiteX32" fmla="*/ 537660 w 1984332"/>
                    <a:gd name="connsiteY32" fmla="*/ 47045 h 1520187"/>
                    <a:gd name="connsiteX33" fmla="*/ 423407 w 1984332"/>
                    <a:gd name="connsiteY33" fmla="*/ 0 h 1520187"/>
                    <a:gd name="connsiteX34" fmla="*/ 423407 w 1984332"/>
                    <a:gd name="connsiteY34" fmla="*/ 0 h 1520187"/>
                    <a:gd name="connsiteX35" fmla="*/ 268830 w 1984332"/>
                    <a:gd name="connsiteY35" fmla="*/ 154577 h 1520187"/>
                    <a:gd name="connsiteX36" fmla="*/ 349479 w 1984332"/>
                    <a:gd name="connsiteY36" fmla="*/ 288991 h 1520187"/>
                    <a:gd name="connsiteX37" fmla="*/ 349479 w 1984332"/>
                    <a:gd name="connsiteY37" fmla="*/ 329316 h 1520187"/>
                    <a:gd name="connsiteX38" fmla="*/ 20162 w 1984332"/>
                    <a:gd name="connsiteY38" fmla="*/ 336037 h 1520187"/>
                    <a:gd name="connsiteX39" fmla="*/ 0 w 1984332"/>
                    <a:gd name="connsiteY39" fmla="*/ 356199 h 1520187"/>
                    <a:gd name="connsiteX40" fmla="*/ 0 w 1984332"/>
                    <a:gd name="connsiteY40" fmla="*/ 698956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20162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94090 w 1984332"/>
                    <a:gd name="connsiteY46" fmla="*/ 719118 h 1520187"/>
                    <a:gd name="connsiteX47" fmla="*/ 120973 w 1984332"/>
                    <a:gd name="connsiteY47" fmla="*/ 705677 h 1520187"/>
                    <a:gd name="connsiteX48" fmla="*/ 221785 w 1984332"/>
                    <a:gd name="connsiteY48" fmla="*/ 638469 h 1520187"/>
                    <a:gd name="connsiteX49" fmla="*/ 221785 w 1984332"/>
                    <a:gd name="connsiteY49" fmla="*/ 638469 h 1520187"/>
                    <a:gd name="connsiteX50" fmla="*/ 336037 w 1984332"/>
                    <a:gd name="connsiteY50" fmla="*/ 752722 h 1520187"/>
                    <a:gd name="connsiteX51" fmla="*/ 221785 w 1984332"/>
                    <a:gd name="connsiteY51" fmla="*/ 873695 h 1520187"/>
                    <a:gd name="connsiteX52" fmla="*/ 221785 w 1984332"/>
                    <a:gd name="connsiteY52" fmla="*/ 873695 h 1520187"/>
                    <a:gd name="connsiteX53" fmla="*/ 114253 w 1984332"/>
                    <a:gd name="connsiteY53" fmla="*/ 799767 h 1520187"/>
                    <a:gd name="connsiteX54" fmla="*/ 94090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20162 w 1984332"/>
                    <a:gd name="connsiteY59" fmla="*/ 786325 h 1520187"/>
                    <a:gd name="connsiteX60" fmla="*/ 0 w 1984332"/>
                    <a:gd name="connsiteY60" fmla="*/ 806488 h 1520187"/>
                    <a:gd name="connsiteX61" fmla="*/ 0 w 1984332"/>
                    <a:gd name="connsiteY61" fmla="*/ 1162686 h 1520187"/>
                    <a:gd name="connsiteX62" fmla="*/ 20162 w 1984332"/>
                    <a:gd name="connsiteY62" fmla="*/ 1182849 h 1520187"/>
                    <a:gd name="connsiteX63" fmla="*/ 20162 w 1984332"/>
                    <a:gd name="connsiteY63" fmla="*/ 1182849 h 1520187"/>
                    <a:gd name="connsiteX64" fmla="*/ 356200 w 1984332"/>
                    <a:gd name="connsiteY64" fmla="*/ 1182849 h 1520187"/>
                    <a:gd name="connsiteX65" fmla="*/ 356200 w 1984332"/>
                    <a:gd name="connsiteY65" fmla="*/ 1223173 h 1520187"/>
                    <a:gd name="connsiteX66" fmla="*/ 268830 w 1984332"/>
                    <a:gd name="connsiteY66" fmla="*/ 1364308 h 1520187"/>
                    <a:gd name="connsiteX67" fmla="*/ 315875 w 1984332"/>
                    <a:gd name="connsiteY67" fmla="*/ 1471840 h 1520187"/>
                    <a:gd name="connsiteX68" fmla="*/ 423407 w 1984332"/>
                    <a:gd name="connsiteY68" fmla="*/ 1518885 h 1520187"/>
                    <a:gd name="connsiteX69" fmla="*/ 423407 w 1984332"/>
                    <a:gd name="connsiteY69" fmla="*/ 1518885 h 1520187"/>
                    <a:gd name="connsiteX70" fmla="*/ 537660 w 1984332"/>
                    <a:gd name="connsiteY70" fmla="*/ 1478561 h 1520187"/>
                    <a:gd name="connsiteX71" fmla="*/ 584705 w 1984332"/>
                    <a:gd name="connsiteY71" fmla="*/ 1371029 h 1520187"/>
                    <a:gd name="connsiteX72" fmla="*/ 510777 w 1984332"/>
                    <a:gd name="connsiteY72" fmla="*/ 1236614 h 1520187"/>
                    <a:gd name="connsiteX73" fmla="*/ 510777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833373 w 1984332"/>
                    <a:gd name="connsiteY76" fmla="*/ 1189569 h 1520187"/>
                    <a:gd name="connsiteX77" fmla="*/ 1189572 w 1984332"/>
                    <a:gd name="connsiteY77" fmla="*/ 1189569 h 1520187"/>
                    <a:gd name="connsiteX78" fmla="*/ 1203014 w 1984332"/>
                    <a:gd name="connsiteY78" fmla="*/ 1182849 h 1520187"/>
                    <a:gd name="connsiteX79" fmla="*/ 1209734 w 1984332"/>
                    <a:gd name="connsiteY79" fmla="*/ 1169407 h 1520187"/>
                    <a:gd name="connsiteX80" fmla="*/ 1209734 w 1984332"/>
                    <a:gd name="connsiteY80" fmla="*/ 1095479 h 1520187"/>
                    <a:gd name="connsiteX81" fmla="*/ 1196293 w 1984332"/>
                    <a:gd name="connsiteY81" fmla="*/ 1075317 h 1520187"/>
                    <a:gd name="connsiteX82" fmla="*/ 1122365 w 1984332"/>
                    <a:gd name="connsiteY82" fmla="*/ 967785 h 1520187"/>
                    <a:gd name="connsiteX83" fmla="*/ 1155969 w 1984332"/>
                    <a:gd name="connsiteY83" fmla="*/ 887136 h 1520187"/>
                    <a:gd name="connsiteX84" fmla="*/ 1236617 w 1984332"/>
                    <a:gd name="connsiteY84" fmla="*/ 853533 h 1520187"/>
                    <a:gd name="connsiteX85" fmla="*/ 1236617 w 1984332"/>
                    <a:gd name="connsiteY85" fmla="*/ 853533 h 1520187"/>
                    <a:gd name="connsiteX86" fmla="*/ 1317266 w 1984332"/>
                    <a:gd name="connsiteY86" fmla="*/ 887136 h 1520187"/>
                    <a:gd name="connsiteX87" fmla="*/ 1350870 w 1984332"/>
                    <a:gd name="connsiteY87" fmla="*/ 967785 h 1520187"/>
                    <a:gd name="connsiteX88" fmla="*/ 1283663 w 1984332"/>
                    <a:gd name="connsiteY88" fmla="*/ 1068596 h 1520187"/>
                    <a:gd name="connsiteX89" fmla="*/ 1270221 w 1984332"/>
                    <a:gd name="connsiteY89" fmla="*/ 1088758 h 1520187"/>
                    <a:gd name="connsiteX90" fmla="*/ 1270221 w 1984332"/>
                    <a:gd name="connsiteY90" fmla="*/ 1162686 h 1520187"/>
                    <a:gd name="connsiteX91" fmla="*/ 1276942 w 1984332"/>
                    <a:gd name="connsiteY91" fmla="*/ 1176128 h 1520187"/>
                    <a:gd name="connsiteX92" fmla="*/ 1290383 w 1984332"/>
                    <a:gd name="connsiteY92" fmla="*/ 1182849 h 1520187"/>
                    <a:gd name="connsiteX93" fmla="*/ 1290383 w 1984332"/>
                    <a:gd name="connsiteY93" fmla="*/ 1182849 h 1520187"/>
                    <a:gd name="connsiteX94" fmla="*/ 1633141 w 1984332"/>
                    <a:gd name="connsiteY94" fmla="*/ 1182849 h 1520187"/>
                    <a:gd name="connsiteX95" fmla="*/ 1653304 w 1984332"/>
                    <a:gd name="connsiteY95" fmla="*/ 1162686 h 1520187"/>
                    <a:gd name="connsiteX96" fmla="*/ 1653304 w 1984332"/>
                    <a:gd name="connsiteY96" fmla="*/ 833371 h 1520187"/>
                    <a:gd name="connsiteX97" fmla="*/ 1693628 w 1984332"/>
                    <a:gd name="connsiteY97" fmla="*/ 833371 h 1520187"/>
                    <a:gd name="connsiteX98" fmla="*/ 1828043 w 1984332"/>
                    <a:gd name="connsiteY98" fmla="*/ 914019 h 1520187"/>
                    <a:gd name="connsiteX99" fmla="*/ 1828043 w 1984332"/>
                    <a:gd name="connsiteY99" fmla="*/ 914019 h 1520187"/>
                    <a:gd name="connsiteX100" fmla="*/ 1935575 w 1984332"/>
                    <a:gd name="connsiteY100" fmla="*/ 866974 h 1520187"/>
                    <a:gd name="connsiteX101" fmla="*/ 1982620 w 1984332"/>
                    <a:gd name="connsiteY101" fmla="*/ 759443 h 1520187"/>
                    <a:gd name="connsiteX102" fmla="*/ 1949017 w 1984332"/>
                    <a:gd name="connsiteY102" fmla="*/ 645190 h 1520187"/>
                    <a:gd name="connsiteX103" fmla="*/ 483894 w 1984332"/>
                    <a:gd name="connsiteY103" fmla="*/ 1142524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162686 h 1520187"/>
                    <a:gd name="connsiteX107" fmla="*/ 463732 w 1984332"/>
                    <a:gd name="connsiteY107" fmla="*/ 1236614 h 1520187"/>
                    <a:gd name="connsiteX108" fmla="*/ 463732 w 1984332"/>
                    <a:gd name="connsiteY108" fmla="*/ 1236614 h 1520187"/>
                    <a:gd name="connsiteX109" fmla="*/ 477173 w 1984332"/>
                    <a:gd name="connsiteY109" fmla="*/ 1263497 h 1520187"/>
                    <a:gd name="connsiteX110" fmla="*/ 544381 w 1984332"/>
                    <a:gd name="connsiteY110" fmla="*/ 1364308 h 1520187"/>
                    <a:gd name="connsiteX111" fmla="*/ 510777 w 1984332"/>
                    <a:gd name="connsiteY111" fmla="*/ 1444957 h 1520187"/>
                    <a:gd name="connsiteX112" fmla="*/ 423407 w 1984332"/>
                    <a:gd name="connsiteY112" fmla="*/ 1478561 h 1520187"/>
                    <a:gd name="connsiteX113" fmla="*/ 423407 w 1984332"/>
                    <a:gd name="connsiteY113" fmla="*/ 1478561 h 1520187"/>
                    <a:gd name="connsiteX114" fmla="*/ 342758 w 1984332"/>
                    <a:gd name="connsiteY114" fmla="*/ 1444957 h 1520187"/>
                    <a:gd name="connsiteX115" fmla="*/ 309154 w 1984332"/>
                    <a:gd name="connsiteY115" fmla="*/ 1364308 h 1520187"/>
                    <a:gd name="connsiteX116" fmla="*/ 383083 w 1984332"/>
                    <a:gd name="connsiteY116" fmla="*/ 1256777 h 1520187"/>
                    <a:gd name="connsiteX117" fmla="*/ 396524 w 1984332"/>
                    <a:gd name="connsiteY117" fmla="*/ 1236614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96524 w 1984332"/>
                    <a:gd name="connsiteY120" fmla="*/ 1162686 h 1520187"/>
                    <a:gd name="connsiteX121" fmla="*/ 376362 w 1984332"/>
                    <a:gd name="connsiteY121" fmla="*/ 1142524 h 1520187"/>
                    <a:gd name="connsiteX122" fmla="*/ 376362 w 1984332"/>
                    <a:gd name="connsiteY122" fmla="*/ 1142524 h 1520187"/>
                    <a:gd name="connsiteX123" fmla="*/ 40324 w 1984332"/>
                    <a:gd name="connsiteY123" fmla="*/ 1142524 h 1520187"/>
                    <a:gd name="connsiteX124" fmla="*/ 40324 w 1984332"/>
                    <a:gd name="connsiteY124" fmla="*/ 833371 h 1520187"/>
                    <a:gd name="connsiteX125" fmla="*/ 80649 w 1984332"/>
                    <a:gd name="connsiteY125" fmla="*/ 833371 h 1520187"/>
                    <a:gd name="connsiteX126" fmla="*/ 221785 w 1984332"/>
                    <a:gd name="connsiteY126" fmla="*/ 920740 h 1520187"/>
                    <a:gd name="connsiteX127" fmla="*/ 221785 w 1984332"/>
                    <a:gd name="connsiteY127" fmla="*/ 920740 h 1520187"/>
                    <a:gd name="connsiteX128" fmla="*/ 376362 w 1984332"/>
                    <a:gd name="connsiteY128" fmla="*/ 766163 h 1520187"/>
                    <a:gd name="connsiteX129" fmla="*/ 221785 w 1984332"/>
                    <a:gd name="connsiteY129" fmla="*/ 604866 h 1520187"/>
                    <a:gd name="connsiteX130" fmla="*/ 221785 w 1984332"/>
                    <a:gd name="connsiteY130" fmla="*/ 604866 h 1520187"/>
                    <a:gd name="connsiteX131" fmla="*/ 87370 w 1984332"/>
                    <a:gd name="connsiteY131" fmla="*/ 678794 h 1520187"/>
                    <a:gd name="connsiteX132" fmla="*/ 40324 w 1984332"/>
                    <a:gd name="connsiteY132" fmla="*/ 678794 h 1520187"/>
                    <a:gd name="connsiteX133" fmla="*/ 40324 w 1984332"/>
                    <a:gd name="connsiteY133" fmla="*/ 376361 h 1520187"/>
                    <a:gd name="connsiteX134" fmla="*/ 369641 w 1984332"/>
                    <a:gd name="connsiteY134" fmla="*/ 376361 h 1520187"/>
                    <a:gd name="connsiteX135" fmla="*/ 383083 w 1984332"/>
                    <a:gd name="connsiteY135" fmla="*/ 369640 h 1520187"/>
                    <a:gd name="connsiteX136" fmla="*/ 389803 w 1984332"/>
                    <a:gd name="connsiteY136" fmla="*/ 356199 h 1520187"/>
                    <a:gd name="connsiteX137" fmla="*/ 389803 w 1984332"/>
                    <a:gd name="connsiteY137" fmla="*/ 275550 h 1520187"/>
                    <a:gd name="connsiteX138" fmla="*/ 376362 w 1984332"/>
                    <a:gd name="connsiteY138" fmla="*/ 255388 h 1520187"/>
                    <a:gd name="connsiteX139" fmla="*/ 309154 w 1984332"/>
                    <a:gd name="connsiteY139" fmla="*/ 154577 h 1520187"/>
                    <a:gd name="connsiteX140" fmla="*/ 423407 w 1984332"/>
                    <a:gd name="connsiteY140" fmla="*/ 40324 h 1520187"/>
                    <a:gd name="connsiteX141" fmla="*/ 504056 w 1984332"/>
                    <a:gd name="connsiteY141" fmla="*/ 73928 h 1520187"/>
                    <a:gd name="connsiteX142" fmla="*/ 537660 w 1984332"/>
                    <a:gd name="connsiteY142" fmla="*/ 154577 h 1520187"/>
                    <a:gd name="connsiteX143" fmla="*/ 470452 w 1984332"/>
                    <a:gd name="connsiteY143" fmla="*/ 262109 h 1520187"/>
                    <a:gd name="connsiteX144" fmla="*/ 457011 w 1984332"/>
                    <a:gd name="connsiteY144" fmla="*/ 282271 h 1520187"/>
                    <a:gd name="connsiteX145" fmla="*/ 457011 w 1984332"/>
                    <a:gd name="connsiteY145" fmla="*/ 362919 h 1520187"/>
                    <a:gd name="connsiteX146" fmla="*/ 477173 w 1984332"/>
                    <a:gd name="connsiteY146" fmla="*/ 383082 h 1520187"/>
                    <a:gd name="connsiteX147" fmla="*/ 477173 w 1984332"/>
                    <a:gd name="connsiteY147" fmla="*/ 383082 h 1520187"/>
                    <a:gd name="connsiteX148" fmla="*/ 806490 w 1984332"/>
                    <a:gd name="connsiteY148" fmla="*/ 383082 h 1520187"/>
                    <a:gd name="connsiteX149" fmla="*/ 806490 w 1984332"/>
                    <a:gd name="connsiteY149" fmla="*/ 631749 h 1520187"/>
                    <a:gd name="connsiteX150" fmla="*/ 806490 w 1984332"/>
                    <a:gd name="connsiteY150" fmla="*/ 685515 h 1520187"/>
                    <a:gd name="connsiteX151" fmla="*/ 766165 w 1984332"/>
                    <a:gd name="connsiteY151" fmla="*/ 685515 h 1520187"/>
                    <a:gd name="connsiteX152" fmla="*/ 631750 w 1984332"/>
                    <a:gd name="connsiteY152" fmla="*/ 604866 h 1520187"/>
                    <a:gd name="connsiteX153" fmla="*/ 631750 w 1984332"/>
                    <a:gd name="connsiteY153" fmla="*/ 604866 h 1520187"/>
                    <a:gd name="connsiteX154" fmla="*/ 517497 w 1984332"/>
                    <a:gd name="connsiteY154" fmla="*/ 651911 h 1520187"/>
                    <a:gd name="connsiteX155" fmla="*/ 470452 w 1984332"/>
                    <a:gd name="connsiteY155" fmla="*/ 759443 h 1520187"/>
                    <a:gd name="connsiteX156" fmla="*/ 517497 w 1984332"/>
                    <a:gd name="connsiteY156" fmla="*/ 866974 h 1520187"/>
                    <a:gd name="connsiteX157" fmla="*/ 625029 w 1984332"/>
                    <a:gd name="connsiteY157" fmla="*/ 914019 h 1520187"/>
                    <a:gd name="connsiteX158" fmla="*/ 625029 w 1984332"/>
                    <a:gd name="connsiteY158" fmla="*/ 914019 h 1520187"/>
                    <a:gd name="connsiteX159" fmla="*/ 766165 w 1984332"/>
                    <a:gd name="connsiteY159" fmla="*/ 826650 h 1520187"/>
                    <a:gd name="connsiteX160" fmla="*/ 799769 w 1984332"/>
                    <a:gd name="connsiteY160" fmla="*/ 826650 h 1520187"/>
                    <a:gd name="connsiteX161" fmla="*/ 799769 w 1984332"/>
                    <a:gd name="connsiteY161" fmla="*/ 1135803 h 1520187"/>
                    <a:gd name="connsiteX162" fmla="*/ 483894 w 1984332"/>
                    <a:gd name="connsiteY162" fmla="*/ 1142524 h 1520187"/>
                    <a:gd name="connsiteX163" fmla="*/ 1915413 w 1984332"/>
                    <a:gd name="connsiteY163" fmla="*/ 840091 h 1520187"/>
                    <a:gd name="connsiteX164" fmla="*/ 1834764 w 1984332"/>
                    <a:gd name="connsiteY164" fmla="*/ 873695 h 1520187"/>
                    <a:gd name="connsiteX165" fmla="*/ 1834764 w 1984332"/>
                    <a:gd name="connsiteY165" fmla="*/ 873695 h 1520187"/>
                    <a:gd name="connsiteX166" fmla="*/ 1733953 w 1984332"/>
                    <a:gd name="connsiteY166" fmla="*/ 806488 h 1520187"/>
                    <a:gd name="connsiteX167" fmla="*/ 1713790 w 1984332"/>
                    <a:gd name="connsiteY167" fmla="*/ 793046 h 1520187"/>
                    <a:gd name="connsiteX168" fmla="*/ 1713790 w 1984332"/>
                    <a:gd name="connsiteY168" fmla="*/ 793046 h 1520187"/>
                    <a:gd name="connsiteX169" fmla="*/ 1633141 w 1984332"/>
                    <a:gd name="connsiteY169" fmla="*/ 793046 h 1520187"/>
                    <a:gd name="connsiteX170" fmla="*/ 1612979 w 1984332"/>
                    <a:gd name="connsiteY170" fmla="*/ 813208 h 1520187"/>
                    <a:gd name="connsiteX171" fmla="*/ 1612979 w 1984332"/>
                    <a:gd name="connsiteY171" fmla="*/ 1142524 h 1520187"/>
                    <a:gd name="connsiteX172" fmla="*/ 1310546 w 1984332"/>
                    <a:gd name="connsiteY172" fmla="*/ 1142524 h 1520187"/>
                    <a:gd name="connsiteX173" fmla="*/ 1310546 w 1984332"/>
                    <a:gd name="connsiteY173" fmla="*/ 1102200 h 1520187"/>
                    <a:gd name="connsiteX174" fmla="*/ 1384474 w 1984332"/>
                    <a:gd name="connsiteY174" fmla="*/ 967785 h 1520187"/>
                    <a:gd name="connsiteX175" fmla="*/ 1337429 w 1984332"/>
                    <a:gd name="connsiteY175" fmla="*/ 860254 h 1520187"/>
                    <a:gd name="connsiteX176" fmla="*/ 1229897 w 1984332"/>
                    <a:gd name="connsiteY176" fmla="*/ 813208 h 1520187"/>
                    <a:gd name="connsiteX177" fmla="*/ 1229897 w 1984332"/>
                    <a:gd name="connsiteY177" fmla="*/ 813208 h 1520187"/>
                    <a:gd name="connsiteX178" fmla="*/ 1122365 w 1984332"/>
                    <a:gd name="connsiteY178" fmla="*/ 860254 h 1520187"/>
                    <a:gd name="connsiteX179" fmla="*/ 1075320 w 1984332"/>
                    <a:gd name="connsiteY179" fmla="*/ 967785 h 1520187"/>
                    <a:gd name="connsiteX180" fmla="*/ 1162689 w 1984332"/>
                    <a:gd name="connsiteY180" fmla="*/ 1108921 h 1520187"/>
                    <a:gd name="connsiteX181" fmla="*/ 1162689 w 1984332"/>
                    <a:gd name="connsiteY181" fmla="*/ 1142524 h 1520187"/>
                    <a:gd name="connsiteX182" fmla="*/ 853535 w 1984332"/>
                    <a:gd name="connsiteY182" fmla="*/ 1142524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19929 h 1520187"/>
                    <a:gd name="connsiteX185" fmla="*/ 853535 w 1984332"/>
                    <a:gd name="connsiteY185" fmla="*/ 806488 h 1520187"/>
                    <a:gd name="connsiteX186" fmla="*/ 846814 w 1984332"/>
                    <a:gd name="connsiteY186" fmla="*/ 793046 h 1520187"/>
                    <a:gd name="connsiteX187" fmla="*/ 833373 w 1984332"/>
                    <a:gd name="connsiteY187" fmla="*/ 786325 h 1520187"/>
                    <a:gd name="connsiteX188" fmla="*/ 833373 w 1984332"/>
                    <a:gd name="connsiteY188" fmla="*/ 786325 h 1520187"/>
                    <a:gd name="connsiteX189" fmla="*/ 759444 w 1984332"/>
                    <a:gd name="connsiteY189" fmla="*/ 786325 h 1520187"/>
                    <a:gd name="connsiteX190" fmla="*/ 739282 w 1984332"/>
                    <a:gd name="connsiteY190" fmla="*/ 799767 h 1520187"/>
                    <a:gd name="connsiteX191" fmla="*/ 631750 w 1984332"/>
                    <a:gd name="connsiteY191" fmla="*/ 873695 h 1520187"/>
                    <a:gd name="connsiteX192" fmla="*/ 631750 w 1984332"/>
                    <a:gd name="connsiteY192" fmla="*/ 873695 h 1520187"/>
                    <a:gd name="connsiteX193" fmla="*/ 551101 w 1984332"/>
                    <a:gd name="connsiteY193" fmla="*/ 840091 h 1520187"/>
                    <a:gd name="connsiteX194" fmla="*/ 517497 w 1984332"/>
                    <a:gd name="connsiteY194" fmla="*/ 759443 h 1520187"/>
                    <a:gd name="connsiteX195" fmla="*/ 551101 w 1984332"/>
                    <a:gd name="connsiteY195" fmla="*/ 678794 h 1520187"/>
                    <a:gd name="connsiteX196" fmla="*/ 631750 w 1984332"/>
                    <a:gd name="connsiteY196" fmla="*/ 645190 h 1520187"/>
                    <a:gd name="connsiteX197" fmla="*/ 631750 w 1984332"/>
                    <a:gd name="connsiteY197" fmla="*/ 645190 h 1520187"/>
                    <a:gd name="connsiteX198" fmla="*/ 732561 w 1984332"/>
                    <a:gd name="connsiteY198" fmla="*/ 712397 h 1520187"/>
                    <a:gd name="connsiteX199" fmla="*/ 752724 w 1984332"/>
                    <a:gd name="connsiteY199" fmla="*/ 725839 h 1520187"/>
                    <a:gd name="connsiteX200" fmla="*/ 752724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26652 w 1984332"/>
                    <a:gd name="connsiteY202" fmla="*/ 725839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0093 w 1984332"/>
                    <a:gd name="connsiteY205" fmla="*/ 719118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705677 h 1520187"/>
                    <a:gd name="connsiteX210" fmla="*/ 846814 w 1984332"/>
                    <a:gd name="connsiteY210" fmla="*/ 383082 h 1520187"/>
                    <a:gd name="connsiteX211" fmla="*/ 1155969 w 1984332"/>
                    <a:gd name="connsiteY211" fmla="*/ 383082 h 1520187"/>
                    <a:gd name="connsiteX212" fmla="*/ 1155969 w 1984332"/>
                    <a:gd name="connsiteY212" fmla="*/ 423406 h 1520187"/>
                    <a:gd name="connsiteX213" fmla="*/ 1075320 w 1984332"/>
                    <a:gd name="connsiteY213" fmla="*/ 557821 h 1520187"/>
                    <a:gd name="connsiteX214" fmla="*/ 1158459 w 1984332"/>
                    <a:gd name="connsiteY214" fmla="*/ 674298 h 1520187"/>
                    <a:gd name="connsiteX215" fmla="*/ 1251328 w 1984332"/>
                    <a:gd name="connsiteY215" fmla="*/ 714779 h 1520187"/>
                    <a:gd name="connsiteX216" fmla="*/ 1351716 w 1984332"/>
                    <a:gd name="connsiteY216" fmla="*/ 670115 h 1520187"/>
                    <a:gd name="connsiteX217" fmla="*/ 1396380 w 1984332"/>
                    <a:gd name="connsiteY217" fmla="*/ 553058 h 1520187"/>
                    <a:gd name="connsiteX218" fmla="*/ 1310546 w 1984332"/>
                    <a:gd name="connsiteY218" fmla="*/ 423406 h 1520187"/>
                    <a:gd name="connsiteX219" fmla="*/ 1310546 w 1984332"/>
                    <a:gd name="connsiteY219" fmla="*/ 376361 h 1520187"/>
                    <a:gd name="connsiteX220" fmla="*/ 1612979 w 1984332"/>
                    <a:gd name="connsiteY220" fmla="*/ 376361 h 1520187"/>
                    <a:gd name="connsiteX221" fmla="*/ 1612979 w 1984332"/>
                    <a:gd name="connsiteY221" fmla="*/ 705677 h 1520187"/>
                    <a:gd name="connsiteX222" fmla="*/ 1633141 w 1984332"/>
                    <a:gd name="connsiteY222" fmla="*/ 725839 h 1520187"/>
                    <a:gd name="connsiteX223" fmla="*/ 1633141 w 1984332"/>
                    <a:gd name="connsiteY223" fmla="*/ 725839 h 1520187"/>
                    <a:gd name="connsiteX224" fmla="*/ 1713790 w 1984332"/>
                    <a:gd name="connsiteY224" fmla="*/ 725839 h 1520187"/>
                    <a:gd name="connsiteX225" fmla="*/ 1733953 w 1984332"/>
                    <a:gd name="connsiteY225" fmla="*/ 712397 h 1520187"/>
                    <a:gd name="connsiteX226" fmla="*/ 1834764 w 1984332"/>
                    <a:gd name="connsiteY226" fmla="*/ 645190 h 1520187"/>
                    <a:gd name="connsiteX227" fmla="*/ 1834764 w 1984332"/>
                    <a:gd name="connsiteY227" fmla="*/ 645190 h 1520187"/>
                    <a:gd name="connsiteX228" fmla="*/ 1915413 w 1984332"/>
                    <a:gd name="connsiteY228" fmla="*/ 678794 h 1520187"/>
                    <a:gd name="connsiteX229" fmla="*/ 1949017 w 1984332"/>
                    <a:gd name="connsiteY229" fmla="*/ 759443 h 1520187"/>
                    <a:gd name="connsiteX230" fmla="*/ 1915413 w 1984332"/>
                    <a:gd name="connsiteY230" fmla="*/ 840091 h 1520187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83663 w 1984332"/>
                    <a:gd name="connsiteY13" fmla="*/ 423406 h 1520187"/>
                    <a:gd name="connsiteX14" fmla="*/ 1297104 w 1984332"/>
                    <a:gd name="connsiteY14" fmla="*/ 450289 h 1520187"/>
                    <a:gd name="connsiteX15" fmla="*/ 1364312 w 1984332"/>
                    <a:gd name="connsiteY15" fmla="*/ 551100 h 1520187"/>
                    <a:gd name="connsiteX16" fmla="*/ 1330708 w 1984332"/>
                    <a:gd name="connsiteY16" fmla="*/ 631749 h 1520187"/>
                    <a:gd name="connsiteX17" fmla="*/ 1250059 w 1984332"/>
                    <a:gd name="connsiteY17" fmla="*/ 665352 h 1520187"/>
                    <a:gd name="connsiteX18" fmla="*/ 1135806 w 1984332"/>
                    <a:gd name="connsiteY18" fmla="*/ 551100 h 1520187"/>
                    <a:gd name="connsiteX19" fmla="*/ 1209734 w 1984332"/>
                    <a:gd name="connsiteY19" fmla="*/ 443568 h 1520187"/>
                    <a:gd name="connsiteX20" fmla="*/ 1223176 w 1984332"/>
                    <a:gd name="connsiteY20" fmla="*/ 423406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223176 w 1984332"/>
                    <a:gd name="connsiteY23" fmla="*/ 349478 h 1520187"/>
                    <a:gd name="connsiteX24" fmla="*/ 1182852 w 1984332"/>
                    <a:gd name="connsiteY24" fmla="*/ 336037 h 1520187"/>
                    <a:gd name="connsiteX25" fmla="*/ 11828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826652 w 1984332"/>
                    <a:gd name="connsiteY28" fmla="*/ 336037 h 1520187"/>
                    <a:gd name="connsiteX29" fmla="*/ 497335 w 1984332"/>
                    <a:gd name="connsiteY29" fmla="*/ 336037 h 1520187"/>
                    <a:gd name="connsiteX30" fmla="*/ 497335 w 1984332"/>
                    <a:gd name="connsiteY30" fmla="*/ 295712 h 1520187"/>
                    <a:gd name="connsiteX31" fmla="*/ 584705 w 1984332"/>
                    <a:gd name="connsiteY31" fmla="*/ 154577 h 1520187"/>
                    <a:gd name="connsiteX32" fmla="*/ 537660 w 1984332"/>
                    <a:gd name="connsiteY32" fmla="*/ 47045 h 1520187"/>
                    <a:gd name="connsiteX33" fmla="*/ 423407 w 1984332"/>
                    <a:gd name="connsiteY33" fmla="*/ 0 h 1520187"/>
                    <a:gd name="connsiteX34" fmla="*/ 423407 w 1984332"/>
                    <a:gd name="connsiteY34" fmla="*/ 0 h 1520187"/>
                    <a:gd name="connsiteX35" fmla="*/ 268830 w 1984332"/>
                    <a:gd name="connsiteY35" fmla="*/ 154577 h 1520187"/>
                    <a:gd name="connsiteX36" fmla="*/ 349479 w 1984332"/>
                    <a:gd name="connsiteY36" fmla="*/ 288991 h 1520187"/>
                    <a:gd name="connsiteX37" fmla="*/ 349479 w 1984332"/>
                    <a:gd name="connsiteY37" fmla="*/ 329316 h 1520187"/>
                    <a:gd name="connsiteX38" fmla="*/ 20162 w 1984332"/>
                    <a:gd name="connsiteY38" fmla="*/ 336037 h 1520187"/>
                    <a:gd name="connsiteX39" fmla="*/ 0 w 1984332"/>
                    <a:gd name="connsiteY39" fmla="*/ 356199 h 1520187"/>
                    <a:gd name="connsiteX40" fmla="*/ 0 w 1984332"/>
                    <a:gd name="connsiteY40" fmla="*/ 698956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20162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94090 w 1984332"/>
                    <a:gd name="connsiteY46" fmla="*/ 719118 h 1520187"/>
                    <a:gd name="connsiteX47" fmla="*/ 120973 w 1984332"/>
                    <a:gd name="connsiteY47" fmla="*/ 705677 h 1520187"/>
                    <a:gd name="connsiteX48" fmla="*/ 221785 w 1984332"/>
                    <a:gd name="connsiteY48" fmla="*/ 638469 h 1520187"/>
                    <a:gd name="connsiteX49" fmla="*/ 221785 w 1984332"/>
                    <a:gd name="connsiteY49" fmla="*/ 638469 h 1520187"/>
                    <a:gd name="connsiteX50" fmla="*/ 336037 w 1984332"/>
                    <a:gd name="connsiteY50" fmla="*/ 752722 h 1520187"/>
                    <a:gd name="connsiteX51" fmla="*/ 221785 w 1984332"/>
                    <a:gd name="connsiteY51" fmla="*/ 873695 h 1520187"/>
                    <a:gd name="connsiteX52" fmla="*/ 221785 w 1984332"/>
                    <a:gd name="connsiteY52" fmla="*/ 873695 h 1520187"/>
                    <a:gd name="connsiteX53" fmla="*/ 114253 w 1984332"/>
                    <a:gd name="connsiteY53" fmla="*/ 799767 h 1520187"/>
                    <a:gd name="connsiteX54" fmla="*/ 94090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20162 w 1984332"/>
                    <a:gd name="connsiteY59" fmla="*/ 786325 h 1520187"/>
                    <a:gd name="connsiteX60" fmla="*/ 0 w 1984332"/>
                    <a:gd name="connsiteY60" fmla="*/ 806488 h 1520187"/>
                    <a:gd name="connsiteX61" fmla="*/ 0 w 1984332"/>
                    <a:gd name="connsiteY61" fmla="*/ 1162686 h 1520187"/>
                    <a:gd name="connsiteX62" fmla="*/ 20162 w 1984332"/>
                    <a:gd name="connsiteY62" fmla="*/ 1182849 h 1520187"/>
                    <a:gd name="connsiteX63" fmla="*/ 20162 w 1984332"/>
                    <a:gd name="connsiteY63" fmla="*/ 1182849 h 1520187"/>
                    <a:gd name="connsiteX64" fmla="*/ 356200 w 1984332"/>
                    <a:gd name="connsiteY64" fmla="*/ 1182849 h 1520187"/>
                    <a:gd name="connsiteX65" fmla="*/ 356200 w 1984332"/>
                    <a:gd name="connsiteY65" fmla="*/ 1223173 h 1520187"/>
                    <a:gd name="connsiteX66" fmla="*/ 268830 w 1984332"/>
                    <a:gd name="connsiteY66" fmla="*/ 1364308 h 1520187"/>
                    <a:gd name="connsiteX67" fmla="*/ 315875 w 1984332"/>
                    <a:gd name="connsiteY67" fmla="*/ 1471840 h 1520187"/>
                    <a:gd name="connsiteX68" fmla="*/ 423407 w 1984332"/>
                    <a:gd name="connsiteY68" fmla="*/ 1518885 h 1520187"/>
                    <a:gd name="connsiteX69" fmla="*/ 423407 w 1984332"/>
                    <a:gd name="connsiteY69" fmla="*/ 1518885 h 1520187"/>
                    <a:gd name="connsiteX70" fmla="*/ 537660 w 1984332"/>
                    <a:gd name="connsiteY70" fmla="*/ 1478561 h 1520187"/>
                    <a:gd name="connsiteX71" fmla="*/ 584705 w 1984332"/>
                    <a:gd name="connsiteY71" fmla="*/ 1371029 h 1520187"/>
                    <a:gd name="connsiteX72" fmla="*/ 510777 w 1984332"/>
                    <a:gd name="connsiteY72" fmla="*/ 1236614 h 1520187"/>
                    <a:gd name="connsiteX73" fmla="*/ 510777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833373 w 1984332"/>
                    <a:gd name="connsiteY76" fmla="*/ 1189569 h 1520187"/>
                    <a:gd name="connsiteX77" fmla="*/ 1189572 w 1984332"/>
                    <a:gd name="connsiteY77" fmla="*/ 1189569 h 1520187"/>
                    <a:gd name="connsiteX78" fmla="*/ 1203014 w 1984332"/>
                    <a:gd name="connsiteY78" fmla="*/ 1182849 h 1520187"/>
                    <a:gd name="connsiteX79" fmla="*/ 1209734 w 1984332"/>
                    <a:gd name="connsiteY79" fmla="*/ 1169407 h 1520187"/>
                    <a:gd name="connsiteX80" fmla="*/ 1209734 w 1984332"/>
                    <a:gd name="connsiteY80" fmla="*/ 1095479 h 1520187"/>
                    <a:gd name="connsiteX81" fmla="*/ 1196293 w 1984332"/>
                    <a:gd name="connsiteY81" fmla="*/ 1075317 h 1520187"/>
                    <a:gd name="connsiteX82" fmla="*/ 1122365 w 1984332"/>
                    <a:gd name="connsiteY82" fmla="*/ 967785 h 1520187"/>
                    <a:gd name="connsiteX83" fmla="*/ 1155969 w 1984332"/>
                    <a:gd name="connsiteY83" fmla="*/ 887136 h 1520187"/>
                    <a:gd name="connsiteX84" fmla="*/ 1236617 w 1984332"/>
                    <a:gd name="connsiteY84" fmla="*/ 853533 h 1520187"/>
                    <a:gd name="connsiteX85" fmla="*/ 1236617 w 1984332"/>
                    <a:gd name="connsiteY85" fmla="*/ 853533 h 1520187"/>
                    <a:gd name="connsiteX86" fmla="*/ 1317266 w 1984332"/>
                    <a:gd name="connsiteY86" fmla="*/ 887136 h 1520187"/>
                    <a:gd name="connsiteX87" fmla="*/ 1350870 w 1984332"/>
                    <a:gd name="connsiteY87" fmla="*/ 967785 h 1520187"/>
                    <a:gd name="connsiteX88" fmla="*/ 1283663 w 1984332"/>
                    <a:gd name="connsiteY88" fmla="*/ 1068596 h 1520187"/>
                    <a:gd name="connsiteX89" fmla="*/ 1270221 w 1984332"/>
                    <a:gd name="connsiteY89" fmla="*/ 1088758 h 1520187"/>
                    <a:gd name="connsiteX90" fmla="*/ 1270221 w 1984332"/>
                    <a:gd name="connsiteY90" fmla="*/ 1162686 h 1520187"/>
                    <a:gd name="connsiteX91" fmla="*/ 1276942 w 1984332"/>
                    <a:gd name="connsiteY91" fmla="*/ 1176128 h 1520187"/>
                    <a:gd name="connsiteX92" fmla="*/ 1290383 w 1984332"/>
                    <a:gd name="connsiteY92" fmla="*/ 1182849 h 1520187"/>
                    <a:gd name="connsiteX93" fmla="*/ 1290383 w 1984332"/>
                    <a:gd name="connsiteY93" fmla="*/ 1182849 h 1520187"/>
                    <a:gd name="connsiteX94" fmla="*/ 1633141 w 1984332"/>
                    <a:gd name="connsiteY94" fmla="*/ 1182849 h 1520187"/>
                    <a:gd name="connsiteX95" fmla="*/ 1653304 w 1984332"/>
                    <a:gd name="connsiteY95" fmla="*/ 1162686 h 1520187"/>
                    <a:gd name="connsiteX96" fmla="*/ 1653304 w 1984332"/>
                    <a:gd name="connsiteY96" fmla="*/ 833371 h 1520187"/>
                    <a:gd name="connsiteX97" fmla="*/ 1693628 w 1984332"/>
                    <a:gd name="connsiteY97" fmla="*/ 833371 h 1520187"/>
                    <a:gd name="connsiteX98" fmla="*/ 1828043 w 1984332"/>
                    <a:gd name="connsiteY98" fmla="*/ 914019 h 1520187"/>
                    <a:gd name="connsiteX99" fmla="*/ 1828043 w 1984332"/>
                    <a:gd name="connsiteY99" fmla="*/ 914019 h 1520187"/>
                    <a:gd name="connsiteX100" fmla="*/ 1935575 w 1984332"/>
                    <a:gd name="connsiteY100" fmla="*/ 866974 h 1520187"/>
                    <a:gd name="connsiteX101" fmla="*/ 1982620 w 1984332"/>
                    <a:gd name="connsiteY101" fmla="*/ 759443 h 1520187"/>
                    <a:gd name="connsiteX102" fmla="*/ 1949017 w 1984332"/>
                    <a:gd name="connsiteY102" fmla="*/ 645190 h 1520187"/>
                    <a:gd name="connsiteX103" fmla="*/ 483894 w 1984332"/>
                    <a:gd name="connsiteY103" fmla="*/ 1142524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162686 h 1520187"/>
                    <a:gd name="connsiteX107" fmla="*/ 463732 w 1984332"/>
                    <a:gd name="connsiteY107" fmla="*/ 1236614 h 1520187"/>
                    <a:gd name="connsiteX108" fmla="*/ 463732 w 1984332"/>
                    <a:gd name="connsiteY108" fmla="*/ 1236614 h 1520187"/>
                    <a:gd name="connsiteX109" fmla="*/ 477173 w 1984332"/>
                    <a:gd name="connsiteY109" fmla="*/ 1263497 h 1520187"/>
                    <a:gd name="connsiteX110" fmla="*/ 544381 w 1984332"/>
                    <a:gd name="connsiteY110" fmla="*/ 1364308 h 1520187"/>
                    <a:gd name="connsiteX111" fmla="*/ 510777 w 1984332"/>
                    <a:gd name="connsiteY111" fmla="*/ 1444957 h 1520187"/>
                    <a:gd name="connsiteX112" fmla="*/ 423407 w 1984332"/>
                    <a:gd name="connsiteY112" fmla="*/ 1478561 h 1520187"/>
                    <a:gd name="connsiteX113" fmla="*/ 423407 w 1984332"/>
                    <a:gd name="connsiteY113" fmla="*/ 1478561 h 1520187"/>
                    <a:gd name="connsiteX114" fmla="*/ 342758 w 1984332"/>
                    <a:gd name="connsiteY114" fmla="*/ 1444957 h 1520187"/>
                    <a:gd name="connsiteX115" fmla="*/ 309154 w 1984332"/>
                    <a:gd name="connsiteY115" fmla="*/ 1364308 h 1520187"/>
                    <a:gd name="connsiteX116" fmla="*/ 383083 w 1984332"/>
                    <a:gd name="connsiteY116" fmla="*/ 1256777 h 1520187"/>
                    <a:gd name="connsiteX117" fmla="*/ 396524 w 1984332"/>
                    <a:gd name="connsiteY117" fmla="*/ 1236614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96524 w 1984332"/>
                    <a:gd name="connsiteY120" fmla="*/ 1162686 h 1520187"/>
                    <a:gd name="connsiteX121" fmla="*/ 376362 w 1984332"/>
                    <a:gd name="connsiteY121" fmla="*/ 1142524 h 1520187"/>
                    <a:gd name="connsiteX122" fmla="*/ 376362 w 1984332"/>
                    <a:gd name="connsiteY122" fmla="*/ 1142524 h 1520187"/>
                    <a:gd name="connsiteX123" fmla="*/ 40324 w 1984332"/>
                    <a:gd name="connsiteY123" fmla="*/ 1142524 h 1520187"/>
                    <a:gd name="connsiteX124" fmla="*/ 40324 w 1984332"/>
                    <a:gd name="connsiteY124" fmla="*/ 833371 h 1520187"/>
                    <a:gd name="connsiteX125" fmla="*/ 80649 w 1984332"/>
                    <a:gd name="connsiteY125" fmla="*/ 833371 h 1520187"/>
                    <a:gd name="connsiteX126" fmla="*/ 221785 w 1984332"/>
                    <a:gd name="connsiteY126" fmla="*/ 920740 h 1520187"/>
                    <a:gd name="connsiteX127" fmla="*/ 221785 w 1984332"/>
                    <a:gd name="connsiteY127" fmla="*/ 920740 h 1520187"/>
                    <a:gd name="connsiteX128" fmla="*/ 376362 w 1984332"/>
                    <a:gd name="connsiteY128" fmla="*/ 766163 h 1520187"/>
                    <a:gd name="connsiteX129" fmla="*/ 221785 w 1984332"/>
                    <a:gd name="connsiteY129" fmla="*/ 604866 h 1520187"/>
                    <a:gd name="connsiteX130" fmla="*/ 221785 w 1984332"/>
                    <a:gd name="connsiteY130" fmla="*/ 604866 h 1520187"/>
                    <a:gd name="connsiteX131" fmla="*/ 87370 w 1984332"/>
                    <a:gd name="connsiteY131" fmla="*/ 678794 h 1520187"/>
                    <a:gd name="connsiteX132" fmla="*/ 40324 w 1984332"/>
                    <a:gd name="connsiteY132" fmla="*/ 678794 h 1520187"/>
                    <a:gd name="connsiteX133" fmla="*/ 40324 w 1984332"/>
                    <a:gd name="connsiteY133" fmla="*/ 376361 h 1520187"/>
                    <a:gd name="connsiteX134" fmla="*/ 369641 w 1984332"/>
                    <a:gd name="connsiteY134" fmla="*/ 376361 h 1520187"/>
                    <a:gd name="connsiteX135" fmla="*/ 383083 w 1984332"/>
                    <a:gd name="connsiteY135" fmla="*/ 369640 h 1520187"/>
                    <a:gd name="connsiteX136" fmla="*/ 389803 w 1984332"/>
                    <a:gd name="connsiteY136" fmla="*/ 356199 h 1520187"/>
                    <a:gd name="connsiteX137" fmla="*/ 389803 w 1984332"/>
                    <a:gd name="connsiteY137" fmla="*/ 275550 h 1520187"/>
                    <a:gd name="connsiteX138" fmla="*/ 376362 w 1984332"/>
                    <a:gd name="connsiteY138" fmla="*/ 255388 h 1520187"/>
                    <a:gd name="connsiteX139" fmla="*/ 309154 w 1984332"/>
                    <a:gd name="connsiteY139" fmla="*/ 154577 h 1520187"/>
                    <a:gd name="connsiteX140" fmla="*/ 423407 w 1984332"/>
                    <a:gd name="connsiteY140" fmla="*/ 40324 h 1520187"/>
                    <a:gd name="connsiteX141" fmla="*/ 504056 w 1984332"/>
                    <a:gd name="connsiteY141" fmla="*/ 73928 h 1520187"/>
                    <a:gd name="connsiteX142" fmla="*/ 537660 w 1984332"/>
                    <a:gd name="connsiteY142" fmla="*/ 154577 h 1520187"/>
                    <a:gd name="connsiteX143" fmla="*/ 470452 w 1984332"/>
                    <a:gd name="connsiteY143" fmla="*/ 262109 h 1520187"/>
                    <a:gd name="connsiteX144" fmla="*/ 457011 w 1984332"/>
                    <a:gd name="connsiteY144" fmla="*/ 282271 h 1520187"/>
                    <a:gd name="connsiteX145" fmla="*/ 457011 w 1984332"/>
                    <a:gd name="connsiteY145" fmla="*/ 362919 h 1520187"/>
                    <a:gd name="connsiteX146" fmla="*/ 477173 w 1984332"/>
                    <a:gd name="connsiteY146" fmla="*/ 383082 h 1520187"/>
                    <a:gd name="connsiteX147" fmla="*/ 477173 w 1984332"/>
                    <a:gd name="connsiteY147" fmla="*/ 383082 h 1520187"/>
                    <a:gd name="connsiteX148" fmla="*/ 806490 w 1984332"/>
                    <a:gd name="connsiteY148" fmla="*/ 383082 h 1520187"/>
                    <a:gd name="connsiteX149" fmla="*/ 806490 w 1984332"/>
                    <a:gd name="connsiteY149" fmla="*/ 631749 h 1520187"/>
                    <a:gd name="connsiteX150" fmla="*/ 806490 w 1984332"/>
                    <a:gd name="connsiteY150" fmla="*/ 685515 h 1520187"/>
                    <a:gd name="connsiteX151" fmla="*/ 766165 w 1984332"/>
                    <a:gd name="connsiteY151" fmla="*/ 685515 h 1520187"/>
                    <a:gd name="connsiteX152" fmla="*/ 631750 w 1984332"/>
                    <a:gd name="connsiteY152" fmla="*/ 604866 h 1520187"/>
                    <a:gd name="connsiteX153" fmla="*/ 631750 w 1984332"/>
                    <a:gd name="connsiteY153" fmla="*/ 604866 h 1520187"/>
                    <a:gd name="connsiteX154" fmla="*/ 517497 w 1984332"/>
                    <a:gd name="connsiteY154" fmla="*/ 651911 h 1520187"/>
                    <a:gd name="connsiteX155" fmla="*/ 470452 w 1984332"/>
                    <a:gd name="connsiteY155" fmla="*/ 759443 h 1520187"/>
                    <a:gd name="connsiteX156" fmla="*/ 517497 w 1984332"/>
                    <a:gd name="connsiteY156" fmla="*/ 866974 h 1520187"/>
                    <a:gd name="connsiteX157" fmla="*/ 625029 w 1984332"/>
                    <a:gd name="connsiteY157" fmla="*/ 914019 h 1520187"/>
                    <a:gd name="connsiteX158" fmla="*/ 625029 w 1984332"/>
                    <a:gd name="connsiteY158" fmla="*/ 914019 h 1520187"/>
                    <a:gd name="connsiteX159" fmla="*/ 766165 w 1984332"/>
                    <a:gd name="connsiteY159" fmla="*/ 826650 h 1520187"/>
                    <a:gd name="connsiteX160" fmla="*/ 799769 w 1984332"/>
                    <a:gd name="connsiteY160" fmla="*/ 826650 h 1520187"/>
                    <a:gd name="connsiteX161" fmla="*/ 799769 w 1984332"/>
                    <a:gd name="connsiteY161" fmla="*/ 1135803 h 1520187"/>
                    <a:gd name="connsiteX162" fmla="*/ 483894 w 1984332"/>
                    <a:gd name="connsiteY162" fmla="*/ 1142524 h 1520187"/>
                    <a:gd name="connsiteX163" fmla="*/ 1915413 w 1984332"/>
                    <a:gd name="connsiteY163" fmla="*/ 840091 h 1520187"/>
                    <a:gd name="connsiteX164" fmla="*/ 1834764 w 1984332"/>
                    <a:gd name="connsiteY164" fmla="*/ 873695 h 1520187"/>
                    <a:gd name="connsiteX165" fmla="*/ 1834764 w 1984332"/>
                    <a:gd name="connsiteY165" fmla="*/ 873695 h 1520187"/>
                    <a:gd name="connsiteX166" fmla="*/ 1733953 w 1984332"/>
                    <a:gd name="connsiteY166" fmla="*/ 806488 h 1520187"/>
                    <a:gd name="connsiteX167" fmla="*/ 1713790 w 1984332"/>
                    <a:gd name="connsiteY167" fmla="*/ 793046 h 1520187"/>
                    <a:gd name="connsiteX168" fmla="*/ 1713790 w 1984332"/>
                    <a:gd name="connsiteY168" fmla="*/ 793046 h 1520187"/>
                    <a:gd name="connsiteX169" fmla="*/ 1633141 w 1984332"/>
                    <a:gd name="connsiteY169" fmla="*/ 793046 h 1520187"/>
                    <a:gd name="connsiteX170" fmla="*/ 1612979 w 1984332"/>
                    <a:gd name="connsiteY170" fmla="*/ 813208 h 1520187"/>
                    <a:gd name="connsiteX171" fmla="*/ 1612979 w 1984332"/>
                    <a:gd name="connsiteY171" fmla="*/ 1142524 h 1520187"/>
                    <a:gd name="connsiteX172" fmla="*/ 1310546 w 1984332"/>
                    <a:gd name="connsiteY172" fmla="*/ 1142524 h 1520187"/>
                    <a:gd name="connsiteX173" fmla="*/ 1310546 w 1984332"/>
                    <a:gd name="connsiteY173" fmla="*/ 1102200 h 1520187"/>
                    <a:gd name="connsiteX174" fmla="*/ 1384474 w 1984332"/>
                    <a:gd name="connsiteY174" fmla="*/ 967785 h 1520187"/>
                    <a:gd name="connsiteX175" fmla="*/ 1337429 w 1984332"/>
                    <a:gd name="connsiteY175" fmla="*/ 860254 h 1520187"/>
                    <a:gd name="connsiteX176" fmla="*/ 1229897 w 1984332"/>
                    <a:gd name="connsiteY176" fmla="*/ 813208 h 1520187"/>
                    <a:gd name="connsiteX177" fmla="*/ 1229897 w 1984332"/>
                    <a:gd name="connsiteY177" fmla="*/ 813208 h 1520187"/>
                    <a:gd name="connsiteX178" fmla="*/ 1122365 w 1984332"/>
                    <a:gd name="connsiteY178" fmla="*/ 860254 h 1520187"/>
                    <a:gd name="connsiteX179" fmla="*/ 1075320 w 1984332"/>
                    <a:gd name="connsiteY179" fmla="*/ 967785 h 1520187"/>
                    <a:gd name="connsiteX180" fmla="*/ 1162689 w 1984332"/>
                    <a:gd name="connsiteY180" fmla="*/ 1108921 h 1520187"/>
                    <a:gd name="connsiteX181" fmla="*/ 1162689 w 1984332"/>
                    <a:gd name="connsiteY181" fmla="*/ 1142524 h 1520187"/>
                    <a:gd name="connsiteX182" fmla="*/ 853535 w 1984332"/>
                    <a:gd name="connsiteY182" fmla="*/ 1142524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19929 h 1520187"/>
                    <a:gd name="connsiteX185" fmla="*/ 853535 w 1984332"/>
                    <a:gd name="connsiteY185" fmla="*/ 806488 h 1520187"/>
                    <a:gd name="connsiteX186" fmla="*/ 846814 w 1984332"/>
                    <a:gd name="connsiteY186" fmla="*/ 793046 h 1520187"/>
                    <a:gd name="connsiteX187" fmla="*/ 833373 w 1984332"/>
                    <a:gd name="connsiteY187" fmla="*/ 786325 h 1520187"/>
                    <a:gd name="connsiteX188" fmla="*/ 833373 w 1984332"/>
                    <a:gd name="connsiteY188" fmla="*/ 786325 h 1520187"/>
                    <a:gd name="connsiteX189" fmla="*/ 759444 w 1984332"/>
                    <a:gd name="connsiteY189" fmla="*/ 786325 h 1520187"/>
                    <a:gd name="connsiteX190" fmla="*/ 739282 w 1984332"/>
                    <a:gd name="connsiteY190" fmla="*/ 799767 h 1520187"/>
                    <a:gd name="connsiteX191" fmla="*/ 631750 w 1984332"/>
                    <a:gd name="connsiteY191" fmla="*/ 873695 h 1520187"/>
                    <a:gd name="connsiteX192" fmla="*/ 631750 w 1984332"/>
                    <a:gd name="connsiteY192" fmla="*/ 873695 h 1520187"/>
                    <a:gd name="connsiteX193" fmla="*/ 551101 w 1984332"/>
                    <a:gd name="connsiteY193" fmla="*/ 840091 h 1520187"/>
                    <a:gd name="connsiteX194" fmla="*/ 517497 w 1984332"/>
                    <a:gd name="connsiteY194" fmla="*/ 759443 h 1520187"/>
                    <a:gd name="connsiteX195" fmla="*/ 551101 w 1984332"/>
                    <a:gd name="connsiteY195" fmla="*/ 678794 h 1520187"/>
                    <a:gd name="connsiteX196" fmla="*/ 631750 w 1984332"/>
                    <a:gd name="connsiteY196" fmla="*/ 645190 h 1520187"/>
                    <a:gd name="connsiteX197" fmla="*/ 631750 w 1984332"/>
                    <a:gd name="connsiteY197" fmla="*/ 645190 h 1520187"/>
                    <a:gd name="connsiteX198" fmla="*/ 732561 w 1984332"/>
                    <a:gd name="connsiteY198" fmla="*/ 712397 h 1520187"/>
                    <a:gd name="connsiteX199" fmla="*/ 752724 w 1984332"/>
                    <a:gd name="connsiteY199" fmla="*/ 725839 h 1520187"/>
                    <a:gd name="connsiteX200" fmla="*/ 752724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26652 w 1984332"/>
                    <a:gd name="connsiteY202" fmla="*/ 725839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0093 w 1984332"/>
                    <a:gd name="connsiteY205" fmla="*/ 719118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705677 h 1520187"/>
                    <a:gd name="connsiteX210" fmla="*/ 846814 w 1984332"/>
                    <a:gd name="connsiteY210" fmla="*/ 383082 h 1520187"/>
                    <a:gd name="connsiteX211" fmla="*/ 1155969 w 1984332"/>
                    <a:gd name="connsiteY211" fmla="*/ 383082 h 1520187"/>
                    <a:gd name="connsiteX212" fmla="*/ 1155969 w 1984332"/>
                    <a:gd name="connsiteY212" fmla="*/ 423406 h 1520187"/>
                    <a:gd name="connsiteX213" fmla="*/ 1075320 w 1984332"/>
                    <a:gd name="connsiteY213" fmla="*/ 557821 h 1520187"/>
                    <a:gd name="connsiteX214" fmla="*/ 1158459 w 1984332"/>
                    <a:gd name="connsiteY214" fmla="*/ 674298 h 1520187"/>
                    <a:gd name="connsiteX215" fmla="*/ 1251328 w 1984332"/>
                    <a:gd name="connsiteY215" fmla="*/ 721923 h 1520187"/>
                    <a:gd name="connsiteX216" fmla="*/ 1351716 w 1984332"/>
                    <a:gd name="connsiteY216" fmla="*/ 670115 h 1520187"/>
                    <a:gd name="connsiteX217" fmla="*/ 1396380 w 1984332"/>
                    <a:gd name="connsiteY217" fmla="*/ 553058 h 1520187"/>
                    <a:gd name="connsiteX218" fmla="*/ 1310546 w 1984332"/>
                    <a:gd name="connsiteY218" fmla="*/ 423406 h 1520187"/>
                    <a:gd name="connsiteX219" fmla="*/ 1310546 w 1984332"/>
                    <a:gd name="connsiteY219" fmla="*/ 376361 h 1520187"/>
                    <a:gd name="connsiteX220" fmla="*/ 1612979 w 1984332"/>
                    <a:gd name="connsiteY220" fmla="*/ 376361 h 1520187"/>
                    <a:gd name="connsiteX221" fmla="*/ 1612979 w 1984332"/>
                    <a:gd name="connsiteY221" fmla="*/ 705677 h 1520187"/>
                    <a:gd name="connsiteX222" fmla="*/ 1633141 w 1984332"/>
                    <a:gd name="connsiteY222" fmla="*/ 725839 h 1520187"/>
                    <a:gd name="connsiteX223" fmla="*/ 1633141 w 1984332"/>
                    <a:gd name="connsiteY223" fmla="*/ 725839 h 1520187"/>
                    <a:gd name="connsiteX224" fmla="*/ 1713790 w 1984332"/>
                    <a:gd name="connsiteY224" fmla="*/ 725839 h 1520187"/>
                    <a:gd name="connsiteX225" fmla="*/ 1733953 w 1984332"/>
                    <a:gd name="connsiteY225" fmla="*/ 712397 h 1520187"/>
                    <a:gd name="connsiteX226" fmla="*/ 1834764 w 1984332"/>
                    <a:gd name="connsiteY226" fmla="*/ 645190 h 1520187"/>
                    <a:gd name="connsiteX227" fmla="*/ 1834764 w 1984332"/>
                    <a:gd name="connsiteY227" fmla="*/ 645190 h 1520187"/>
                    <a:gd name="connsiteX228" fmla="*/ 1915413 w 1984332"/>
                    <a:gd name="connsiteY228" fmla="*/ 678794 h 1520187"/>
                    <a:gd name="connsiteX229" fmla="*/ 1949017 w 1984332"/>
                    <a:gd name="connsiteY229" fmla="*/ 759443 h 1520187"/>
                    <a:gd name="connsiteX230" fmla="*/ 1915413 w 1984332"/>
                    <a:gd name="connsiteY230" fmla="*/ 840091 h 1520187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83663 w 1984332"/>
                    <a:gd name="connsiteY13" fmla="*/ 423406 h 1520187"/>
                    <a:gd name="connsiteX14" fmla="*/ 1297104 w 1984332"/>
                    <a:gd name="connsiteY14" fmla="*/ 450289 h 1520187"/>
                    <a:gd name="connsiteX15" fmla="*/ 1364312 w 1984332"/>
                    <a:gd name="connsiteY15" fmla="*/ 551100 h 1520187"/>
                    <a:gd name="connsiteX16" fmla="*/ 1330708 w 1984332"/>
                    <a:gd name="connsiteY16" fmla="*/ 631749 h 1520187"/>
                    <a:gd name="connsiteX17" fmla="*/ 1250059 w 1984332"/>
                    <a:gd name="connsiteY17" fmla="*/ 665352 h 1520187"/>
                    <a:gd name="connsiteX18" fmla="*/ 1135806 w 1984332"/>
                    <a:gd name="connsiteY18" fmla="*/ 551100 h 1520187"/>
                    <a:gd name="connsiteX19" fmla="*/ 1209734 w 1984332"/>
                    <a:gd name="connsiteY19" fmla="*/ 443568 h 1520187"/>
                    <a:gd name="connsiteX20" fmla="*/ 1223176 w 1984332"/>
                    <a:gd name="connsiteY20" fmla="*/ 423406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223176 w 1984332"/>
                    <a:gd name="connsiteY23" fmla="*/ 349478 h 1520187"/>
                    <a:gd name="connsiteX24" fmla="*/ 1182852 w 1984332"/>
                    <a:gd name="connsiteY24" fmla="*/ 336037 h 1520187"/>
                    <a:gd name="connsiteX25" fmla="*/ 11828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826652 w 1984332"/>
                    <a:gd name="connsiteY28" fmla="*/ 336037 h 1520187"/>
                    <a:gd name="connsiteX29" fmla="*/ 497335 w 1984332"/>
                    <a:gd name="connsiteY29" fmla="*/ 336037 h 1520187"/>
                    <a:gd name="connsiteX30" fmla="*/ 497335 w 1984332"/>
                    <a:gd name="connsiteY30" fmla="*/ 295712 h 1520187"/>
                    <a:gd name="connsiteX31" fmla="*/ 584705 w 1984332"/>
                    <a:gd name="connsiteY31" fmla="*/ 154577 h 1520187"/>
                    <a:gd name="connsiteX32" fmla="*/ 537660 w 1984332"/>
                    <a:gd name="connsiteY32" fmla="*/ 47045 h 1520187"/>
                    <a:gd name="connsiteX33" fmla="*/ 423407 w 1984332"/>
                    <a:gd name="connsiteY33" fmla="*/ 0 h 1520187"/>
                    <a:gd name="connsiteX34" fmla="*/ 423407 w 1984332"/>
                    <a:gd name="connsiteY34" fmla="*/ 0 h 1520187"/>
                    <a:gd name="connsiteX35" fmla="*/ 268830 w 1984332"/>
                    <a:gd name="connsiteY35" fmla="*/ 154577 h 1520187"/>
                    <a:gd name="connsiteX36" fmla="*/ 349479 w 1984332"/>
                    <a:gd name="connsiteY36" fmla="*/ 288991 h 1520187"/>
                    <a:gd name="connsiteX37" fmla="*/ 349479 w 1984332"/>
                    <a:gd name="connsiteY37" fmla="*/ 329316 h 1520187"/>
                    <a:gd name="connsiteX38" fmla="*/ 20162 w 1984332"/>
                    <a:gd name="connsiteY38" fmla="*/ 336037 h 1520187"/>
                    <a:gd name="connsiteX39" fmla="*/ 0 w 1984332"/>
                    <a:gd name="connsiteY39" fmla="*/ 356199 h 1520187"/>
                    <a:gd name="connsiteX40" fmla="*/ 0 w 1984332"/>
                    <a:gd name="connsiteY40" fmla="*/ 698956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20162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94090 w 1984332"/>
                    <a:gd name="connsiteY46" fmla="*/ 719118 h 1520187"/>
                    <a:gd name="connsiteX47" fmla="*/ 120973 w 1984332"/>
                    <a:gd name="connsiteY47" fmla="*/ 705677 h 1520187"/>
                    <a:gd name="connsiteX48" fmla="*/ 221785 w 1984332"/>
                    <a:gd name="connsiteY48" fmla="*/ 638469 h 1520187"/>
                    <a:gd name="connsiteX49" fmla="*/ 221785 w 1984332"/>
                    <a:gd name="connsiteY49" fmla="*/ 638469 h 1520187"/>
                    <a:gd name="connsiteX50" fmla="*/ 336037 w 1984332"/>
                    <a:gd name="connsiteY50" fmla="*/ 752722 h 1520187"/>
                    <a:gd name="connsiteX51" fmla="*/ 221785 w 1984332"/>
                    <a:gd name="connsiteY51" fmla="*/ 873695 h 1520187"/>
                    <a:gd name="connsiteX52" fmla="*/ 221785 w 1984332"/>
                    <a:gd name="connsiteY52" fmla="*/ 873695 h 1520187"/>
                    <a:gd name="connsiteX53" fmla="*/ 114253 w 1984332"/>
                    <a:gd name="connsiteY53" fmla="*/ 799767 h 1520187"/>
                    <a:gd name="connsiteX54" fmla="*/ 94090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20162 w 1984332"/>
                    <a:gd name="connsiteY59" fmla="*/ 786325 h 1520187"/>
                    <a:gd name="connsiteX60" fmla="*/ 0 w 1984332"/>
                    <a:gd name="connsiteY60" fmla="*/ 806488 h 1520187"/>
                    <a:gd name="connsiteX61" fmla="*/ 0 w 1984332"/>
                    <a:gd name="connsiteY61" fmla="*/ 1162686 h 1520187"/>
                    <a:gd name="connsiteX62" fmla="*/ 20162 w 1984332"/>
                    <a:gd name="connsiteY62" fmla="*/ 1182849 h 1520187"/>
                    <a:gd name="connsiteX63" fmla="*/ 20162 w 1984332"/>
                    <a:gd name="connsiteY63" fmla="*/ 1182849 h 1520187"/>
                    <a:gd name="connsiteX64" fmla="*/ 356200 w 1984332"/>
                    <a:gd name="connsiteY64" fmla="*/ 1182849 h 1520187"/>
                    <a:gd name="connsiteX65" fmla="*/ 356200 w 1984332"/>
                    <a:gd name="connsiteY65" fmla="*/ 1223173 h 1520187"/>
                    <a:gd name="connsiteX66" fmla="*/ 268830 w 1984332"/>
                    <a:gd name="connsiteY66" fmla="*/ 1364308 h 1520187"/>
                    <a:gd name="connsiteX67" fmla="*/ 315875 w 1984332"/>
                    <a:gd name="connsiteY67" fmla="*/ 1471840 h 1520187"/>
                    <a:gd name="connsiteX68" fmla="*/ 423407 w 1984332"/>
                    <a:gd name="connsiteY68" fmla="*/ 1518885 h 1520187"/>
                    <a:gd name="connsiteX69" fmla="*/ 423407 w 1984332"/>
                    <a:gd name="connsiteY69" fmla="*/ 1518885 h 1520187"/>
                    <a:gd name="connsiteX70" fmla="*/ 537660 w 1984332"/>
                    <a:gd name="connsiteY70" fmla="*/ 1478561 h 1520187"/>
                    <a:gd name="connsiteX71" fmla="*/ 584705 w 1984332"/>
                    <a:gd name="connsiteY71" fmla="*/ 1371029 h 1520187"/>
                    <a:gd name="connsiteX72" fmla="*/ 510777 w 1984332"/>
                    <a:gd name="connsiteY72" fmla="*/ 1236614 h 1520187"/>
                    <a:gd name="connsiteX73" fmla="*/ 510777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833373 w 1984332"/>
                    <a:gd name="connsiteY76" fmla="*/ 1189569 h 1520187"/>
                    <a:gd name="connsiteX77" fmla="*/ 1189572 w 1984332"/>
                    <a:gd name="connsiteY77" fmla="*/ 1189569 h 1520187"/>
                    <a:gd name="connsiteX78" fmla="*/ 1203014 w 1984332"/>
                    <a:gd name="connsiteY78" fmla="*/ 1182849 h 1520187"/>
                    <a:gd name="connsiteX79" fmla="*/ 1209734 w 1984332"/>
                    <a:gd name="connsiteY79" fmla="*/ 1169407 h 1520187"/>
                    <a:gd name="connsiteX80" fmla="*/ 1209734 w 1984332"/>
                    <a:gd name="connsiteY80" fmla="*/ 1095479 h 1520187"/>
                    <a:gd name="connsiteX81" fmla="*/ 1196293 w 1984332"/>
                    <a:gd name="connsiteY81" fmla="*/ 1075317 h 1520187"/>
                    <a:gd name="connsiteX82" fmla="*/ 1122365 w 1984332"/>
                    <a:gd name="connsiteY82" fmla="*/ 967785 h 1520187"/>
                    <a:gd name="connsiteX83" fmla="*/ 1155969 w 1984332"/>
                    <a:gd name="connsiteY83" fmla="*/ 887136 h 1520187"/>
                    <a:gd name="connsiteX84" fmla="*/ 1236617 w 1984332"/>
                    <a:gd name="connsiteY84" fmla="*/ 853533 h 1520187"/>
                    <a:gd name="connsiteX85" fmla="*/ 1236617 w 1984332"/>
                    <a:gd name="connsiteY85" fmla="*/ 853533 h 1520187"/>
                    <a:gd name="connsiteX86" fmla="*/ 1317266 w 1984332"/>
                    <a:gd name="connsiteY86" fmla="*/ 887136 h 1520187"/>
                    <a:gd name="connsiteX87" fmla="*/ 1350870 w 1984332"/>
                    <a:gd name="connsiteY87" fmla="*/ 967785 h 1520187"/>
                    <a:gd name="connsiteX88" fmla="*/ 1283663 w 1984332"/>
                    <a:gd name="connsiteY88" fmla="*/ 1068596 h 1520187"/>
                    <a:gd name="connsiteX89" fmla="*/ 1270221 w 1984332"/>
                    <a:gd name="connsiteY89" fmla="*/ 1088758 h 1520187"/>
                    <a:gd name="connsiteX90" fmla="*/ 1270221 w 1984332"/>
                    <a:gd name="connsiteY90" fmla="*/ 1162686 h 1520187"/>
                    <a:gd name="connsiteX91" fmla="*/ 1276942 w 1984332"/>
                    <a:gd name="connsiteY91" fmla="*/ 1176128 h 1520187"/>
                    <a:gd name="connsiteX92" fmla="*/ 1290383 w 1984332"/>
                    <a:gd name="connsiteY92" fmla="*/ 1182849 h 1520187"/>
                    <a:gd name="connsiteX93" fmla="*/ 1290383 w 1984332"/>
                    <a:gd name="connsiteY93" fmla="*/ 1182849 h 1520187"/>
                    <a:gd name="connsiteX94" fmla="*/ 1633141 w 1984332"/>
                    <a:gd name="connsiteY94" fmla="*/ 1182849 h 1520187"/>
                    <a:gd name="connsiteX95" fmla="*/ 1653304 w 1984332"/>
                    <a:gd name="connsiteY95" fmla="*/ 1162686 h 1520187"/>
                    <a:gd name="connsiteX96" fmla="*/ 1653304 w 1984332"/>
                    <a:gd name="connsiteY96" fmla="*/ 833371 h 1520187"/>
                    <a:gd name="connsiteX97" fmla="*/ 1693628 w 1984332"/>
                    <a:gd name="connsiteY97" fmla="*/ 833371 h 1520187"/>
                    <a:gd name="connsiteX98" fmla="*/ 1828043 w 1984332"/>
                    <a:gd name="connsiteY98" fmla="*/ 914019 h 1520187"/>
                    <a:gd name="connsiteX99" fmla="*/ 1828043 w 1984332"/>
                    <a:gd name="connsiteY99" fmla="*/ 914019 h 1520187"/>
                    <a:gd name="connsiteX100" fmla="*/ 1935575 w 1984332"/>
                    <a:gd name="connsiteY100" fmla="*/ 866974 h 1520187"/>
                    <a:gd name="connsiteX101" fmla="*/ 1982620 w 1984332"/>
                    <a:gd name="connsiteY101" fmla="*/ 759443 h 1520187"/>
                    <a:gd name="connsiteX102" fmla="*/ 1949017 w 1984332"/>
                    <a:gd name="connsiteY102" fmla="*/ 645190 h 1520187"/>
                    <a:gd name="connsiteX103" fmla="*/ 483894 w 1984332"/>
                    <a:gd name="connsiteY103" fmla="*/ 1142524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162686 h 1520187"/>
                    <a:gd name="connsiteX107" fmla="*/ 463732 w 1984332"/>
                    <a:gd name="connsiteY107" fmla="*/ 1236614 h 1520187"/>
                    <a:gd name="connsiteX108" fmla="*/ 463732 w 1984332"/>
                    <a:gd name="connsiteY108" fmla="*/ 1236614 h 1520187"/>
                    <a:gd name="connsiteX109" fmla="*/ 477173 w 1984332"/>
                    <a:gd name="connsiteY109" fmla="*/ 1263497 h 1520187"/>
                    <a:gd name="connsiteX110" fmla="*/ 544381 w 1984332"/>
                    <a:gd name="connsiteY110" fmla="*/ 1364308 h 1520187"/>
                    <a:gd name="connsiteX111" fmla="*/ 510777 w 1984332"/>
                    <a:gd name="connsiteY111" fmla="*/ 1444957 h 1520187"/>
                    <a:gd name="connsiteX112" fmla="*/ 423407 w 1984332"/>
                    <a:gd name="connsiteY112" fmla="*/ 1478561 h 1520187"/>
                    <a:gd name="connsiteX113" fmla="*/ 423407 w 1984332"/>
                    <a:gd name="connsiteY113" fmla="*/ 1478561 h 1520187"/>
                    <a:gd name="connsiteX114" fmla="*/ 342758 w 1984332"/>
                    <a:gd name="connsiteY114" fmla="*/ 1444957 h 1520187"/>
                    <a:gd name="connsiteX115" fmla="*/ 309154 w 1984332"/>
                    <a:gd name="connsiteY115" fmla="*/ 1364308 h 1520187"/>
                    <a:gd name="connsiteX116" fmla="*/ 383083 w 1984332"/>
                    <a:gd name="connsiteY116" fmla="*/ 1256777 h 1520187"/>
                    <a:gd name="connsiteX117" fmla="*/ 396524 w 1984332"/>
                    <a:gd name="connsiteY117" fmla="*/ 1236614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96524 w 1984332"/>
                    <a:gd name="connsiteY120" fmla="*/ 1162686 h 1520187"/>
                    <a:gd name="connsiteX121" fmla="*/ 376362 w 1984332"/>
                    <a:gd name="connsiteY121" fmla="*/ 1142524 h 1520187"/>
                    <a:gd name="connsiteX122" fmla="*/ 376362 w 1984332"/>
                    <a:gd name="connsiteY122" fmla="*/ 1142524 h 1520187"/>
                    <a:gd name="connsiteX123" fmla="*/ 40324 w 1984332"/>
                    <a:gd name="connsiteY123" fmla="*/ 1142524 h 1520187"/>
                    <a:gd name="connsiteX124" fmla="*/ 40324 w 1984332"/>
                    <a:gd name="connsiteY124" fmla="*/ 833371 h 1520187"/>
                    <a:gd name="connsiteX125" fmla="*/ 80649 w 1984332"/>
                    <a:gd name="connsiteY125" fmla="*/ 833371 h 1520187"/>
                    <a:gd name="connsiteX126" fmla="*/ 221785 w 1984332"/>
                    <a:gd name="connsiteY126" fmla="*/ 920740 h 1520187"/>
                    <a:gd name="connsiteX127" fmla="*/ 221785 w 1984332"/>
                    <a:gd name="connsiteY127" fmla="*/ 920740 h 1520187"/>
                    <a:gd name="connsiteX128" fmla="*/ 376362 w 1984332"/>
                    <a:gd name="connsiteY128" fmla="*/ 766163 h 1520187"/>
                    <a:gd name="connsiteX129" fmla="*/ 221785 w 1984332"/>
                    <a:gd name="connsiteY129" fmla="*/ 604866 h 1520187"/>
                    <a:gd name="connsiteX130" fmla="*/ 221785 w 1984332"/>
                    <a:gd name="connsiteY130" fmla="*/ 604866 h 1520187"/>
                    <a:gd name="connsiteX131" fmla="*/ 87370 w 1984332"/>
                    <a:gd name="connsiteY131" fmla="*/ 678794 h 1520187"/>
                    <a:gd name="connsiteX132" fmla="*/ 40324 w 1984332"/>
                    <a:gd name="connsiteY132" fmla="*/ 678794 h 1520187"/>
                    <a:gd name="connsiteX133" fmla="*/ 40324 w 1984332"/>
                    <a:gd name="connsiteY133" fmla="*/ 376361 h 1520187"/>
                    <a:gd name="connsiteX134" fmla="*/ 369641 w 1984332"/>
                    <a:gd name="connsiteY134" fmla="*/ 376361 h 1520187"/>
                    <a:gd name="connsiteX135" fmla="*/ 383083 w 1984332"/>
                    <a:gd name="connsiteY135" fmla="*/ 369640 h 1520187"/>
                    <a:gd name="connsiteX136" fmla="*/ 389803 w 1984332"/>
                    <a:gd name="connsiteY136" fmla="*/ 356199 h 1520187"/>
                    <a:gd name="connsiteX137" fmla="*/ 389803 w 1984332"/>
                    <a:gd name="connsiteY137" fmla="*/ 275550 h 1520187"/>
                    <a:gd name="connsiteX138" fmla="*/ 376362 w 1984332"/>
                    <a:gd name="connsiteY138" fmla="*/ 255388 h 1520187"/>
                    <a:gd name="connsiteX139" fmla="*/ 309154 w 1984332"/>
                    <a:gd name="connsiteY139" fmla="*/ 154577 h 1520187"/>
                    <a:gd name="connsiteX140" fmla="*/ 423407 w 1984332"/>
                    <a:gd name="connsiteY140" fmla="*/ 40324 h 1520187"/>
                    <a:gd name="connsiteX141" fmla="*/ 504056 w 1984332"/>
                    <a:gd name="connsiteY141" fmla="*/ 73928 h 1520187"/>
                    <a:gd name="connsiteX142" fmla="*/ 537660 w 1984332"/>
                    <a:gd name="connsiteY142" fmla="*/ 154577 h 1520187"/>
                    <a:gd name="connsiteX143" fmla="*/ 470452 w 1984332"/>
                    <a:gd name="connsiteY143" fmla="*/ 262109 h 1520187"/>
                    <a:gd name="connsiteX144" fmla="*/ 457011 w 1984332"/>
                    <a:gd name="connsiteY144" fmla="*/ 282271 h 1520187"/>
                    <a:gd name="connsiteX145" fmla="*/ 457011 w 1984332"/>
                    <a:gd name="connsiteY145" fmla="*/ 362919 h 1520187"/>
                    <a:gd name="connsiteX146" fmla="*/ 477173 w 1984332"/>
                    <a:gd name="connsiteY146" fmla="*/ 383082 h 1520187"/>
                    <a:gd name="connsiteX147" fmla="*/ 477173 w 1984332"/>
                    <a:gd name="connsiteY147" fmla="*/ 383082 h 1520187"/>
                    <a:gd name="connsiteX148" fmla="*/ 806490 w 1984332"/>
                    <a:gd name="connsiteY148" fmla="*/ 383082 h 1520187"/>
                    <a:gd name="connsiteX149" fmla="*/ 806490 w 1984332"/>
                    <a:gd name="connsiteY149" fmla="*/ 631749 h 1520187"/>
                    <a:gd name="connsiteX150" fmla="*/ 806490 w 1984332"/>
                    <a:gd name="connsiteY150" fmla="*/ 685515 h 1520187"/>
                    <a:gd name="connsiteX151" fmla="*/ 766165 w 1984332"/>
                    <a:gd name="connsiteY151" fmla="*/ 685515 h 1520187"/>
                    <a:gd name="connsiteX152" fmla="*/ 631750 w 1984332"/>
                    <a:gd name="connsiteY152" fmla="*/ 604866 h 1520187"/>
                    <a:gd name="connsiteX153" fmla="*/ 631750 w 1984332"/>
                    <a:gd name="connsiteY153" fmla="*/ 604866 h 1520187"/>
                    <a:gd name="connsiteX154" fmla="*/ 517497 w 1984332"/>
                    <a:gd name="connsiteY154" fmla="*/ 651911 h 1520187"/>
                    <a:gd name="connsiteX155" fmla="*/ 470452 w 1984332"/>
                    <a:gd name="connsiteY155" fmla="*/ 759443 h 1520187"/>
                    <a:gd name="connsiteX156" fmla="*/ 517497 w 1984332"/>
                    <a:gd name="connsiteY156" fmla="*/ 866974 h 1520187"/>
                    <a:gd name="connsiteX157" fmla="*/ 625029 w 1984332"/>
                    <a:gd name="connsiteY157" fmla="*/ 914019 h 1520187"/>
                    <a:gd name="connsiteX158" fmla="*/ 625029 w 1984332"/>
                    <a:gd name="connsiteY158" fmla="*/ 914019 h 1520187"/>
                    <a:gd name="connsiteX159" fmla="*/ 766165 w 1984332"/>
                    <a:gd name="connsiteY159" fmla="*/ 826650 h 1520187"/>
                    <a:gd name="connsiteX160" fmla="*/ 799769 w 1984332"/>
                    <a:gd name="connsiteY160" fmla="*/ 826650 h 1520187"/>
                    <a:gd name="connsiteX161" fmla="*/ 799769 w 1984332"/>
                    <a:gd name="connsiteY161" fmla="*/ 1135803 h 1520187"/>
                    <a:gd name="connsiteX162" fmla="*/ 483894 w 1984332"/>
                    <a:gd name="connsiteY162" fmla="*/ 1142524 h 1520187"/>
                    <a:gd name="connsiteX163" fmla="*/ 1915413 w 1984332"/>
                    <a:gd name="connsiteY163" fmla="*/ 840091 h 1520187"/>
                    <a:gd name="connsiteX164" fmla="*/ 1834764 w 1984332"/>
                    <a:gd name="connsiteY164" fmla="*/ 873695 h 1520187"/>
                    <a:gd name="connsiteX165" fmla="*/ 1834764 w 1984332"/>
                    <a:gd name="connsiteY165" fmla="*/ 873695 h 1520187"/>
                    <a:gd name="connsiteX166" fmla="*/ 1733953 w 1984332"/>
                    <a:gd name="connsiteY166" fmla="*/ 806488 h 1520187"/>
                    <a:gd name="connsiteX167" fmla="*/ 1713790 w 1984332"/>
                    <a:gd name="connsiteY167" fmla="*/ 793046 h 1520187"/>
                    <a:gd name="connsiteX168" fmla="*/ 1713790 w 1984332"/>
                    <a:gd name="connsiteY168" fmla="*/ 793046 h 1520187"/>
                    <a:gd name="connsiteX169" fmla="*/ 1633141 w 1984332"/>
                    <a:gd name="connsiteY169" fmla="*/ 793046 h 1520187"/>
                    <a:gd name="connsiteX170" fmla="*/ 1612979 w 1984332"/>
                    <a:gd name="connsiteY170" fmla="*/ 813208 h 1520187"/>
                    <a:gd name="connsiteX171" fmla="*/ 1612979 w 1984332"/>
                    <a:gd name="connsiteY171" fmla="*/ 1142524 h 1520187"/>
                    <a:gd name="connsiteX172" fmla="*/ 1310546 w 1984332"/>
                    <a:gd name="connsiteY172" fmla="*/ 1142524 h 1520187"/>
                    <a:gd name="connsiteX173" fmla="*/ 1310546 w 1984332"/>
                    <a:gd name="connsiteY173" fmla="*/ 1102200 h 1520187"/>
                    <a:gd name="connsiteX174" fmla="*/ 1384474 w 1984332"/>
                    <a:gd name="connsiteY174" fmla="*/ 967785 h 1520187"/>
                    <a:gd name="connsiteX175" fmla="*/ 1337429 w 1984332"/>
                    <a:gd name="connsiteY175" fmla="*/ 860254 h 1520187"/>
                    <a:gd name="connsiteX176" fmla="*/ 1229897 w 1984332"/>
                    <a:gd name="connsiteY176" fmla="*/ 813208 h 1520187"/>
                    <a:gd name="connsiteX177" fmla="*/ 1229897 w 1984332"/>
                    <a:gd name="connsiteY177" fmla="*/ 813208 h 1520187"/>
                    <a:gd name="connsiteX178" fmla="*/ 1122365 w 1984332"/>
                    <a:gd name="connsiteY178" fmla="*/ 860254 h 1520187"/>
                    <a:gd name="connsiteX179" fmla="*/ 1075320 w 1984332"/>
                    <a:gd name="connsiteY179" fmla="*/ 967785 h 1520187"/>
                    <a:gd name="connsiteX180" fmla="*/ 1162689 w 1984332"/>
                    <a:gd name="connsiteY180" fmla="*/ 1108921 h 1520187"/>
                    <a:gd name="connsiteX181" fmla="*/ 1162689 w 1984332"/>
                    <a:gd name="connsiteY181" fmla="*/ 1142524 h 1520187"/>
                    <a:gd name="connsiteX182" fmla="*/ 853535 w 1984332"/>
                    <a:gd name="connsiteY182" fmla="*/ 1142524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19929 h 1520187"/>
                    <a:gd name="connsiteX185" fmla="*/ 853535 w 1984332"/>
                    <a:gd name="connsiteY185" fmla="*/ 806488 h 1520187"/>
                    <a:gd name="connsiteX186" fmla="*/ 846814 w 1984332"/>
                    <a:gd name="connsiteY186" fmla="*/ 793046 h 1520187"/>
                    <a:gd name="connsiteX187" fmla="*/ 833373 w 1984332"/>
                    <a:gd name="connsiteY187" fmla="*/ 786325 h 1520187"/>
                    <a:gd name="connsiteX188" fmla="*/ 833373 w 1984332"/>
                    <a:gd name="connsiteY188" fmla="*/ 786325 h 1520187"/>
                    <a:gd name="connsiteX189" fmla="*/ 759444 w 1984332"/>
                    <a:gd name="connsiteY189" fmla="*/ 786325 h 1520187"/>
                    <a:gd name="connsiteX190" fmla="*/ 739282 w 1984332"/>
                    <a:gd name="connsiteY190" fmla="*/ 799767 h 1520187"/>
                    <a:gd name="connsiteX191" fmla="*/ 631750 w 1984332"/>
                    <a:gd name="connsiteY191" fmla="*/ 873695 h 1520187"/>
                    <a:gd name="connsiteX192" fmla="*/ 631750 w 1984332"/>
                    <a:gd name="connsiteY192" fmla="*/ 873695 h 1520187"/>
                    <a:gd name="connsiteX193" fmla="*/ 551101 w 1984332"/>
                    <a:gd name="connsiteY193" fmla="*/ 840091 h 1520187"/>
                    <a:gd name="connsiteX194" fmla="*/ 517497 w 1984332"/>
                    <a:gd name="connsiteY194" fmla="*/ 759443 h 1520187"/>
                    <a:gd name="connsiteX195" fmla="*/ 551101 w 1984332"/>
                    <a:gd name="connsiteY195" fmla="*/ 678794 h 1520187"/>
                    <a:gd name="connsiteX196" fmla="*/ 631750 w 1984332"/>
                    <a:gd name="connsiteY196" fmla="*/ 645190 h 1520187"/>
                    <a:gd name="connsiteX197" fmla="*/ 631750 w 1984332"/>
                    <a:gd name="connsiteY197" fmla="*/ 645190 h 1520187"/>
                    <a:gd name="connsiteX198" fmla="*/ 732561 w 1984332"/>
                    <a:gd name="connsiteY198" fmla="*/ 712397 h 1520187"/>
                    <a:gd name="connsiteX199" fmla="*/ 752724 w 1984332"/>
                    <a:gd name="connsiteY199" fmla="*/ 725839 h 1520187"/>
                    <a:gd name="connsiteX200" fmla="*/ 752724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26652 w 1984332"/>
                    <a:gd name="connsiteY202" fmla="*/ 725839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0093 w 1984332"/>
                    <a:gd name="connsiteY205" fmla="*/ 719118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705677 h 1520187"/>
                    <a:gd name="connsiteX210" fmla="*/ 846814 w 1984332"/>
                    <a:gd name="connsiteY210" fmla="*/ 383082 h 1520187"/>
                    <a:gd name="connsiteX211" fmla="*/ 1155969 w 1984332"/>
                    <a:gd name="connsiteY211" fmla="*/ 383082 h 1520187"/>
                    <a:gd name="connsiteX212" fmla="*/ 1155969 w 1984332"/>
                    <a:gd name="connsiteY212" fmla="*/ 423406 h 1520187"/>
                    <a:gd name="connsiteX213" fmla="*/ 1075320 w 1984332"/>
                    <a:gd name="connsiteY213" fmla="*/ 557821 h 1520187"/>
                    <a:gd name="connsiteX214" fmla="*/ 1158459 w 1984332"/>
                    <a:gd name="connsiteY214" fmla="*/ 674298 h 1520187"/>
                    <a:gd name="connsiteX215" fmla="*/ 1246566 w 1984332"/>
                    <a:gd name="connsiteY215" fmla="*/ 714780 h 1520187"/>
                    <a:gd name="connsiteX216" fmla="*/ 1351716 w 1984332"/>
                    <a:gd name="connsiteY216" fmla="*/ 670115 h 1520187"/>
                    <a:gd name="connsiteX217" fmla="*/ 1396380 w 1984332"/>
                    <a:gd name="connsiteY217" fmla="*/ 553058 h 1520187"/>
                    <a:gd name="connsiteX218" fmla="*/ 1310546 w 1984332"/>
                    <a:gd name="connsiteY218" fmla="*/ 423406 h 1520187"/>
                    <a:gd name="connsiteX219" fmla="*/ 1310546 w 1984332"/>
                    <a:gd name="connsiteY219" fmla="*/ 376361 h 1520187"/>
                    <a:gd name="connsiteX220" fmla="*/ 1612979 w 1984332"/>
                    <a:gd name="connsiteY220" fmla="*/ 376361 h 1520187"/>
                    <a:gd name="connsiteX221" fmla="*/ 1612979 w 1984332"/>
                    <a:gd name="connsiteY221" fmla="*/ 705677 h 1520187"/>
                    <a:gd name="connsiteX222" fmla="*/ 1633141 w 1984332"/>
                    <a:gd name="connsiteY222" fmla="*/ 725839 h 1520187"/>
                    <a:gd name="connsiteX223" fmla="*/ 1633141 w 1984332"/>
                    <a:gd name="connsiteY223" fmla="*/ 725839 h 1520187"/>
                    <a:gd name="connsiteX224" fmla="*/ 1713790 w 1984332"/>
                    <a:gd name="connsiteY224" fmla="*/ 725839 h 1520187"/>
                    <a:gd name="connsiteX225" fmla="*/ 1733953 w 1984332"/>
                    <a:gd name="connsiteY225" fmla="*/ 712397 h 1520187"/>
                    <a:gd name="connsiteX226" fmla="*/ 1834764 w 1984332"/>
                    <a:gd name="connsiteY226" fmla="*/ 645190 h 1520187"/>
                    <a:gd name="connsiteX227" fmla="*/ 1834764 w 1984332"/>
                    <a:gd name="connsiteY227" fmla="*/ 645190 h 1520187"/>
                    <a:gd name="connsiteX228" fmla="*/ 1915413 w 1984332"/>
                    <a:gd name="connsiteY228" fmla="*/ 678794 h 1520187"/>
                    <a:gd name="connsiteX229" fmla="*/ 1949017 w 1984332"/>
                    <a:gd name="connsiteY229" fmla="*/ 759443 h 1520187"/>
                    <a:gd name="connsiteX230" fmla="*/ 1915413 w 1984332"/>
                    <a:gd name="connsiteY230" fmla="*/ 840091 h 1520187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83663 w 1984332"/>
                    <a:gd name="connsiteY13" fmla="*/ 423406 h 1520187"/>
                    <a:gd name="connsiteX14" fmla="*/ 1297104 w 1984332"/>
                    <a:gd name="connsiteY14" fmla="*/ 450289 h 1520187"/>
                    <a:gd name="connsiteX15" fmla="*/ 1364312 w 1984332"/>
                    <a:gd name="connsiteY15" fmla="*/ 551100 h 1520187"/>
                    <a:gd name="connsiteX16" fmla="*/ 1330708 w 1984332"/>
                    <a:gd name="connsiteY16" fmla="*/ 631749 h 1520187"/>
                    <a:gd name="connsiteX17" fmla="*/ 1250059 w 1984332"/>
                    <a:gd name="connsiteY17" fmla="*/ 665352 h 1520187"/>
                    <a:gd name="connsiteX18" fmla="*/ 1135806 w 1984332"/>
                    <a:gd name="connsiteY18" fmla="*/ 551100 h 1520187"/>
                    <a:gd name="connsiteX19" fmla="*/ 1209734 w 1984332"/>
                    <a:gd name="connsiteY19" fmla="*/ 443568 h 1520187"/>
                    <a:gd name="connsiteX20" fmla="*/ 1223176 w 1984332"/>
                    <a:gd name="connsiteY20" fmla="*/ 423406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223176 w 1984332"/>
                    <a:gd name="connsiteY23" fmla="*/ 349478 h 1520187"/>
                    <a:gd name="connsiteX24" fmla="*/ 1182852 w 1984332"/>
                    <a:gd name="connsiteY24" fmla="*/ 336037 h 1520187"/>
                    <a:gd name="connsiteX25" fmla="*/ 11828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826652 w 1984332"/>
                    <a:gd name="connsiteY28" fmla="*/ 336037 h 1520187"/>
                    <a:gd name="connsiteX29" fmla="*/ 497335 w 1984332"/>
                    <a:gd name="connsiteY29" fmla="*/ 336037 h 1520187"/>
                    <a:gd name="connsiteX30" fmla="*/ 497335 w 1984332"/>
                    <a:gd name="connsiteY30" fmla="*/ 295712 h 1520187"/>
                    <a:gd name="connsiteX31" fmla="*/ 584705 w 1984332"/>
                    <a:gd name="connsiteY31" fmla="*/ 154577 h 1520187"/>
                    <a:gd name="connsiteX32" fmla="*/ 537660 w 1984332"/>
                    <a:gd name="connsiteY32" fmla="*/ 47045 h 1520187"/>
                    <a:gd name="connsiteX33" fmla="*/ 423407 w 1984332"/>
                    <a:gd name="connsiteY33" fmla="*/ 0 h 1520187"/>
                    <a:gd name="connsiteX34" fmla="*/ 423407 w 1984332"/>
                    <a:gd name="connsiteY34" fmla="*/ 0 h 1520187"/>
                    <a:gd name="connsiteX35" fmla="*/ 268830 w 1984332"/>
                    <a:gd name="connsiteY35" fmla="*/ 154577 h 1520187"/>
                    <a:gd name="connsiteX36" fmla="*/ 349479 w 1984332"/>
                    <a:gd name="connsiteY36" fmla="*/ 288991 h 1520187"/>
                    <a:gd name="connsiteX37" fmla="*/ 349479 w 1984332"/>
                    <a:gd name="connsiteY37" fmla="*/ 329316 h 1520187"/>
                    <a:gd name="connsiteX38" fmla="*/ 20162 w 1984332"/>
                    <a:gd name="connsiteY38" fmla="*/ 336037 h 1520187"/>
                    <a:gd name="connsiteX39" fmla="*/ 0 w 1984332"/>
                    <a:gd name="connsiteY39" fmla="*/ 356199 h 1520187"/>
                    <a:gd name="connsiteX40" fmla="*/ 0 w 1984332"/>
                    <a:gd name="connsiteY40" fmla="*/ 698956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20162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94090 w 1984332"/>
                    <a:gd name="connsiteY46" fmla="*/ 719118 h 1520187"/>
                    <a:gd name="connsiteX47" fmla="*/ 120973 w 1984332"/>
                    <a:gd name="connsiteY47" fmla="*/ 705677 h 1520187"/>
                    <a:gd name="connsiteX48" fmla="*/ 221785 w 1984332"/>
                    <a:gd name="connsiteY48" fmla="*/ 638469 h 1520187"/>
                    <a:gd name="connsiteX49" fmla="*/ 221785 w 1984332"/>
                    <a:gd name="connsiteY49" fmla="*/ 638469 h 1520187"/>
                    <a:gd name="connsiteX50" fmla="*/ 336037 w 1984332"/>
                    <a:gd name="connsiteY50" fmla="*/ 752722 h 1520187"/>
                    <a:gd name="connsiteX51" fmla="*/ 221785 w 1984332"/>
                    <a:gd name="connsiteY51" fmla="*/ 873695 h 1520187"/>
                    <a:gd name="connsiteX52" fmla="*/ 221785 w 1984332"/>
                    <a:gd name="connsiteY52" fmla="*/ 873695 h 1520187"/>
                    <a:gd name="connsiteX53" fmla="*/ 114253 w 1984332"/>
                    <a:gd name="connsiteY53" fmla="*/ 799767 h 1520187"/>
                    <a:gd name="connsiteX54" fmla="*/ 94090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20162 w 1984332"/>
                    <a:gd name="connsiteY59" fmla="*/ 786325 h 1520187"/>
                    <a:gd name="connsiteX60" fmla="*/ 0 w 1984332"/>
                    <a:gd name="connsiteY60" fmla="*/ 806488 h 1520187"/>
                    <a:gd name="connsiteX61" fmla="*/ 0 w 1984332"/>
                    <a:gd name="connsiteY61" fmla="*/ 1162686 h 1520187"/>
                    <a:gd name="connsiteX62" fmla="*/ 20162 w 1984332"/>
                    <a:gd name="connsiteY62" fmla="*/ 1182849 h 1520187"/>
                    <a:gd name="connsiteX63" fmla="*/ 20162 w 1984332"/>
                    <a:gd name="connsiteY63" fmla="*/ 1182849 h 1520187"/>
                    <a:gd name="connsiteX64" fmla="*/ 356200 w 1984332"/>
                    <a:gd name="connsiteY64" fmla="*/ 1182849 h 1520187"/>
                    <a:gd name="connsiteX65" fmla="*/ 356200 w 1984332"/>
                    <a:gd name="connsiteY65" fmla="*/ 1223173 h 1520187"/>
                    <a:gd name="connsiteX66" fmla="*/ 268830 w 1984332"/>
                    <a:gd name="connsiteY66" fmla="*/ 1364308 h 1520187"/>
                    <a:gd name="connsiteX67" fmla="*/ 315875 w 1984332"/>
                    <a:gd name="connsiteY67" fmla="*/ 1471840 h 1520187"/>
                    <a:gd name="connsiteX68" fmla="*/ 423407 w 1984332"/>
                    <a:gd name="connsiteY68" fmla="*/ 1518885 h 1520187"/>
                    <a:gd name="connsiteX69" fmla="*/ 423407 w 1984332"/>
                    <a:gd name="connsiteY69" fmla="*/ 1518885 h 1520187"/>
                    <a:gd name="connsiteX70" fmla="*/ 537660 w 1984332"/>
                    <a:gd name="connsiteY70" fmla="*/ 1478561 h 1520187"/>
                    <a:gd name="connsiteX71" fmla="*/ 584705 w 1984332"/>
                    <a:gd name="connsiteY71" fmla="*/ 1371029 h 1520187"/>
                    <a:gd name="connsiteX72" fmla="*/ 510777 w 1984332"/>
                    <a:gd name="connsiteY72" fmla="*/ 1236614 h 1520187"/>
                    <a:gd name="connsiteX73" fmla="*/ 510777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833373 w 1984332"/>
                    <a:gd name="connsiteY76" fmla="*/ 1189569 h 1520187"/>
                    <a:gd name="connsiteX77" fmla="*/ 1189572 w 1984332"/>
                    <a:gd name="connsiteY77" fmla="*/ 1189569 h 1520187"/>
                    <a:gd name="connsiteX78" fmla="*/ 1203014 w 1984332"/>
                    <a:gd name="connsiteY78" fmla="*/ 1182849 h 1520187"/>
                    <a:gd name="connsiteX79" fmla="*/ 1209734 w 1984332"/>
                    <a:gd name="connsiteY79" fmla="*/ 1169407 h 1520187"/>
                    <a:gd name="connsiteX80" fmla="*/ 1209734 w 1984332"/>
                    <a:gd name="connsiteY80" fmla="*/ 1095479 h 1520187"/>
                    <a:gd name="connsiteX81" fmla="*/ 1196293 w 1984332"/>
                    <a:gd name="connsiteY81" fmla="*/ 1075317 h 1520187"/>
                    <a:gd name="connsiteX82" fmla="*/ 1122365 w 1984332"/>
                    <a:gd name="connsiteY82" fmla="*/ 967785 h 1520187"/>
                    <a:gd name="connsiteX83" fmla="*/ 1155969 w 1984332"/>
                    <a:gd name="connsiteY83" fmla="*/ 887136 h 1520187"/>
                    <a:gd name="connsiteX84" fmla="*/ 1236617 w 1984332"/>
                    <a:gd name="connsiteY84" fmla="*/ 853533 h 1520187"/>
                    <a:gd name="connsiteX85" fmla="*/ 1236617 w 1984332"/>
                    <a:gd name="connsiteY85" fmla="*/ 853533 h 1520187"/>
                    <a:gd name="connsiteX86" fmla="*/ 1317266 w 1984332"/>
                    <a:gd name="connsiteY86" fmla="*/ 887136 h 1520187"/>
                    <a:gd name="connsiteX87" fmla="*/ 1350870 w 1984332"/>
                    <a:gd name="connsiteY87" fmla="*/ 967785 h 1520187"/>
                    <a:gd name="connsiteX88" fmla="*/ 1283663 w 1984332"/>
                    <a:gd name="connsiteY88" fmla="*/ 1068596 h 1520187"/>
                    <a:gd name="connsiteX89" fmla="*/ 1270221 w 1984332"/>
                    <a:gd name="connsiteY89" fmla="*/ 1088758 h 1520187"/>
                    <a:gd name="connsiteX90" fmla="*/ 1270221 w 1984332"/>
                    <a:gd name="connsiteY90" fmla="*/ 1162686 h 1520187"/>
                    <a:gd name="connsiteX91" fmla="*/ 1276942 w 1984332"/>
                    <a:gd name="connsiteY91" fmla="*/ 1176128 h 1520187"/>
                    <a:gd name="connsiteX92" fmla="*/ 1290383 w 1984332"/>
                    <a:gd name="connsiteY92" fmla="*/ 1182849 h 1520187"/>
                    <a:gd name="connsiteX93" fmla="*/ 1290383 w 1984332"/>
                    <a:gd name="connsiteY93" fmla="*/ 1182849 h 1520187"/>
                    <a:gd name="connsiteX94" fmla="*/ 1633141 w 1984332"/>
                    <a:gd name="connsiteY94" fmla="*/ 1182849 h 1520187"/>
                    <a:gd name="connsiteX95" fmla="*/ 1653304 w 1984332"/>
                    <a:gd name="connsiteY95" fmla="*/ 1162686 h 1520187"/>
                    <a:gd name="connsiteX96" fmla="*/ 1653304 w 1984332"/>
                    <a:gd name="connsiteY96" fmla="*/ 833371 h 1520187"/>
                    <a:gd name="connsiteX97" fmla="*/ 1693628 w 1984332"/>
                    <a:gd name="connsiteY97" fmla="*/ 833371 h 1520187"/>
                    <a:gd name="connsiteX98" fmla="*/ 1828043 w 1984332"/>
                    <a:gd name="connsiteY98" fmla="*/ 914019 h 1520187"/>
                    <a:gd name="connsiteX99" fmla="*/ 1828043 w 1984332"/>
                    <a:gd name="connsiteY99" fmla="*/ 914019 h 1520187"/>
                    <a:gd name="connsiteX100" fmla="*/ 1935575 w 1984332"/>
                    <a:gd name="connsiteY100" fmla="*/ 866974 h 1520187"/>
                    <a:gd name="connsiteX101" fmla="*/ 1982620 w 1984332"/>
                    <a:gd name="connsiteY101" fmla="*/ 759443 h 1520187"/>
                    <a:gd name="connsiteX102" fmla="*/ 1949017 w 1984332"/>
                    <a:gd name="connsiteY102" fmla="*/ 645190 h 1520187"/>
                    <a:gd name="connsiteX103" fmla="*/ 483894 w 1984332"/>
                    <a:gd name="connsiteY103" fmla="*/ 1142524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162686 h 1520187"/>
                    <a:gd name="connsiteX107" fmla="*/ 463732 w 1984332"/>
                    <a:gd name="connsiteY107" fmla="*/ 1236614 h 1520187"/>
                    <a:gd name="connsiteX108" fmla="*/ 463732 w 1984332"/>
                    <a:gd name="connsiteY108" fmla="*/ 1236614 h 1520187"/>
                    <a:gd name="connsiteX109" fmla="*/ 477173 w 1984332"/>
                    <a:gd name="connsiteY109" fmla="*/ 1263497 h 1520187"/>
                    <a:gd name="connsiteX110" fmla="*/ 544381 w 1984332"/>
                    <a:gd name="connsiteY110" fmla="*/ 1364308 h 1520187"/>
                    <a:gd name="connsiteX111" fmla="*/ 510777 w 1984332"/>
                    <a:gd name="connsiteY111" fmla="*/ 1444957 h 1520187"/>
                    <a:gd name="connsiteX112" fmla="*/ 423407 w 1984332"/>
                    <a:gd name="connsiteY112" fmla="*/ 1478561 h 1520187"/>
                    <a:gd name="connsiteX113" fmla="*/ 423407 w 1984332"/>
                    <a:gd name="connsiteY113" fmla="*/ 1478561 h 1520187"/>
                    <a:gd name="connsiteX114" fmla="*/ 342758 w 1984332"/>
                    <a:gd name="connsiteY114" fmla="*/ 1444957 h 1520187"/>
                    <a:gd name="connsiteX115" fmla="*/ 309154 w 1984332"/>
                    <a:gd name="connsiteY115" fmla="*/ 1364308 h 1520187"/>
                    <a:gd name="connsiteX116" fmla="*/ 383083 w 1984332"/>
                    <a:gd name="connsiteY116" fmla="*/ 1256777 h 1520187"/>
                    <a:gd name="connsiteX117" fmla="*/ 396524 w 1984332"/>
                    <a:gd name="connsiteY117" fmla="*/ 1236614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96524 w 1984332"/>
                    <a:gd name="connsiteY120" fmla="*/ 1162686 h 1520187"/>
                    <a:gd name="connsiteX121" fmla="*/ 376362 w 1984332"/>
                    <a:gd name="connsiteY121" fmla="*/ 1142524 h 1520187"/>
                    <a:gd name="connsiteX122" fmla="*/ 376362 w 1984332"/>
                    <a:gd name="connsiteY122" fmla="*/ 1142524 h 1520187"/>
                    <a:gd name="connsiteX123" fmla="*/ 40324 w 1984332"/>
                    <a:gd name="connsiteY123" fmla="*/ 1142524 h 1520187"/>
                    <a:gd name="connsiteX124" fmla="*/ 40324 w 1984332"/>
                    <a:gd name="connsiteY124" fmla="*/ 833371 h 1520187"/>
                    <a:gd name="connsiteX125" fmla="*/ 80649 w 1984332"/>
                    <a:gd name="connsiteY125" fmla="*/ 833371 h 1520187"/>
                    <a:gd name="connsiteX126" fmla="*/ 221785 w 1984332"/>
                    <a:gd name="connsiteY126" fmla="*/ 920740 h 1520187"/>
                    <a:gd name="connsiteX127" fmla="*/ 221785 w 1984332"/>
                    <a:gd name="connsiteY127" fmla="*/ 920740 h 1520187"/>
                    <a:gd name="connsiteX128" fmla="*/ 376362 w 1984332"/>
                    <a:gd name="connsiteY128" fmla="*/ 766163 h 1520187"/>
                    <a:gd name="connsiteX129" fmla="*/ 221785 w 1984332"/>
                    <a:gd name="connsiteY129" fmla="*/ 604866 h 1520187"/>
                    <a:gd name="connsiteX130" fmla="*/ 221785 w 1984332"/>
                    <a:gd name="connsiteY130" fmla="*/ 604866 h 1520187"/>
                    <a:gd name="connsiteX131" fmla="*/ 87370 w 1984332"/>
                    <a:gd name="connsiteY131" fmla="*/ 678794 h 1520187"/>
                    <a:gd name="connsiteX132" fmla="*/ 40324 w 1984332"/>
                    <a:gd name="connsiteY132" fmla="*/ 678794 h 1520187"/>
                    <a:gd name="connsiteX133" fmla="*/ 40324 w 1984332"/>
                    <a:gd name="connsiteY133" fmla="*/ 376361 h 1520187"/>
                    <a:gd name="connsiteX134" fmla="*/ 369641 w 1984332"/>
                    <a:gd name="connsiteY134" fmla="*/ 376361 h 1520187"/>
                    <a:gd name="connsiteX135" fmla="*/ 383083 w 1984332"/>
                    <a:gd name="connsiteY135" fmla="*/ 369640 h 1520187"/>
                    <a:gd name="connsiteX136" fmla="*/ 389803 w 1984332"/>
                    <a:gd name="connsiteY136" fmla="*/ 356199 h 1520187"/>
                    <a:gd name="connsiteX137" fmla="*/ 389803 w 1984332"/>
                    <a:gd name="connsiteY137" fmla="*/ 275550 h 1520187"/>
                    <a:gd name="connsiteX138" fmla="*/ 376362 w 1984332"/>
                    <a:gd name="connsiteY138" fmla="*/ 255388 h 1520187"/>
                    <a:gd name="connsiteX139" fmla="*/ 309154 w 1984332"/>
                    <a:gd name="connsiteY139" fmla="*/ 154577 h 1520187"/>
                    <a:gd name="connsiteX140" fmla="*/ 423407 w 1984332"/>
                    <a:gd name="connsiteY140" fmla="*/ 40324 h 1520187"/>
                    <a:gd name="connsiteX141" fmla="*/ 504056 w 1984332"/>
                    <a:gd name="connsiteY141" fmla="*/ 73928 h 1520187"/>
                    <a:gd name="connsiteX142" fmla="*/ 537660 w 1984332"/>
                    <a:gd name="connsiteY142" fmla="*/ 154577 h 1520187"/>
                    <a:gd name="connsiteX143" fmla="*/ 470452 w 1984332"/>
                    <a:gd name="connsiteY143" fmla="*/ 262109 h 1520187"/>
                    <a:gd name="connsiteX144" fmla="*/ 457011 w 1984332"/>
                    <a:gd name="connsiteY144" fmla="*/ 282271 h 1520187"/>
                    <a:gd name="connsiteX145" fmla="*/ 457011 w 1984332"/>
                    <a:gd name="connsiteY145" fmla="*/ 362919 h 1520187"/>
                    <a:gd name="connsiteX146" fmla="*/ 477173 w 1984332"/>
                    <a:gd name="connsiteY146" fmla="*/ 383082 h 1520187"/>
                    <a:gd name="connsiteX147" fmla="*/ 477173 w 1984332"/>
                    <a:gd name="connsiteY147" fmla="*/ 383082 h 1520187"/>
                    <a:gd name="connsiteX148" fmla="*/ 806490 w 1984332"/>
                    <a:gd name="connsiteY148" fmla="*/ 383082 h 1520187"/>
                    <a:gd name="connsiteX149" fmla="*/ 806490 w 1984332"/>
                    <a:gd name="connsiteY149" fmla="*/ 631749 h 1520187"/>
                    <a:gd name="connsiteX150" fmla="*/ 806490 w 1984332"/>
                    <a:gd name="connsiteY150" fmla="*/ 685515 h 1520187"/>
                    <a:gd name="connsiteX151" fmla="*/ 766165 w 1984332"/>
                    <a:gd name="connsiteY151" fmla="*/ 685515 h 1520187"/>
                    <a:gd name="connsiteX152" fmla="*/ 631750 w 1984332"/>
                    <a:gd name="connsiteY152" fmla="*/ 604866 h 1520187"/>
                    <a:gd name="connsiteX153" fmla="*/ 631750 w 1984332"/>
                    <a:gd name="connsiteY153" fmla="*/ 604866 h 1520187"/>
                    <a:gd name="connsiteX154" fmla="*/ 517497 w 1984332"/>
                    <a:gd name="connsiteY154" fmla="*/ 651911 h 1520187"/>
                    <a:gd name="connsiteX155" fmla="*/ 470452 w 1984332"/>
                    <a:gd name="connsiteY155" fmla="*/ 759443 h 1520187"/>
                    <a:gd name="connsiteX156" fmla="*/ 517497 w 1984332"/>
                    <a:gd name="connsiteY156" fmla="*/ 866974 h 1520187"/>
                    <a:gd name="connsiteX157" fmla="*/ 625029 w 1984332"/>
                    <a:gd name="connsiteY157" fmla="*/ 914019 h 1520187"/>
                    <a:gd name="connsiteX158" fmla="*/ 625029 w 1984332"/>
                    <a:gd name="connsiteY158" fmla="*/ 914019 h 1520187"/>
                    <a:gd name="connsiteX159" fmla="*/ 766165 w 1984332"/>
                    <a:gd name="connsiteY159" fmla="*/ 826650 h 1520187"/>
                    <a:gd name="connsiteX160" fmla="*/ 799769 w 1984332"/>
                    <a:gd name="connsiteY160" fmla="*/ 826650 h 1520187"/>
                    <a:gd name="connsiteX161" fmla="*/ 799769 w 1984332"/>
                    <a:gd name="connsiteY161" fmla="*/ 1135803 h 1520187"/>
                    <a:gd name="connsiteX162" fmla="*/ 483894 w 1984332"/>
                    <a:gd name="connsiteY162" fmla="*/ 1142524 h 1520187"/>
                    <a:gd name="connsiteX163" fmla="*/ 1915413 w 1984332"/>
                    <a:gd name="connsiteY163" fmla="*/ 840091 h 1520187"/>
                    <a:gd name="connsiteX164" fmla="*/ 1834764 w 1984332"/>
                    <a:gd name="connsiteY164" fmla="*/ 873695 h 1520187"/>
                    <a:gd name="connsiteX165" fmla="*/ 1834764 w 1984332"/>
                    <a:gd name="connsiteY165" fmla="*/ 873695 h 1520187"/>
                    <a:gd name="connsiteX166" fmla="*/ 1733953 w 1984332"/>
                    <a:gd name="connsiteY166" fmla="*/ 806488 h 1520187"/>
                    <a:gd name="connsiteX167" fmla="*/ 1713790 w 1984332"/>
                    <a:gd name="connsiteY167" fmla="*/ 793046 h 1520187"/>
                    <a:gd name="connsiteX168" fmla="*/ 1713790 w 1984332"/>
                    <a:gd name="connsiteY168" fmla="*/ 793046 h 1520187"/>
                    <a:gd name="connsiteX169" fmla="*/ 1633141 w 1984332"/>
                    <a:gd name="connsiteY169" fmla="*/ 793046 h 1520187"/>
                    <a:gd name="connsiteX170" fmla="*/ 1612979 w 1984332"/>
                    <a:gd name="connsiteY170" fmla="*/ 813208 h 1520187"/>
                    <a:gd name="connsiteX171" fmla="*/ 1612979 w 1984332"/>
                    <a:gd name="connsiteY171" fmla="*/ 1142524 h 1520187"/>
                    <a:gd name="connsiteX172" fmla="*/ 1310546 w 1984332"/>
                    <a:gd name="connsiteY172" fmla="*/ 1142524 h 1520187"/>
                    <a:gd name="connsiteX173" fmla="*/ 1310546 w 1984332"/>
                    <a:gd name="connsiteY173" fmla="*/ 1102200 h 1520187"/>
                    <a:gd name="connsiteX174" fmla="*/ 1384474 w 1984332"/>
                    <a:gd name="connsiteY174" fmla="*/ 967785 h 1520187"/>
                    <a:gd name="connsiteX175" fmla="*/ 1337429 w 1984332"/>
                    <a:gd name="connsiteY175" fmla="*/ 860254 h 1520187"/>
                    <a:gd name="connsiteX176" fmla="*/ 1229897 w 1984332"/>
                    <a:gd name="connsiteY176" fmla="*/ 813208 h 1520187"/>
                    <a:gd name="connsiteX177" fmla="*/ 1229897 w 1984332"/>
                    <a:gd name="connsiteY177" fmla="*/ 813208 h 1520187"/>
                    <a:gd name="connsiteX178" fmla="*/ 1122365 w 1984332"/>
                    <a:gd name="connsiteY178" fmla="*/ 860254 h 1520187"/>
                    <a:gd name="connsiteX179" fmla="*/ 1075320 w 1984332"/>
                    <a:gd name="connsiteY179" fmla="*/ 967785 h 1520187"/>
                    <a:gd name="connsiteX180" fmla="*/ 1162689 w 1984332"/>
                    <a:gd name="connsiteY180" fmla="*/ 1108921 h 1520187"/>
                    <a:gd name="connsiteX181" fmla="*/ 1162689 w 1984332"/>
                    <a:gd name="connsiteY181" fmla="*/ 1142524 h 1520187"/>
                    <a:gd name="connsiteX182" fmla="*/ 853535 w 1984332"/>
                    <a:gd name="connsiteY182" fmla="*/ 1142524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19929 h 1520187"/>
                    <a:gd name="connsiteX185" fmla="*/ 853535 w 1984332"/>
                    <a:gd name="connsiteY185" fmla="*/ 806488 h 1520187"/>
                    <a:gd name="connsiteX186" fmla="*/ 846814 w 1984332"/>
                    <a:gd name="connsiteY186" fmla="*/ 793046 h 1520187"/>
                    <a:gd name="connsiteX187" fmla="*/ 833373 w 1984332"/>
                    <a:gd name="connsiteY187" fmla="*/ 786325 h 1520187"/>
                    <a:gd name="connsiteX188" fmla="*/ 833373 w 1984332"/>
                    <a:gd name="connsiteY188" fmla="*/ 786325 h 1520187"/>
                    <a:gd name="connsiteX189" fmla="*/ 759444 w 1984332"/>
                    <a:gd name="connsiteY189" fmla="*/ 786325 h 1520187"/>
                    <a:gd name="connsiteX190" fmla="*/ 739282 w 1984332"/>
                    <a:gd name="connsiteY190" fmla="*/ 799767 h 1520187"/>
                    <a:gd name="connsiteX191" fmla="*/ 631750 w 1984332"/>
                    <a:gd name="connsiteY191" fmla="*/ 873695 h 1520187"/>
                    <a:gd name="connsiteX192" fmla="*/ 631750 w 1984332"/>
                    <a:gd name="connsiteY192" fmla="*/ 873695 h 1520187"/>
                    <a:gd name="connsiteX193" fmla="*/ 551101 w 1984332"/>
                    <a:gd name="connsiteY193" fmla="*/ 840091 h 1520187"/>
                    <a:gd name="connsiteX194" fmla="*/ 517497 w 1984332"/>
                    <a:gd name="connsiteY194" fmla="*/ 759443 h 1520187"/>
                    <a:gd name="connsiteX195" fmla="*/ 551101 w 1984332"/>
                    <a:gd name="connsiteY195" fmla="*/ 678794 h 1520187"/>
                    <a:gd name="connsiteX196" fmla="*/ 631750 w 1984332"/>
                    <a:gd name="connsiteY196" fmla="*/ 645190 h 1520187"/>
                    <a:gd name="connsiteX197" fmla="*/ 631750 w 1984332"/>
                    <a:gd name="connsiteY197" fmla="*/ 645190 h 1520187"/>
                    <a:gd name="connsiteX198" fmla="*/ 732561 w 1984332"/>
                    <a:gd name="connsiteY198" fmla="*/ 712397 h 1520187"/>
                    <a:gd name="connsiteX199" fmla="*/ 752724 w 1984332"/>
                    <a:gd name="connsiteY199" fmla="*/ 725839 h 1520187"/>
                    <a:gd name="connsiteX200" fmla="*/ 752724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26652 w 1984332"/>
                    <a:gd name="connsiteY202" fmla="*/ 725839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0093 w 1984332"/>
                    <a:gd name="connsiteY205" fmla="*/ 719118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705677 h 1520187"/>
                    <a:gd name="connsiteX210" fmla="*/ 846814 w 1984332"/>
                    <a:gd name="connsiteY210" fmla="*/ 383082 h 1520187"/>
                    <a:gd name="connsiteX211" fmla="*/ 1155969 w 1984332"/>
                    <a:gd name="connsiteY211" fmla="*/ 383082 h 1520187"/>
                    <a:gd name="connsiteX212" fmla="*/ 1155969 w 1984332"/>
                    <a:gd name="connsiteY212" fmla="*/ 423406 h 1520187"/>
                    <a:gd name="connsiteX213" fmla="*/ 1075320 w 1984332"/>
                    <a:gd name="connsiteY213" fmla="*/ 557821 h 1520187"/>
                    <a:gd name="connsiteX214" fmla="*/ 1139409 w 1984332"/>
                    <a:gd name="connsiteY214" fmla="*/ 664773 h 1520187"/>
                    <a:gd name="connsiteX215" fmla="*/ 1246566 w 1984332"/>
                    <a:gd name="connsiteY215" fmla="*/ 714780 h 1520187"/>
                    <a:gd name="connsiteX216" fmla="*/ 1351716 w 1984332"/>
                    <a:gd name="connsiteY216" fmla="*/ 670115 h 1520187"/>
                    <a:gd name="connsiteX217" fmla="*/ 1396380 w 1984332"/>
                    <a:gd name="connsiteY217" fmla="*/ 553058 h 1520187"/>
                    <a:gd name="connsiteX218" fmla="*/ 1310546 w 1984332"/>
                    <a:gd name="connsiteY218" fmla="*/ 423406 h 1520187"/>
                    <a:gd name="connsiteX219" fmla="*/ 1310546 w 1984332"/>
                    <a:gd name="connsiteY219" fmla="*/ 376361 h 1520187"/>
                    <a:gd name="connsiteX220" fmla="*/ 1612979 w 1984332"/>
                    <a:gd name="connsiteY220" fmla="*/ 376361 h 1520187"/>
                    <a:gd name="connsiteX221" fmla="*/ 1612979 w 1984332"/>
                    <a:gd name="connsiteY221" fmla="*/ 705677 h 1520187"/>
                    <a:gd name="connsiteX222" fmla="*/ 1633141 w 1984332"/>
                    <a:gd name="connsiteY222" fmla="*/ 725839 h 1520187"/>
                    <a:gd name="connsiteX223" fmla="*/ 1633141 w 1984332"/>
                    <a:gd name="connsiteY223" fmla="*/ 725839 h 1520187"/>
                    <a:gd name="connsiteX224" fmla="*/ 1713790 w 1984332"/>
                    <a:gd name="connsiteY224" fmla="*/ 725839 h 1520187"/>
                    <a:gd name="connsiteX225" fmla="*/ 1733953 w 1984332"/>
                    <a:gd name="connsiteY225" fmla="*/ 712397 h 1520187"/>
                    <a:gd name="connsiteX226" fmla="*/ 1834764 w 1984332"/>
                    <a:gd name="connsiteY226" fmla="*/ 645190 h 1520187"/>
                    <a:gd name="connsiteX227" fmla="*/ 1834764 w 1984332"/>
                    <a:gd name="connsiteY227" fmla="*/ 645190 h 1520187"/>
                    <a:gd name="connsiteX228" fmla="*/ 1915413 w 1984332"/>
                    <a:gd name="connsiteY228" fmla="*/ 678794 h 1520187"/>
                    <a:gd name="connsiteX229" fmla="*/ 1949017 w 1984332"/>
                    <a:gd name="connsiteY229" fmla="*/ 759443 h 1520187"/>
                    <a:gd name="connsiteX230" fmla="*/ 1915413 w 1984332"/>
                    <a:gd name="connsiteY230" fmla="*/ 840091 h 1520187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83663 w 1984332"/>
                    <a:gd name="connsiteY13" fmla="*/ 423406 h 1520187"/>
                    <a:gd name="connsiteX14" fmla="*/ 1297104 w 1984332"/>
                    <a:gd name="connsiteY14" fmla="*/ 450289 h 1520187"/>
                    <a:gd name="connsiteX15" fmla="*/ 1364312 w 1984332"/>
                    <a:gd name="connsiteY15" fmla="*/ 551100 h 1520187"/>
                    <a:gd name="connsiteX16" fmla="*/ 1330708 w 1984332"/>
                    <a:gd name="connsiteY16" fmla="*/ 631749 h 1520187"/>
                    <a:gd name="connsiteX17" fmla="*/ 1250059 w 1984332"/>
                    <a:gd name="connsiteY17" fmla="*/ 665352 h 1520187"/>
                    <a:gd name="connsiteX18" fmla="*/ 1135806 w 1984332"/>
                    <a:gd name="connsiteY18" fmla="*/ 551100 h 1520187"/>
                    <a:gd name="connsiteX19" fmla="*/ 1209734 w 1984332"/>
                    <a:gd name="connsiteY19" fmla="*/ 443568 h 1520187"/>
                    <a:gd name="connsiteX20" fmla="*/ 1223176 w 1984332"/>
                    <a:gd name="connsiteY20" fmla="*/ 423406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223176 w 1984332"/>
                    <a:gd name="connsiteY23" fmla="*/ 349478 h 1520187"/>
                    <a:gd name="connsiteX24" fmla="*/ 1182852 w 1984332"/>
                    <a:gd name="connsiteY24" fmla="*/ 336037 h 1520187"/>
                    <a:gd name="connsiteX25" fmla="*/ 11828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826652 w 1984332"/>
                    <a:gd name="connsiteY28" fmla="*/ 336037 h 1520187"/>
                    <a:gd name="connsiteX29" fmla="*/ 497335 w 1984332"/>
                    <a:gd name="connsiteY29" fmla="*/ 336037 h 1520187"/>
                    <a:gd name="connsiteX30" fmla="*/ 497335 w 1984332"/>
                    <a:gd name="connsiteY30" fmla="*/ 295712 h 1520187"/>
                    <a:gd name="connsiteX31" fmla="*/ 584705 w 1984332"/>
                    <a:gd name="connsiteY31" fmla="*/ 154577 h 1520187"/>
                    <a:gd name="connsiteX32" fmla="*/ 537660 w 1984332"/>
                    <a:gd name="connsiteY32" fmla="*/ 47045 h 1520187"/>
                    <a:gd name="connsiteX33" fmla="*/ 423407 w 1984332"/>
                    <a:gd name="connsiteY33" fmla="*/ 0 h 1520187"/>
                    <a:gd name="connsiteX34" fmla="*/ 423407 w 1984332"/>
                    <a:gd name="connsiteY34" fmla="*/ 0 h 1520187"/>
                    <a:gd name="connsiteX35" fmla="*/ 268830 w 1984332"/>
                    <a:gd name="connsiteY35" fmla="*/ 154577 h 1520187"/>
                    <a:gd name="connsiteX36" fmla="*/ 349479 w 1984332"/>
                    <a:gd name="connsiteY36" fmla="*/ 288991 h 1520187"/>
                    <a:gd name="connsiteX37" fmla="*/ 349479 w 1984332"/>
                    <a:gd name="connsiteY37" fmla="*/ 329316 h 1520187"/>
                    <a:gd name="connsiteX38" fmla="*/ 20162 w 1984332"/>
                    <a:gd name="connsiteY38" fmla="*/ 336037 h 1520187"/>
                    <a:gd name="connsiteX39" fmla="*/ 0 w 1984332"/>
                    <a:gd name="connsiteY39" fmla="*/ 356199 h 1520187"/>
                    <a:gd name="connsiteX40" fmla="*/ 0 w 1984332"/>
                    <a:gd name="connsiteY40" fmla="*/ 698956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20162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94090 w 1984332"/>
                    <a:gd name="connsiteY46" fmla="*/ 719118 h 1520187"/>
                    <a:gd name="connsiteX47" fmla="*/ 120973 w 1984332"/>
                    <a:gd name="connsiteY47" fmla="*/ 705677 h 1520187"/>
                    <a:gd name="connsiteX48" fmla="*/ 221785 w 1984332"/>
                    <a:gd name="connsiteY48" fmla="*/ 638469 h 1520187"/>
                    <a:gd name="connsiteX49" fmla="*/ 221785 w 1984332"/>
                    <a:gd name="connsiteY49" fmla="*/ 638469 h 1520187"/>
                    <a:gd name="connsiteX50" fmla="*/ 336037 w 1984332"/>
                    <a:gd name="connsiteY50" fmla="*/ 752722 h 1520187"/>
                    <a:gd name="connsiteX51" fmla="*/ 221785 w 1984332"/>
                    <a:gd name="connsiteY51" fmla="*/ 873695 h 1520187"/>
                    <a:gd name="connsiteX52" fmla="*/ 221785 w 1984332"/>
                    <a:gd name="connsiteY52" fmla="*/ 873695 h 1520187"/>
                    <a:gd name="connsiteX53" fmla="*/ 114253 w 1984332"/>
                    <a:gd name="connsiteY53" fmla="*/ 799767 h 1520187"/>
                    <a:gd name="connsiteX54" fmla="*/ 94090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20162 w 1984332"/>
                    <a:gd name="connsiteY59" fmla="*/ 786325 h 1520187"/>
                    <a:gd name="connsiteX60" fmla="*/ 0 w 1984332"/>
                    <a:gd name="connsiteY60" fmla="*/ 806488 h 1520187"/>
                    <a:gd name="connsiteX61" fmla="*/ 0 w 1984332"/>
                    <a:gd name="connsiteY61" fmla="*/ 1162686 h 1520187"/>
                    <a:gd name="connsiteX62" fmla="*/ 20162 w 1984332"/>
                    <a:gd name="connsiteY62" fmla="*/ 1182849 h 1520187"/>
                    <a:gd name="connsiteX63" fmla="*/ 20162 w 1984332"/>
                    <a:gd name="connsiteY63" fmla="*/ 1182849 h 1520187"/>
                    <a:gd name="connsiteX64" fmla="*/ 356200 w 1984332"/>
                    <a:gd name="connsiteY64" fmla="*/ 1182849 h 1520187"/>
                    <a:gd name="connsiteX65" fmla="*/ 356200 w 1984332"/>
                    <a:gd name="connsiteY65" fmla="*/ 1223173 h 1520187"/>
                    <a:gd name="connsiteX66" fmla="*/ 268830 w 1984332"/>
                    <a:gd name="connsiteY66" fmla="*/ 1364308 h 1520187"/>
                    <a:gd name="connsiteX67" fmla="*/ 315875 w 1984332"/>
                    <a:gd name="connsiteY67" fmla="*/ 1471840 h 1520187"/>
                    <a:gd name="connsiteX68" fmla="*/ 423407 w 1984332"/>
                    <a:gd name="connsiteY68" fmla="*/ 1518885 h 1520187"/>
                    <a:gd name="connsiteX69" fmla="*/ 423407 w 1984332"/>
                    <a:gd name="connsiteY69" fmla="*/ 1518885 h 1520187"/>
                    <a:gd name="connsiteX70" fmla="*/ 537660 w 1984332"/>
                    <a:gd name="connsiteY70" fmla="*/ 1478561 h 1520187"/>
                    <a:gd name="connsiteX71" fmla="*/ 584705 w 1984332"/>
                    <a:gd name="connsiteY71" fmla="*/ 1371029 h 1520187"/>
                    <a:gd name="connsiteX72" fmla="*/ 510777 w 1984332"/>
                    <a:gd name="connsiteY72" fmla="*/ 1236614 h 1520187"/>
                    <a:gd name="connsiteX73" fmla="*/ 510777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833373 w 1984332"/>
                    <a:gd name="connsiteY76" fmla="*/ 1189569 h 1520187"/>
                    <a:gd name="connsiteX77" fmla="*/ 1189572 w 1984332"/>
                    <a:gd name="connsiteY77" fmla="*/ 1189569 h 1520187"/>
                    <a:gd name="connsiteX78" fmla="*/ 1203014 w 1984332"/>
                    <a:gd name="connsiteY78" fmla="*/ 1182849 h 1520187"/>
                    <a:gd name="connsiteX79" fmla="*/ 1209734 w 1984332"/>
                    <a:gd name="connsiteY79" fmla="*/ 1169407 h 1520187"/>
                    <a:gd name="connsiteX80" fmla="*/ 1209734 w 1984332"/>
                    <a:gd name="connsiteY80" fmla="*/ 1095479 h 1520187"/>
                    <a:gd name="connsiteX81" fmla="*/ 1196293 w 1984332"/>
                    <a:gd name="connsiteY81" fmla="*/ 1075317 h 1520187"/>
                    <a:gd name="connsiteX82" fmla="*/ 1122365 w 1984332"/>
                    <a:gd name="connsiteY82" fmla="*/ 967785 h 1520187"/>
                    <a:gd name="connsiteX83" fmla="*/ 1155969 w 1984332"/>
                    <a:gd name="connsiteY83" fmla="*/ 887136 h 1520187"/>
                    <a:gd name="connsiteX84" fmla="*/ 1236617 w 1984332"/>
                    <a:gd name="connsiteY84" fmla="*/ 853533 h 1520187"/>
                    <a:gd name="connsiteX85" fmla="*/ 1236617 w 1984332"/>
                    <a:gd name="connsiteY85" fmla="*/ 853533 h 1520187"/>
                    <a:gd name="connsiteX86" fmla="*/ 1317266 w 1984332"/>
                    <a:gd name="connsiteY86" fmla="*/ 887136 h 1520187"/>
                    <a:gd name="connsiteX87" fmla="*/ 1350870 w 1984332"/>
                    <a:gd name="connsiteY87" fmla="*/ 967785 h 1520187"/>
                    <a:gd name="connsiteX88" fmla="*/ 1283663 w 1984332"/>
                    <a:gd name="connsiteY88" fmla="*/ 1068596 h 1520187"/>
                    <a:gd name="connsiteX89" fmla="*/ 1270221 w 1984332"/>
                    <a:gd name="connsiteY89" fmla="*/ 1088758 h 1520187"/>
                    <a:gd name="connsiteX90" fmla="*/ 1270221 w 1984332"/>
                    <a:gd name="connsiteY90" fmla="*/ 1162686 h 1520187"/>
                    <a:gd name="connsiteX91" fmla="*/ 1276942 w 1984332"/>
                    <a:gd name="connsiteY91" fmla="*/ 1176128 h 1520187"/>
                    <a:gd name="connsiteX92" fmla="*/ 1290383 w 1984332"/>
                    <a:gd name="connsiteY92" fmla="*/ 1182849 h 1520187"/>
                    <a:gd name="connsiteX93" fmla="*/ 1290383 w 1984332"/>
                    <a:gd name="connsiteY93" fmla="*/ 1182849 h 1520187"/>
                    <a:gd name="connsiteX94" fmla="*/ 1633141 w 1984332"/>
                    <a:gd name="connsiteY94" fmla="*/ 1182849 h 1520187"/>
                    <a:gd name="connsiteX95" fmla="*/ 1653304 w 1984332"/>
                    <a:gd name="connsiteY95" fmla="*/ 1162686 h 1520187"/>
                    <a:gd name="connsiteX96" fmla="*/ 1653304 w 1984332"/>
                    <a:gd name="connsiteY96" fmla="*/ 833371 h 1520187"/>
                    <a:gd name="connsiteX97" fmla="*/ 1693628 w 1984332"/>
                    <a:gd name="connsiteY97" fmla="*/ 833371 h 1520187"/>
                    <a:gd name="connsiteX98" fmla="*/ 1828043 w 1984332"/>
                    <a:gd name="connsiteY98" fmla="*/ 914019 h 1520187"/>
                    <a:gd name="connsiteX99" fmla="*/ 1828043 w 1984332"/>
                    <a:gd name="connsiteY99" fmla="*/ 914019 h 1520187"/>
                    <a:gd name="connsiteX100" fmla="*/ 1935575 w 1984332"/>
                    <a:gd name="connsiteY100" fmla="*/ 866974 h 1520187"/>
                    <a:gd name="connsiteX101" fmla="*/ 1982620 w 1984332"/>
                    <a:gd name="connsiteY101" fmla="*/ 759443 h 1520187"/>
                    <a:gd name="connsiteX102" fmla="*/ 1949017 w 1984332"/>
                    <a:gd name="connsiteY102" fmla="*/ 645190 h 1520187"/>
                    <a:gd name="connsiteX103" fmla="*/ 483894 w 1984332"/>
                    <a:gd name="connsiteY103" fmla="*/ 1142524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162686 h 1520187"/>
                    <a:gd name="connsiteX107" fmla="*/ 463732 w 1984332"/>
                    <a:gd name="connsiteY107" fmla="*/ 1236614 h 1520187"/>
                    <a:gd name="connsiteX108" fmla="*/ 463732 w 1984332"/>
                    <a:gd name="connsiteY108" fmla="*/ 1236614 h 1520187"/>
                    <a:gd name="connsiteX109" fmla="*/ 477173 w 1984332"/>
                    <a:gd name="connsiteY109" fmla="*/ 1263497 h 1520187"/>
                    <a:gd name="connsiteX110" fmla="*/ 544381 w 1984332"/>
                    <a:gd name="connsiteY110" fmla="*/ 1364308 h 1520187"/>
                    <a:gd name="connsiteX111" fmla="*/ 510777 w 1984332"/>
                    <a:gd name="connsiteY111" fmla="*/ 1444957 h 1520187"/>
                    <a:gd name="connsiteX112" fmla="*/ 423407 w 1984332"/>
                    <a:gd name="connsiteY112" fmla="*/ 1478561 h 1520187"/>
                    <a:gd name="connsiteX113" fmla="*/ 423407 w 1984332"/>
                    <a:gd name="connsiteY113" fmla="*/ 1478561 h 1520187"/>
                    <a:gd name="connsiteX114" fmla="*/ 342758 w 1984332"/>
                    <a:gd name="connsiteY114" fmla="*/ 1444957 h 1520187"/>
                    <a:gd name="connsiteX115" fmla="*/ 309154 w 1984332"/>
                    <a:gd name="connsiteY115" fmla="*/ 1364308 h 1520187"/>
                    <a:gd name="connsiteX116" fmla="*/ 383083 w 1984332"/>
                    <a:gd name="connsiteY116" fmla="*/ 1256777 h 1520187"/>
                    <a:gd name="connsiteX117" fmla="*/ 396524 w 1984332"/>
                    <a:gd name="connsiteY117" fmla="*/ 1236614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96524 w 1984332"/>
                    <a:gd name="connsiteY120" fmla="*/ 1162686 h 1520187"/>
                    <a:gd name="connsiteX121" fmla="*/ 376362 w 1984332"/>
                    <a:gd name="connsiteY121" fmla="*/ 1142524 h 1520187"/>
                    <a:gd name="connsiteX122" fmla="*/ 376362 w 1984332"/>
                    <a:gd name="connsiteY122" fmla="*/ 1142524 h 1520187"/>
                    <a:gd name="connsiteX123" fmla="*/ 40324 w 1984332"/>
                    <a:gd name="connsiteY123" fmla="*/ 1142524 h 1520187"/>
                    <a:gd name="connsiteX124" fmla="*/ 40324 w 1984332"/>
                    <a:gd name="connsiteY124" fmla="*/ 833371 h 1520187"/>
                    <a:gd name="connsiteX125" fmla="*/ 80649 w 1984332"/>
                    <a:gd name="connsiteY125" fmla="*/ 833371 h 1520187"/>
                    <a:gd name="connsiteX126" fmla="*/ 221785 w 1984332"/>
                    <a:gd name="connsiteY126" fmla="*/ 920740 h 1520187"/>
                    <a:gd name="connsiteX127" fmla="*/ 221785 w 1984332"/>
                    <a:gd name="connsiteY127" fmla="*/ 920740 h 1520187"/>
                    <a:gd name="connsiteX128" fmla="*/ 376362 w 1984332"/>
                    <a:gd name="connsiteY128" fmla="*/ 766163 h 1520187"/>
                    <a:gd name="connsiteX129" fmla="*/ 221785 w 1984332"/>
                    <a:gd name="connsiteY129" fmla="*/ 604866 h 1520187"/>
                    <a:gd name="connsiteX130" fmla="*/ 221785 w 1984332"/>
                    <a:gd name="connsiteY130" fmla="*/ 604866 h 1520187"/>
                    <a:gd name="connsiteX131" fmla="*/ 87370 w 1984332"/>
                    <a:gd name="connsiteY131" fmla="*/ 678794 h 1520187"/>
                    <a:gd name="connsiteX132" fmla="*/ 40324 w 1984332"/>
                    <a:gd name="connsiteY132" fmla="*/ 678794 h 1520187"/>
                    <a:gd name="connsiteX133" fmla="*/ 40324 w 1984332"/>
                    <a:gd name="connsiteY133" fmla="*/ 376361 h 1520187"/>
                    <a:gd name="connsiteX134" fmla="*/ 369641 w 1984332"/>
                    <a:gd name="connsiteY134" fmla="*/ 376361 h 1520187"/>
                    <a:gd name="connsiteX135" fmla="*/ 383083 w 1984332"/>
                    <a:gd name="connsiteY135" fmla="*/ 369640 h 1520187"/>
                    <a:gd name="connsiteX136" fmla="*/ 389803 w 1984332"/>
                    <a:gd name="connsiteY136" fmla="*/ 356199 h 1520187"/>
                    <a:gd name="connsiteX137" fmla="*/ 389803 w 1984332"/>
                    <a:gd name="connsiteY137" fmla="*/ 275550 h 1520187"/>
                    <a:gd name="connsiteX138" fmla="*/ 376362 w 1984332"/>
                    <a:gd name="connsiteY138" fmla="*/ 255388 h 1520187"/>
                    <a:gd name="connsiteX139" fmla="*/ 309154 w 1984332"/>
                    <a:gd name="connsiteY139" fmla="*/ 154577 h 1520187"/>
                    <a:gd name="connsiteX140" fmla="*/ 423407 w 1984332"/>
                    <a:gd name="connsiteY140" fmla="*/ 40324 h 1520187"/>
                    <a:gd name="connsiteX141" fmla="*/ 504056 w 1984332"/>
                    <a:gd name="connsiteY141" fmla="*/ 73928 h 1520187"/>
                    <a:gd name="connsiteX142" fmla="*/ 537660 w 1984332"/>
                    <a:gd name="connsiteY142" fmla="*/ 154577 h 1520187"/>
                    <a:gd name="connsiteX143" fmla="*/ 470452 w 1984332"/>
                    <a:gd name="connsiteY143" fmla="*/ 262109 h 1520187"/>
                    <a:gd name="connsiteX144" fmla="*/ 457011 w 1984332"/>
                    <a:gd name="connsiteY144" fmla="*/ 282271 h 1520187"/>
                    <a:gd name="connsiteX145" fmla="*/ 457011 w 1984332"/>
                    <a:gd name="connsiteY145" fmla="*/ 362919 h 1520187"/>
                    <a:gd name="connsiteX146" fmla="*/ 477173 w 1984332"/>
                    <a:gd name="connsiteY146" fmla="*/ 383082 h 1520187"/>
                    <a:gd name="connsiteX147" fmla="*/ 477173 w 1984332"/>
                    <a:gd name="connsiteY147" fmla="*/ 383082 h 1520187"/>
                    <a:gd name="connsiteX148" fmla="*/ 806490 w 1984332"/>
                    <a:gd name="connsiteY148" fmla="*/ 383082 h 1520187"/>
                    <a:gd name="connsiteX149" fmla="*/ 806490 w 1984332"/>
                    <a:gd name="connsiteY149" fmla="*/ 631749 h 1520187"/>
                    <a:gd name="connsiteX150" fmla="*/ 806490 w 1984332"/>
                    <a:gd name="connsiteY150" fmla="*/ 685515 h 1520187"/>
                    <a:gd name="connsiteX151" fmla="*/ 766165 w 1984332"/>
                    <a:gd name="connsiteY151" fmla="*/ 685515 h 1520187"/>
                    <a:gd name="connsiteX152" fmla="*/ 631750 w 1984332"/>
                    <a:gd name="connsiteY152" fmla="*/ 604866 h 1520187"/>
                    <a:gd name="connsiteX153" fmla="*/ 631750 w 1984332"/>
                    <a:gd name="connsiteY153" fmla="*/ 604866 h 1520187"/>
                    <a:gd name="connsiteX154" fmla="*/ 517497 w 1984332"/>
                    <a:gd name="connsiteY154" fmla="*/ 651911 h 1520187"/>
                    <a:gd name="connsiteX155" fmla="*/ 470452 w 1984332"/>
                    <a:gd name="connsiteY155" fmla="*/ 759443 h 1520187"/>
                    <a:gd name="connsiteX156" fmla="*/ 517497 w 1984332"/>
                    <a:gd name="connsiteY156" fmla="*/ 866974 h 1520187"/>
                    <a:gd name="connsiteX157" fmla="*/ 625029 w 1984332"/>
                    <a:gd name="connsiteY157" fmla="*/ 914019 h 1520187"/>
                    <a:gd name="connsiteX158" fmla="*/ 625029 w 1984332"/>
                    <a:gd name="connsiteY158" fmla="*/ 914019 h 1520187"/>
                    <a:gd name="connsiteX159" fmla="*/ 766165 w 1984332"/>
                    <a:gd name="connsiteY159" fmla="*/ 826650 h 1520187"/>
                    <a:gd name="connsiteX160" fmla="*/ 799769 w 1984332"/>
                    <a:gd name="connsiteY160" fmla="*/ 826650 h 1520187"/>
                    <a:gd name="connsiteX161" fmla="*/ 799769 w 1984332"/>
                    <a:gd name="connsiteY161" fmla="*/ 1135803 h 1520187"/>
                    <a:gd name="connsiteX162" fmla="*/ 483894 w 1984332"/>
                    <a:gd name="connsiteY162" fmla="*/ 1142524 h 1520187"/>
                    <a:gd name="connsiteX163" fmla="*/ 1915413 w 1984332"/>
                    <a:gd name="connsiteY163" fmla="*/ 840091 h 1520187"/>
                    <a:gd name="connsiteX164" fmla="*/ 1834764 w 1984332"/>
                    <a:gd name="connsiteY164" fmla="*/ 873695 h 1520187"/>
                    <a:gd name="connsiteX165" fmla="*/ 1834764 w 1984332"/>
                    <a:gd name="connsiteY165" fmla="*/ 873695 h 1520187"/>
                    <a:gd name="connsiteX166" fmla="*/ 1733953 w 1984332"/>
                    <a:gd name="connsiteY166" fmla="*/ 806488 h 1520187"/>
                    <a:gd name="connsiteX167" fmla="*/ 1713790 w 1984332"/>
                    <a:gd name="connsiteY167" fmla="*/ 793046 h 1520187"/>
                    <a:gd name="connsiteX168" fmla="*/ 1713790 w 1984332"/>
                    <a:gd name="connsiteY168" fmla="*/ 793046 h 1520187"/>
                    <a:gd name="connsiteX169" fmla="*/ 1633141 w 1984332"/>
                    <a:gd name="connsiteY169" fmla="*/ 793046 h 1520187"/>
                    <a:gd name="connsiteX170" fmla="*/ 1612979 w 1984332"/>
                    <a:gd name="connsiteY170" fmla="*/ 813208 h 1520187"/>
                    <a:gd name="connsiteX171" fmla="*/ 1612979 w 1984332"/>
                    <a:gd name="connsiteY171" fmla="*/ 1142524 h 1520187"/>
                    <a:gd name="connsiteX172" fmla="*/ 1310546 w 1984332"/>
                    <a:gd name="connsiteY172" fmla="*/ 1142524 h 1520187"/>
                    <a:gd name="connsiteX173" fmla="*/ 1310546 w 1984332"/>
                    <a:gd name="connsiteY173" fmla="*/ 1102200 h 1520187"/>
                    <a:gd name="connsiteX174" fmla="*/ 1384474 w 1984332"/>
                    <a:gd name="connsiteY174" fmla="*/ 967785 h 1520187"/>
                    <a:gd name="connsiteX175" fmla="*/ 1337429 w 1984332"/>
                    <a:gd name="connsiteY175" fmla="*/ 860254 h 1520187"/>
                    <a:gd name="connsiteX176" fmla="*/ 1229897 w 1984332"/>
                    <a:gd name="connsiteY176" fmla="*/ 813208 h 1520187"/>
                    <a:gd name="connsiteX177" fmla="*/ 1229897 w 1984332"/>
                    <a:gd name="connsiteY177" fmla="*/ 813208 h 1520187"/>
                    <a:gd name="connsiteX178" fmla="*/ 1122365 w 1984332"/>
                    <a:gd name="connsiteY178" fmla="*/ 860254 h 1520187"/>
                    <a:gd name="connsiteX179" fmla="*/ 1075320 w 1984332"/>
                    <a:gd name="connsiteY179" fmla="*/ 967785 h 1520187"/>
                    <a:gd name="connsiteX180" fmla="*/ 1162689 w 1984332"/>
                    <a:gd name="connsiteY180" fmla="*/ 1108921 h 1520187"/>
                    <a:gd name="connsiteX181" fmla="*/ 1162689 w 1984332"/>
                    <a:gd name="connsiteY181" fmla="*/ 1142524 h 1520187"/>
                    <a:gd name="connsiteX182" fmla="*/ 853535 w 1984332"/>
                    <a:gd name="connsiteY182" fmla="*/ 1142524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19929 h 1520187"/>
                    <a:gd name="connsiteX185" fmla="*/ 853535 w 1984332"/>
                    <a:gd name="connsiteY185" fmla="*/ 806488 h 1520187"/>
                    <a:gd name="connsiteX186" fmla="*/ 846814 w 1984332"/>
                    <a:gd name="connsiteY186" fmla="*/ 793046 h 1520187"/>
                    <a:gd name="connsiteX187" fmla="*/ 833373 w 1984332"/>
                    <a:gd name="connsiteY187" fmla="*/ 786325 h 1520187"/>
                    <a:gd name="connsiteX188" fmla="*/ 833373 w 1984332"/>
                    <a:gd name="connsiteY188" fmla="*/ 786325 h 1520187"/>
                    <a:gd name="connsiteX189" fmla="*/ 759444 w 1984332"/>
                    <a:gd name="connsiteY189" fmla="*/ 786325 h 1520187"/>
                    <a:gd name="connsiteX190" fmla="*/ 739282 w 1984332"/>
                    <a:gd name="connsiteY190" fmla="*/ 799767 h 1520187"/>
                    <a:gd name="connsiteX191" fmla="*/ 631750 w 1984332"/>
                    <a:gd name="connsiteY191" fmla="*/ 873695 h 1520187"/>
                    <a:gd name="connsiteX192" fmla="*/ 631750 w 1984332"/>
                    <a:gd name="connsiteY192" fmla="*/ 873695 h 1520187"/>
                    <a:gd name="connsiteX193" fmla="*/ 551101 w 1984332"/>
                    <a:gd name="connsiteY193" fmla="*/ 840091 h 1520187"/>
                    <a:gd name="connsiteX194" fmla="*/ 517497 w 1984332"/>
                    <a:gd name="connsiteY194" fmla="*/ 759443 h 1520187"/>
                    <a:gd name="connsiteX195" fmla="*/ 551101 w 1984332"/>
                    <a:gd name="connsiteY195" fmla="*/ 678794 h 1520187"/>
                    <a:gd name="connsiteX196" fmla="*/ 631750 w 1984332"/>
                    <a:gd name="connsiteY196" fmla="*/ 645190 h 1520187"/>
                    <a:gd name="connsiteX197" fmla="*/ 631750 w 1984332"/>
                    <a:gd name="connsiteY197" fmla="*/ 645190 h 1520187"/>
                    <a:gd name="connsiteX198" fmla="*/ 732561 w 1984332"/>
                    <a:gd name="connsiteY198" fmla="*/ 712397 h 1520187"/>
                    <a:gd name="connsiteX199" fmla="*/ 752724 w 1984332"/>
                    <a:gd name="connsiteY199" fmla="*/ 725839 h 1520187"/>
                    <a:gd name="connsiteX200" fmla="*/ 752724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26652 w 1984332"/>
                    <a:gd name="connsiteY202" fmla="*/ 725839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0093 w 1984332"/>
                    <a:gd name="connsiteY205" fmla="*/ 719118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705677 h 1520187"/>
                    <a:gd name="connsiteX210" fmla="*/ 846814 w 1984332"/>
                    <a:gd name="connsiteY210" fmla="*/ 383082 h 1520187"/>
                    <a:gd name="connsiteX211" fmla="*/ 1155969 w 1984332"/>
                    <a:gd name="connsiteY211" fmla="*/ 383082 h 1520187"/>
                    <a:gd name="connsiteX212" fmla="*/ 1155969 w 1984332"/>
                    <a:gd name="connsiteY212" fmla="*/ 423406 h 1520187"/>
                    <a:gd name="connsiteX213" fmla="*/ 1089608 w 1984332"/>
                    <a:gd name="connsiteY213" fmla="*/ 560202 h 1520187"/>
                    <a:gd name="connsiteX214" fmla="*/ 1139409 w 1984332"/>
                    <a:gd name="connsiteY214" fmla="*/ 664773 h 1520187"/>
                    <a:gd name="connsiteX215" fmla="*/ 1246566 w 1984332"/>
                    <a:gd name="connsiteY215" fmla="*/ 714780 h 1520187"/>
                    <a:gd name="connsiteX216" fmla="*/ 1351716 w 1984332"/>
                    <a:gd name="connsiteY216" fmla="*/ 670115 h 1520187"/>
                    <a:gd name="connsiteX217" fmla="*/ 1396380 w 1984332"/>
                    <a:gd name="connsiteY217" fmla="*/ 553058 h 1520187"/>
                    <a:gd name="connsiteX218" fmla="*/ 1310546 w 1984332"/>
                    <a:gd name="connsiteY218" fmla="*/ 423406 h 1520187"/>
                    <a:gd name="connsiteX219" fmla="*/ 1310546 w 1984332"/>
                    <a:gd name="connsiteY219" fmla="*/ 376361 h 1520187"/>
                    <a:gd name="connsiteX220" fmla="*/ 1612979 w 1984332"/>
                    <a:gd name="connsiteY220" fmla="*/ 376361 h 1520187"/>
                    <a:gd name="connsiteX221" fmla="*/ 1612979 w 1984332"/>
                    <a:gd name="connsiteY221" fmla="*/ 705677 h 1520187"/>
                    <a:gd name="connsiteX222" fmla="*/ 1633141 w 1984332"/>
                    <a:gd name="connsiteY222" fmla="*/ 725839 h 1520187"/>
                    <a:gd name="connsiteX223" fmla="*/ 1633141 w 1984332"/>
                    <a:gd name="connsiteY223" fmla="*/ 725839 h 1520187"/>
                    <a:gd name="connsiteX224" fmla="*/ 1713790 w 1984332"/>
                    <a:gd name="connsiteY224" fmla="*/ 725839 h 1520187"/>
                    <a:gd name="connsiteX225" fmla="*/ 1733953 w 1984332"/>
                    <a:gd name="connsiteY225" fmla="*/ 712397 h 1520187"/>
                    <a:gd name="connsiteX226" fmla="*/ 1834764 w 1984332"/>
                    <a:gd name="connsiteY226" fmla="*/ 645190 h 1520187"/>
                    <a:gd name="connsiteX227" fmla="*/ 1834764 w 1984332"/>
                    <a:gd name="connsiteY227" fmla="*/ 645190 h 1520187"/>
                    <a:gd name="connsiteX228" fmla="*/ 1915413 w 1984332"/>
                    <a:gd name="connsiteY228" fmla="*/ 678794 h 1520187"/>
                    <a:gd name="connsiteX229" fmla="*/ 1949017 w 1984332"/>
                    <a:gd name="connsiteY229" fmla="*/ 759443 h 1520187"/>
                    <a:gd name="connsiteX230" fmla="*/ 1915413 w 1984332"/>
                    <a:gd name="connsiteY230" fmla="*/ 840091 h 1520187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83663 w 1984332"/>
                    <a:gd name="connsiteY13" fmla="*/ 423406 h 1520187"/>
                    <a:gd name="connsiteX14" fmla="*/ 1297104 w 1984332"/>
                    <a:gd name="connsiteY14" fmla="*/ 450289 h 1520187"/>
                    <a:gd name="connsiteX15" fmla="*/ 1364312 w 1984332"/>
                    <a:gd name="connsiteY15" fmla="*/ 551100 h 1520187"/>
                    <a:gd name="connsiteX16" fmla="*/ 1330708 w 1984332"/>
                    <a:gd name="connsiteY16" fmla="*/ 631749 h 1520187"/>
                    <a:gd name="connsiteX17" fmla="*/ 1250059 w 1984332"/>
                    <a:gd name="connsiteY17" fmla="*/ 665352 h 1520187"/>
                    <a:gd name="connsiteX18" fmla="*/ 1135806 w 1984332"/>
                    <a:gd name="connsiteY18" fmla="*/ 551100 h 1520187"/>
                    <a:gd name="connsiteX19" fmla="*/ 1209734 w 1984332"/>
                    <a:gd name="connsiteY19" fmla="*/ 443568 h 1520187"/>
                    <a:gd name="connsiteX20" fmla="*/ 1223176 w 1984332"/>
                    <a:gd name="connsiteY20" fmla="*/ 423406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223176 w 1984332"/>
                    <a:gd name="connsiteY23" fmla="*/ 349478 h 1520187"/>
                    <a:gd name="connsiteX24" fmla="*/ 1182852 w 1984332"/>
                    <a:gd name="connsiteY24" fmla="*/ 336037 h 1520187"/>
                    <a:gd name="connsiteX25" fmla="*/ 11828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826652 w 1984332"/>
                    <a:gd name="connsiteY28" fmla="*/ 336037 h 1520187"/>
                    <a:gd name="connsiteX29" fmla="*/ 497335 w 1984332"/>
                    <a:gd name="connsiteY29" fmla="*/ 336037 h 1520187"/>
                    <a:gd name="connsiteX30" fmla="*/ 497335 w 1984332"/>
                    <a:gd name="connsiteY30" fmla="*/ 295712 h 1520187"/>
                    <a:gd name="connsiteX31" fmla="*/ 584705 w 1984332"/>
                    <a:gd name="connsiteY31" fmla="*/ 154577 h 1520187"/>
                    <a:gd name="connsiteX32" fmla="*/ 537660 w 1984332"/>
                    <a:gd name="connsiteY32" fmla="*/ 47045 h 1520187"/>
                    <a:gd name="connsiteX33" fmla="*/ 423407 w 1984332"/>
                    <a:gd name="connsiteY33" fmla="*/ 0 h 1520187"/>
                    <a:gd name="connsiteX34" fmla="*/ 423407 w 1984332"/>
                    <a:gd name="connsiteY34" fmla="*/ 0 h 1520187"/>
                    <a:gd name="connsiteX35" fmla="*/ 268830 w 1984332"/>
                    <a:gd name="connsiteY35" fmla="*/ 154577 h 1520187"/>
                    <a:gd name="connsiteX36" fmla="*/ 349479 w 1984332"/>
                    <a:gd name="connsiteY36" fmla="*/ 288991 h 1520187"/>
                    <a:gd name="connsiteX37" fmla="*/ 349479 w 1984332"/>
                    <a:gd name="connsiteY37" fmla="*/ 329316 h 1520187"/>
                    <a:gd name="connsiteX38" fmla="*/ 20162 w 1984332"/>
                    <a:gd name="connsiteY38" fmla="*/ 336037 h 1520187"/>
                    <a:gd name="connsiteX39" fmla="*/ 0 w 1984332"/>
                    <a:gd name="connsiteY39" fmla="*/ 356199 h 1520187"/>
                    <a:gd name="connsiteX40" fmla="*/ 0 w 1984332"/>
                    <a:gd name="connsiteY40" fmla="*/ 698956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20162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94090 w 1984332"/>
                    <a:gd name="connsiteY46" fmla="*/ 719118 h 1520187"/>
                    <a:gd name="connsiteX47" fmla="*/ 120973 w 1984332"/>
                    <a:gd name="connsiteY47" fmla="*/ 705677 h 1520187"/>
                    <a:gd name="connsiteX48" fmla="*/ 221785 w 1984332"/>
                    <a:gd name="connsiteY48" fmla="*/ 638469 h 1520187"/>
                    <a:gd name="connsiteX49" fmla="*/ 221785 w 1984332"/>
                    <a:gd name="connsiteY49" fmla="*/ 638469 h 1520187"/>
                    <a:gd name="connsiteX50" fmla="*/ 336037 w 1984332"/>
                    <a:gd name="connsiteY50" fmla="*/ 752722 h 1520187"/>
                    <a:gd name="connsiteX51" fmla="*/ 221785 w 1984332"/>
                    <a:gd name="connsiteY51" fmla="*/ 873695 h 1520187"/>
                    <a:gd name="connsiteX52" fmla="*/ 221785 w 1984332"/>
                    <a:gd name="connsiteY52" fmla="*/ 873695 h 1520187"/>
                    <a:gd name="connsiteX53" fmla="*/ 114253 w 1984332"/>
                    <a:gd name="connsiteY53" fmla="*/ 799767 h 1520187"/>
                    <a:gd name="connsiteX54" fmla="*/ 94090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20162 w 1984332"/>
                    <a:gd name="connsiteY59" fmla="*/ 786325 h 1520187"/>
                    <a:gd name="connsiteX60" fmla="*/ 0 w 1984332"/>
                    <a:gd name="connsiteY60" fmla="*/ 806488 h 1520187"/>
                    <a:gd name="connsiteX61" fmla="*/ 0 w 1984332"/>
                    <a:gd name="connsiteY61" fmla="*/ 1162686 h 1520187"/>
                    <a:gd name="connsiteX62" fmla="*/ 20162 w 1984332"/>
                    <a:gd name="connsiteY62" fmla="*/ 1182849 h 1520187"/>
                    <a:gd name="connsiteX63" fmla="*/ 20162 w 1984332"/>
                    <a:gd name="connsiteY63" fmla="*/ 1182849 h 1520187"/>
                    <a:gd name="connsiteX64" fmla="*/ 356200 w 1984332"/>
                    <a:gd name="connsiteY64" fmla="*/ 1182849 h 1520187"/>
                    <a:gd name="connsiteX65" fmla="*/ 356200 w 1984332"/>
                    <a:gd name="connsiteY65" fmla="*/ 1223173 h 1520187"/>
                    <a:gd name="connsiteX66" fmla="*/ 268830 w 1984332"/>
                    <a:gd name="connsiteY66" fmla="*/ 1364308 h 1520187"/>
                    <a:gd name="connsiteX67" fmla="*/ 315875 w 1984332"/>
                    <a:gd name="connsiteY67" fmla="*/ 1471840 h 1520187"/>
                    <a:gd name="connsiteX68" fmla="*/ 423407 w 1984332"/>
                    <a:gd name="connsiteY68" fmla="*/ 1518885 h 1520187"/>
                    <a:gd name="connsiteX69" fmla="*/ 423407 w 1984332"/>
                    <a:gd name="connsiteY69" fmla="*/ 1518885 h 1520187"/>
                    <a:gd name="connsiteX70" fmla="*/ 537660 w 1984332"/>
                    <a:gd name="connsiteY70" fmla="*/ 1478561 h 1520187"/>
                    <a:gd name="connsiteX71" fmla="*/ 584705 w 1984332"/>
                    <a:gd name="connsiteY71" fmla="*/ 1371029 h 1520187"/>
                    <a:gd name="connsiteX72" fmla="*/ 510777 w 1984332"/>
                    <a:gd name="connsiteY72" fmla="*/ 1236614 h 1520187"/>
                    <a:gd name="connsiteX73" fmla="*/ 510777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833373 w 1984332"/>
                    <a:gd name="connsiteY76" fmla="*/ 1189569 h 1520187"/>
                    <a:gd name="connsiteX77" fmla="*/ 1189572 w 1984332"/>
                    <a:gd name="connsiteY77" fmla="*/ 1189569 h 1520187"/>
                    <a:gd name="connsiteX78" fmla="*/ 1203014 w 1984332"/>
                    <a:gd name="connsiteY78" fmla="*/ 1182849 h 1520187"/>
                    <a:gd name="connsiteX79" fmla="*/ 1209734 w 1984332"/>
                    <a:gd name="connsiteY79" fmla="*/ 1169407 h 1520187"/>
                    <a:gd name="connsiteX80" fmla="*/ 1209734 w 1984332"/>
                    <a:gd name="connsiteY80" fmla="*/ 1095479 h 1520187"/>
                    <a:gd name="connsiteX81" fmla="*/ 1196293 w 1984332"/>
                    <a:gd name="connsiteY81" fmla="*/ 1075317 h 1520187"/>
                    <a:gd name="connsiteX82" fmla="*/ 1122365 w 1984332"/>
                    <a:gd name="connsiteY82" fmla="*/ 967785 h 1520187"/>
                    <a:gd name="connsiteX83" fmla="*/ 1155969 w 1984332"/>
                    <a:gd name="connsiteY83" fmla="*/ 887136 h 1520187"/>
                    <a:gd name="connsiteX84" fmla="*/ 1236617 w 1984332"/>
                    <a:gd name="connsiteY84" fmla="*/ 853533 h 1520187"/>
                    <a:gd name="connsiteX85" fmla="*/ 1236617 w 1984332"/>
                    <a:gd name="connsiteY85" fmla="*/ 853533 h 1520187"/>
                    <a:gd name="connsiteX86" fmla="*/ 1317266 w 1984332"/>
                    <a:gd name="connsiteY86" fmla="*/ 887136 h 1520187"/>
                    <a:gd name="connsiteX87" fmla="*/ 1350870 w 1984332"/>
                    <a:gd name="connsiteY87" fmla="*/ 967785 h 1520187"/>
                    <a:gd name="connsiteX88" fmla="*/ 1283663 w 1984332"/>
                    <a:gd name="connsiteY88" fmla="*/ 1068596 h 1520187"/>
                    <a:gd name="connsiteX89" fmla="*/ 1270221 w 1984332"/>
                    <a:gd name="connsiteY89" fmla="*/ 1088758 h 1520187"/>
                    <a:gd name="connsiteX90" fmla="*/ 1270221 w 1984332"/>
                    <a:gd name="connsiteY90" fmla="*/ 1162686 h 1520187"/>
                    <a:gd name="connsiteX91" fmla="*/ 1276942 w 1984332"/>
                    <a:gd name="connsiteY91" fmla="*/ 1176128 h 1520187"/>
                    <a:gd name="connsiteX92" fmla="*/ 1290383 w 1984332"/>
                    <a:gd name="connsiteY92" fmla="*/ 1182849 h 1520187"/>
                    <a:gd name="connsiteX93" fmla="*/ 1290383 w 1984332"/>
                    <a:gd name="connsiteY93" fmla="*/ 1182849 h 1520187"/>
                    <a:gd name="connsiteX94" fmla="*/ 1633141 w 1984332"/>
                    <a:gd name="connsiteY94" fmla="*/ 1182849 h 1520187"/>
                    <a:gd name="connsiteX95" fmla="*/ 1653304 w 1984332"/>
                    <a:gd name="connsiteY95" fmla="*/ 1162686 h 1520187"/>
                    <a:gd name="connsiteX96" fmla="*/ 1653304 w 1984332"/>
                    <a:gd name="connsiteY96" fmla="*/ 833371 h 1520187"/>
                    <a:gd name="connsiteX97" fmla="*/ 1693628 w 1984332"/>
                    <a:gd name="connsiteY97" fmla="*/ 833371 h 1520187"/>
                    <a:gd name="connsiteX98" fmla="*/ 1828043 w 1984332"/>
                    <a:gd name="connsiteY98" fmla="*/ 914019 h 1520187"/>
                    <a:gd name="connsiteX99" fmla="*/ 1828043 w 1984332"/>
                    <a:gd name="connsiteY99" fmla="*/ 914019 h 1520187"/>
                    <a:gd name="connsiteX100" fmla="*/ 1935575 w 1984332"/>
                    <a:gd name="connsiteY100" fmla="*/ 866974 h 1520187"/>
                    <a:gd name="connsiteX101" fmla="*/ 1982620 w 1984332"/>
                    <a:gd name="connsiteY101" fmla="*/ 759443 h 1520187"/>
                    <a:gd name="connsiteX102" fmla="*/ 1949017 w 1984332"/>
                    <a:gd name="connsiteY102" fmla="*/ 645190 h 1520187"/>
                    <a:gd name="connsiteX103" fmla="*/ 483894 w 1984332"/>
                    <a:gd name="connsiteY103" fmla="*/ 1142524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162686 h 1520187"/>
                    <a:gd name="connsiteX107" fmla="*/ 463732 w 1984332"/>
                    <a:gd name="connsiteY107" fmla="*/ 1236614 h 1520187"/>
                    <a:gd name="connsiteX108" fmla="*/ 463732 w 1984332"/>
                    <a:gd name="connsiteY108" fmla="*/ 1236614 h 1520187"/>
                    <a:gd name="connsiteX109" fmla="*/ 477173 w 1984332"/>
                    <a:gd name="connsiteY109" fmla="*/ 1263497 h 1520187"/>
                    <a:gd name="connsiteX110" fmla="*/ 544381 w 1984332"/>
                    <a:gd name="connsiteY110" fmla="*/ 1364308 h 1520187"/>
                    <a:gd name="connsiteX111" fmla="*/ 510777 w 1984332"/>
                    <a:gd name="connsiteY111" fmla="*/ 1444957 h 1520187"/>
                    <a:gd name="connsiteX112" fmla="*/ 423407 w 1984332"/>
                    <a:gd name="connsiteY112" fmla="*/ 1478561 h 1520187"/>
                    <a:gd name="connsiteX113" fmla="*/ 423407 w 1984332"/>
                    <a:gd name="connsiteY113" fmla="*/ 1478561 h 1520187"/>
                    <a:gd name="connsiteX114" fmla="*/ 342758 w 1984332"/>
                    <a:gd name="connsiteY114" fmla="*/ 1444957 h 1520187"/>
                    <a:gd name="connsiteX115" fmla="*/ 309154 w 1984332"/>
                    <a:gd name="connsiteY115" fmla="*/ 1364308 h 1520187"/>
                    <a:gd name="connsiteX116" fmla="*/ 383083 w 1984332"/>
                    <a:gd name="connsiteY116" fmla="*/ 1256777 h 1520187"/>
                    <a:gd name="connsiteX117" fmla="*/ 396524 w 1984332"/>
                    <a:gd name="connsiteY117" fmla="*/ 1236614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96524 w 1984332"/>
                    <a:gd name="connsiteY120" fmla="*/ 1162686 h 1520187"/>
                    <a:gd name="connsiteX121" fmla="*/ 376362 w 1984332"/>
                    <a:gd name="connsiteY121" fmla="*/ 1142524 h 1520187"/>
                    <a:gd name="connsiteX122" fmla="*/ 376362 w 1984332"/>
                    <a:gd name="connsiteY122" fmla="*/ 1142524 h 1520187"/>
                    <a:gd name="connsiteX123" fmla="*/ 40324 w 1984332"/>
                    <a:gd name="connsiteY123" fmla="*/ 1142524 h 1520187"/>
                    <a:gd name="connsiteX124" fmla="*/ 40324 w 1984332"/>
                    <a:gd name="connsiteY124" fmla="*/ 833371 h 1520187"/>
                    <a:gd name="connsiteX125" fmla="*/ 80649 w 1984332"/>
                    <a:gd name="connsiteY125" fmla="*/ 833371 h 1520187"/>
                    <a:gd name="connsiteX126" fmla="*/ 221785 w 1984332"/>
                    <a:gd name="connsiteY126" fmla="*/ 920740 h 1520187"/>
                    <a:gd name="connsiteX127" fmla="*/ 221785 w 1984332"/>
                    <a:gd name="connsiteY127" fmla="*/ 920740 h 1520187"/>
                    <a:gd name="connsiteX128" fmla="*/ 376362 w 1984332"/>
                    <a:gd name="connsiteY128" fmla="*/ 766163 h 1520187"/>
                    <a:gd name="connsiteX129" fmla="*/ 221785 w 1984332"/>
                    <a:gd name="connsiteY129" fmla="*/ 604866 h 1520187"/>
                    <a:gd name="connsiteX130" fmla="*/ 221785 w 1984332"/>
                    <a:gd name="connsiteY130" fmla="*/ 604866 h 1520187"/>
                    <a:gd name="connsiteX131" fmla="*/ 87370 w 1984332"/>
                    <a:gd name="connsiteY131" fmla="*/ 678794 h 1520187"/>
                    <a:gd name="connsiteX132" fmla="*/ 40324 w 1984332"/>
                    <a:gd name="connsiteY132" fmla="*/ 678794 h 1520187"/>
                    <a:gd name="connsiteX133" fmla="*/ 40324 w 1984332"/>
                    <a:gd name="connsiteY133" fmla="*/ 376361 h 1520187"/>
                    <a:gd name="connsiteX134" fmla="*/ 369641 w 1984332"/>
                    <a:gd name="connsiteY134" fmla="*/ 376361 h 1520187"/>
                    <a:gd name="connsiteX135" fmla="*/ 383083 w 1984332"/>
                    <a:gd name="connsiteY135" fmla="*/ 369640 h 1520187"/>
                    <a:gd name="connsiteX136" fmla="*/ 389803 w 1984332"/>
                    <a:gd name="connsiteY136" fmla="*/ 356199 h 1520187"/>
                    <a:gd name="connsiteX137" fmla="*/ 389803 w 1984332"/>
                    <a:gd name="connsiteY137" fmla="*/ 275550 h 1520187"/>
                    <a:gd name="connsiteX138" fmla="*/ 376362 w 1984332"/>
                    <a:gd name="connsiteY138" fmla="*/ 255388 h 1520187"/>
                    <a:gd name="connsiteX139" fmla="*/ 309154 w 1984332"/>
                    <a:gd name="connsiteY139" fmla="*/ 154577 h 1520187"/>
                    <a:gd name="connsiteX140" fmla="*/ 423407 w 1984332"/>
                    <a:gd name="connsiteY140" fmla="*/ 40324 h 1520187"/>
                    <a:gd name="connsiteX141" fmla="*/ 504056 w 1984332"/>
                    <a:gd name="connsiteY141" fmla="*/ 73928 h 1520187"/>
                    <a:gd name="connsiteX142" fmla="*/ 537660 w 1984332"/>
                    <a:gd name="connsiteY142" fmla="*/ 154577 h 1520187"/>
                    <a:gd name="connsiteX143" fmla="*/ 470452 w 1984332"/>
                    <a:gd name="connsiteY143" fmla="*/ 262109 h 1520187"/>
                    <a:gd name="connsiteX144" fmla="*/ 457011 w 1984332"/>
                    <a:gd name="connsiteY144" fmla="*/ 282271 h 1520187"/>
                    <a:gd name="connsiteX145" fmla="*/ 457011 w 1984332"/>
                    <a:gd name="connsiteY145" fmla="*/ 362919 h 1520187"/>
                    <a:gd name="connsiteX146" fmla="*/ 477173 w 1984332"/>
                    <a:gd name="connsiteY146" fmla="*/ 383082 h 1520187"/>
                    <a:gd name="connsiteX147" fmla="*/ 477173 w 1984332"/>
                    <a:gd name="connsiteY147" fmla="*/ 383082 h 1520187"/>
                    <a:gd name="connsiteX148" fmla="*/ 806490 w 1984332"/>
                    <a:gd name="connsiteY148" fmla="*/ 383082 h 1520187"/>
                    <a:gd name="connsiteX149" fmla="*/ 806490 w 1984332"/>
                    <a:gd name="connsiteY149" fmla="*/ 631749 h 1520187"/>
                    <a:gd name="connsiteX150" fmla="*/ 806490 w 1984332"/>
                    <a:gd name="connsiteY150" fmla="*/ 685515 h 1520187"/>
                    <a:gd name="connsiteX151" fmla="*/ 766165 w 1984332"/>
                    <a:gd name="connsiteY151" fmla="*/ 685515 h 1520187"/>
                    <a:gd name="connsiteX152" fmla="*/ 631750 w 1984332"/>
                    <a:gd name="connsiteY152" fmla="*/ 604866 h 1520187"/>
                    <a:gd name="connsiteX153" fmla="*/ 631750 w 1984332"/>
                    <a:gd name="connsiteY153" fmla="*/ 604866 h 1520187"/>
                    <a:gd name="connsiteX154" fmla="*/ 517497 w 1984332"/>
                    <a:gd name="connsiteY154" fmla="*/ 651911 h 1520187"/>
                    <a:gd name="connsiteX155" fmla="*/ 470452 w 1984332"/>
                    <a:gd name="connsiteY155" fmla="*/ 759443 h 1520187"/>
                    <a:gd name="connsiteX156" fmla="*/ 517497 w 1984332"/>
                    <a:gd name="connsiteY156" fmla="*/ 866974 h 1520187"/>
                    <a:gd name="connsiteX157" fmla="*/ 625029 w 1984332"/>
                    <a:gd name="connsiteY157" fmla="*/ 914019 h 1520187"/>
                    <a:gd name="connsiteX158" fmla="*/ 625029 w 1984332"/>
                    <a:gd name="connsiteY158" fmla="*/ 914019 h 1520187"/>
                    <a:gd name="connsiteX159" fmla="*/ 766165 w 1984332"/>
                    <a:gd name="connsiteY159" fmla="*/ 826650 h 1520187"/>
                    <a:gd name="connsiteX160" fmla="*/ 799769 w 1984332"/>
                    <a:gd name="connsiteY160" fmla="*/ 826650 h 1520187"/>
                    <a:gd name="connsiteX161" fmla="*/ 799769 w 1984332"/>
                    <a:gd name="connsiteY161" fmla="*/ 1135803 h 1520187"/>
                    <a:gd name="connsiteX162" fmla="*/ 483894 w 1984332"/>
                    <a:gd name="connsiteY162" fmla="*/ 1142524 h 1520187"/>
                    <a:gd name="connsiteX163" fmla="*/ 1915413 w 1984332"/>
                    <a:gd name="connsiteY163" fmla="*/ 840091 h 1520187"/>
                    <a:gd name="connsiteX164" fmla="*/ 1834764 w 1984332"/>
                    <a:gd name="connsiteY164" fmla="*/ 873695 h 1520187"/>
                    <a:gd name="connsiteX165" fmla="*/ 1834764 w 1984332"/>
                    <a:gd name="connsiteY165" fmla="*/ 873695 h 1520187"/>
                    <a:gd name="connsiteX166" fmla="*/ 1733953 w 1984332"/>
                    <a:gd name="connsiteY166" fmla="*/ 806488 h 1520187"/>
                    <a:gd name="connsiteX167" fmla="*/ 1713790 w 1984332"/>
                    <a:gd name="connsiteY167" fmla="*/ 793046 h 1520187"/>
                    <a:gd name="connsiteX168" fmla="*/ 1713790 w 1984332"/>
                    <a:gd name="connsiteY168" fmla="*/ 793046 h 1520187"/>
                    <a:gd name="connsiteX169" fmla="*/ 1633141 w 1984332"/>
                    <a:gd name="connsiteY169" fmla="*/ 793046 h 1520187"/>
                    <a:gd name="connsiteX170" fmla="*/ 1612979 w 1984332"/>
                    <a:gd name="connsiteY170" fmla="*/ 813208 h 1520187"/>
                    <a:gd name="connsiteX171" fmla="*/ 1612979 w 1984332"/>
                    <a:gd name="connsiteY171" fmla="*/ 1142524 h 1520187"/>
                    <a:gd name="connsiteX172" fmla="*/ 1310546 w 1984332"/>
                    <a:gd name="connsiteY172" fmla="*/ 1142524 h 1520187"/>
                    <a:gd name="connsiteX173" fmla="*/ 1310546 w 1984332"/>
                    <a:gd name="connsiteY173" fmla="*/ 1102200 h 1520187"/>
                    <a:gd name="connsiteX174" fmla="*/ 1384474 w 1984332"/>
                    <a:gd name="connsiteY174" fmla="*/ 967785 h 1520187"/>
                    <a:gd name="connsiteX175" fmla="*/ 1337429 w 1984332"/>
                    <a:gd name="connsiteY175" fmla="*/ 860254 h 1520187"/>
                    <a:gd name="connsiteX176" fmla="*/ 1229897 w 1984332"/>
                    <a:gd name="connsiteY176" fmla="*/ 813208 h 1520187"/>
                    <a:gd name="connsiteX177" fmla="*/ 1229897 w 1984332"/>
                    <a:gd name="connsiteY177" fmla="*/ 813208 h 1520187"/>
                    <a:gd name="connsiteX178" fmla="*/ 1122365 w 1984332"/>
                    <a:gd name="connsiteY178" fmla="*/ 860254 h 1520187"/>
                    <a:gd name="connsiteX179" fmla="*/ 1075320 w 1984332"/>
                    <a:gd name="connsiteY179" fmla="*/ 967785 h 1520187"/>
                    <a:gd name="connsiteX180" fmla="*/ 1162689 w 1984332"/>
                    <a:gd name="connsiteY180" fmla="*/ 1108921 h 1520187"/>
                    <a:gd name="connsiteX181" fmla="*/ 1162689 w 1984332"/>
                    <a:gd name="connsiteY181" fmla="*/ 1142524 h 1520187"/>
                    <a:gd name="connsiteX182" fmla="*/ 853535 w 1984332"/>
                    <a:gd name="connsiteY182" fmla="*/ 1142524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19929 h 1520187"/>
                    <a:gd name="connsiteX185" fmla="*/ 853535 w 1984332"/>
                    <a:gd name="connsiteY185" fmla="*/ 806488 h 1520187"/>
                    <a:gd name="connsiteX186" fmla="*/ 846814 w 1984332"/>
                    <a:gd name="connsiteY186" fmla="*/ 793046 h 1520187"/>
                    <a:gd name="connsiteX187" fmla="*/ 833373 w 1984332"/>
                    <a:gd name="connsiteY187" fmla="*/ 786325 h 1520187"/>
                    <a:gd name="connsiteX188" fmla="*/ 833373 w 1984332"/>
                    <a:gd name="connsiteY188" fmla="*/ 786325 h 1520187"/>
                    <a:gd name="connsiteX189" fmla="*/ 759444 w 1984332"/>
                    <a:gd name="connsiteY189" fmla="*/ 786325 h 1520187"/>
                    <a:gd name="connsiteX190" fmla="*/ 739282 w 1984332"/>
                    <a:gd name="connsiteY190" fmla="*/ 799767 h 1520187"/>
                    <a:gd name="connsiteX191" fmla="*/ 631750 w 1984332"/>
                    <a:gd name="connsiteY191" fmla="*/ 873695 h 1520187"/>
                    <a:gd name="connsiteX192" fmla="*/ 631750 w 1984332"/>
                    <a:gd name="connsiteY192" fmla="*/ 873695 h 1520187"/>
                    <a:gd name="connsiteX193" fmla="*/ 551101 w 1984332"/>
                    <a:gd name="connsiteY193" fmla="*/ 840091 h 1520187"/>
                    <a:gd name="connsiteX194" fmla="*/ 517497 w 1984332"/>
                    <a:gd name="connsiteY194" fmla="*/ 759443 h 1520187"/>
                    <a:gd name="connsiteX195" fmla="*/ 551101 w 1984332"/>
                    <a:gd name="connsiteY195" fmla="*/ 678794 h 1520187"/>
                    <a:gd name="connsiteX196" fmla="*/ 631750 w 1984332"/>
                    <a:gd name="connsiteY196" fmla="*/ 645190 h 1520187"/>
                    <a:gd name="connsiteX197" fmla="*/ 631750 w 1984332"/>
                    <a:gd name="connsiteY197" fmla="*/ 645190 h 1520187"/>
                    <a:gd name="connsiteX198" fmla="*/ 732561 w 1984332"/>
                    <a:gd name="connsiteY198" fmla="*/ 712397 h 1520187"/>
                    <a:gd name="connsiteX199" fmla="*/ 752724 w 1984332"/>
                    <a:gd name="connsiteY199" fmla="*/ 725839 h 1520187"/>
                    <a:gd name="connsiteX200" fmla="*/ 752724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26652 w 1984332"/>
                    <a:gd name="connsiteY202" fmla="*/ 725839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0093 w 1984332"/>
                    <a:gd name="connsiteY205" fmla="*/ 719118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705677 h 1520187"/>
                    <a:gd name="connsiteX210" fmla="*/ 846814 w 1984332"/>
                    <a:gd name="connsiteY210" fmla="*/ 383082 h 1520187"/>
                    <a:gd name="connsiteX211" fmla="*/ 1155969 w 1984332"/>
                    <a:gd name="connsiteY211" fmla="*/ 383082 h 1520187"/>
                    <a:gd name="connsiteX212" fmla="*/ 1155969 w 1984332"/>
                    <a:gd name="connsiteY212" fmla="*/ 423406 h 1520187"/>
                    <a:gd name="connsiteX213" fmla="*/ 1089608 w 1984332"/>
                    <a:gd name="connsiteY213" fmla="*/ 560202 h 1520187"/>
                    <a:gd name="connsiteX214" fmla="*/ 1139409 w 1984332"/>
                    <a:gd name="connsiteY214" fmla="*/ 664773 h 1520187"/>
                    <a:gd name="connsiteX215" fmla="*/ 1241803 w 1984332"/>
                    <a:gd name="connsiteY215" fmla="*/ 712400 h 1520187"/>
                    <a:gd name="connsiteX216" fmla="*/ 1351716 w 1984332"/>
                    <a:gd name="connsiteY216" fmla="*/ 670115 h 1520187"/>
                    <a:gd name="connsiteX217" fmla="*/ 1396380 w 1984332"/>
                    <a:gd name="connsiteY217" fmla="*/ 553058 h 1520187"/>
                    <a:gd name="connsiteX218" fmla="*/ 1310546 w 1984332"/>
                    <a:gd name="connsiteY218" fmla="*/ 423406 h 1520187"/>
                    <a:gd name="connsiteX219" fmla="*/ 1310546 w 1984332"/>
                    <a:gd name="connsiteY219" fmla="*/ 376361 h 1520187"/>
                    <a:gd name="connsiteX220" fmla="*/ 1612979 w 1984332"/>
                    <a:gd name="connsiteY220" fmla="*/ 376361 h 1520187"/>
                    <a:gd name="connsiteX221" fmla="*/ 1612979 w 1984332"/>
                    <a:gd name="connsiteY221" fmla="*/ 705677 h 1520187"/>
                    <a:gd name="connsiteX222" fmla="*/ 1633141 w 1984332"/>
                    <a:gd name="connsiteY222" fmla="*/ 725839 h 1520187"/>
                    <a:gd name="connsiteX223" fmla="*/ 1633141 w 1984332"/>
                    <a:gd name="connsiteY223" fmla="*/ 725839 h 1520187"/>
                    <a:gd name="connsiteX224" fmla="*/ 1713790 w 1984332"/>
                    <a:gd name="connsiteY224" fmla="*/ 725839 h 1520187"/>
                    <a:gd name="connsiteX225" fmla="*/ 1733953 w 1984332"/>
                    <a:gd name="connsiteY225" fmla="*/ 712397 h 1520187"/>
                    <a:gd name="connsiteX226" fmla="*/ 1834764 w 1984332"/>
                    <a:gd name="connsiteY226" fmla="*/ 645190 h 1520187"/>
                    <a:gd name="connsiteX227" fmla="*/ 1834764 w 1984332"/>
                    <a:gd name="connsiteY227" fmla="*/ 645190 h 1520187"/>
                    <a:gd name="connsiteX228" fmla="*/ 1915413 w 1984332"/>
                    <a:gd name="connsiteY228" fmla="*/ 678794 h 1520187"/>
                    <a:gd name="connsiteX229" fmla="*/ 1949017 w 1984332"/>
                    <a:gd name="connsiteY229" fmla="*/ 759443 h 1520187"/>
                    <a:gd name="connsiteX230" fmla="*/ 1915413 w 1984332"/>
                    <a:gd name="connsiteY230" fmla="*/ 840091 h 1520187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83663 w 1984332"/>
                    <a:gd name="connsiteY13" fmla="*/ 423406 h 1520187"/>
                    <a:gd name="connsiteX14" fmla="*/ 1297104 w 1984332"/>
                    <a:gd name="connsiteY14" fmla="*/ 450289 h 1520187"/>
                    <a:gd name="connsiteX15" fmla="*/ 1357168 w 1984332"/>
                    <a:gd name="connsiteY15" fmla="*/ 551100 h 1520187"/>
                    <a:gd name="connsiteX16" fmla="*/ 1330708 w 1984332"/>
                    <a:gd name="connsiteY16" fmla="*/ 631749 h 1520187"/>
                    <a:gd name="connsiteX17" fmla="*/ 1250059 w 1984332"/>
                    <a:gd name="connsiteY17" fmla="*/ 665352 h 1520187"/>
                    <a:gd name="connsiteX18" fmla="*/ 1135806 w 1984332"/>
                    <a:gd name="connsiteY18" fmla="*/ 551100 h 1520187"/>
                    <a:gd name="connsiteX19" fmla="*/ 1209734 w 1984332"/>
                    <a:gd name="connsiteY19" fmla="*/ 443568 h 1520187"/>
                    <a:gd name="connsiteX20" fmla="*/ 1223176 w 1984332"/>
                    <a:gd name="connsiteY20" fmla="*/ 423406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223176 w 1984332"/>
                    <a:gd name="connsiteY23" fmla="*/ 349478 h 1520187"/>
                    <a:gd name="connsiteX24" fmla="*/ 1182852 w 1984332"/>
                    <a:gd name="connsiteY24" fmla="*/ 336037 h 1520187"/>
                    <a:gd name="connsiteX25" fmla="*/ 11828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826652 w 1984332"/>
                    <a:gd name="connsiteY28" fmla="*/ 336037 h 1520187"/>
                    <a:gd name="connsiteX29" fmla="*/ 497335 w 1984332"/>
                    <a:gd name="connsiteY29" fmla="*/ 336037 h 1520187"/>
                    <a:gd name="connsiteX30" fmla="*/ 497335 w 1984332"/>
                    <a:gd name="connsiteY30" fmla="*/ 295712 h 1520187"/>
                    <a:gd name="connsiteX31" fmla="*/ 584705 w 1984332"/>
                    <a:gd name="connsiteY31" fmla="*/ 154577 h 1520187"/>
                    <a:gd name="connsiteX32" fmla="*/ 537660 w 1984332"/>
                    <a:gd name="connsiteY32" fmla="*/ 47045 h 1520187"/>
                    <a:gd name="connsiteX33" fmla="*/ 423407 w 1984332"/>
                    <a:gd name="connsiteY33" fmla="*/ 0 h 1520187"/>
                    <a:gd name="connsiteX34" fmla="*/ 423407 w 1984332"/>
                    <a:gd name="connsiteY34" fmla="*/ 0 h 1520187"/>
                    <a:gd name="connsiteX35" fmla="*/ 268830 w 1984332"/>
                    <a:gd name="connsiteY35" fmla="*/ 154577 h 1520187"/>
                    <a:gd name="connsiteX36" fmla="*/ 349479 w 1984332"/>
                    <a:gd name="connsiteY36" fmla="*/ 288991 h 1520187"/>
                    <a:gd name="connsiteX37" fmla="*/ 349479 w 1984332"/>
                    <a:gd name="connsiteY37" fmla="*/ 329316 h 1520187"/>
                    <a:gd name="connsiteX38" fmla="*/ 20162 w 1984332"/>
                    <a:gd name="connsiteY38" fmla="*/ 336037 h 1520187"/>
                    <a:gd name="connsiteX39" fmla="*/ 0 w 1984332"/>
                    <a:gd name="connsiteY39" fmla="*/ 356199 h 1520187"/>
                    <a:gd name="connsiteX40" fmla="*/ 0 w 1984332"/>
                    <a:gd name="connsiteY40" fmla="*/ 698956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20162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94090 w 1984332"/>
                    <a:gd name="connsiteY46" fmla="*/ 719118 h 1520187"/>
                    <a:gd name="connsiteX47" fmla="*/ 120973 w 1984332"/>
                    <a:gd name="connsiteY47" fmla="*/ 705677 h 1520187"/>
                    <a:gd name="connsiteX48" fmla="*/ 221785 w 1984332"/>
                    <a:gd name="connsiteY48" fmla="*/ 638469 h 1520187"/>
                    <a:gd name="connsiteX49" fmla="*/ 221785 w 1984332"/>
                    <a:gd name="connsiteY49" fmla="*/ 638469 h 1520187"/>
                    <a:gd name="connsiteX50" fmla="*/ 336037 w 1984332"/>
                    <a:gd name="connsiteY50" fmla="*/ 752722 h 1520187"/>
                    <a:gd name="connsiteX51" fmla="*/ 221785 w 1984332"/>
                    <a:gd name="connsiteY51" fmla="*/ 873695 h 1520187"/>
                    <a:gd name="connsiteX52" fmla="*/ 221785 w 1984332"/>
                    <a:gd name="connsiteY52" fmla="*/ 873695 h 1520187"/>
                    <a:gd name="connsiteX53" fmla="*/ 114253 w 1984332"/>
                    <a:gd name="connsiteY53" fmla="*/ 799767 h 1520187"/>
                    <a:gd name="connsiteX54" fmla="*/ 94090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20162 w 1984332"/>
                    <a:gd name="connsiteY59" fmla="*/ 786325 h 1520187"/>
                    <a:gd name="connsiteX60" fmla="*/ 0 w 1984332"/>
                    <a:gd name="connsiteY60" fmla="*/ 806488 h 1520187"/>
                    <a:gd name="connsiteX61" fmla="*/ 0 w 1984332"/>
                    <a:gd name="connsiteY61" fmla="*/ 1162686 h 1520187"/>
                    <a:gd name="connsiteX62" fmla="*/ 20162 w 1984332"/>
                    <a:gd name="connsiteY62" fmla="*/ 1182849 h 1520187"/>
                    <a:gd name="connsiteX63" fmla="*/ 20162 w 1984332"/>
                    <a:gd name="connsiteY63" fmla="*/ 1182849 h 1520187"/>
                    <a:gd name="connsiteX64" fmla="*/ 356200 w 1984332"/>
                    <a:gd name="connsiteY64" fmla="*/ 1182849 h 1520187"/>
                    <a:gd name="connsiteX65" fmla="*/ 356200 w 1984332"/>
                    <a:gd name="connsiteY65" fmla="*/ 1223173 h 1520187"/>
                    <a:gd name="connsiteX66" fmla="*/ 268830 w 1984332"/>
                    <a:gd name="connsiteY66" fmla="*/ 1364308 h 1520187"/>
                    <a:gd name="connsiteX67" fmla="*/ 315875 w 1984332"/>
                    <a:gd name="connsiteY67" fmla="*/ 1471840 h 1520187"/>
                    <a:gd name="connsiteX68" fmla="*/ 423407 w 1984332"/>
                    <a:gd name="connsiteY68" fmla="*/ 1518885 h 1520187"/>
                    <a:gd name="connsiteX69" fmla="*/ 423407 w 1984332"/>
                    <a:gd name="connsiteY69" fmla="*/ 1518885 h 1520187"/>
                    <a:gd name="connsiteX70" fmla="*/ 537660 w 1984332"/>
                    <a:gd name="connsiteY70" fmla="*/ 1478561 h 1520187"/>
                    <a:gd name="connsiteX71" fmla="*/ 584705 w 1984332"/>
                    <a:gd name="connsiteY71" fmla="*/ 1371029 h 1520187"/>
                    <a:gd name="connsiteX72" fmla="*/ 510777 w 1984332"/>
                    <a:gd name="connsiteY72" fmla="*/ 1236614 h 1520187"/>
                    <a:gd name="connsiteX73" fmla="*/ 510777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833373 w 1984332"/>
                    <a:gd name="connsiteY76" fmla="*/ 1189569 h 1520187"/>
                    <a:gd name="connsiteX77" fmla="*/ 1189572 w 1984332"/>
                    <a:gd name="connsiteY77" fmla="*/ 1189569 h 1520187"/>
                    <a:gd name="connsiteX78" fmla="*/ 1203014 w 1984332"/>
                    <a:gd name="connsiteY78" fmla="*/ 1182849 h 1520187"/>
                    <a:gd name="connsiteX79" fmla="*/ 1209734 w 1984332"/>
                    <a:gd name="connsiteY79" fmla="*/ 1169407 h 1520187"/>
                    <a:gd name="connsiteX80" fmla="*/ 1209734 w 1984332"/>
                    <a:gd name="connsiteY80" fmla="*/ 1095479 h 1520187"/>
                    <a:gd name="connsiteX81" fmla="*/ 1196293 w 1984332"/>
                    <a:gd name="connsiteY81" fmla="*/ 1075317 h 1520187"/>
                    <a:gd name="connsiteX82" fmla="*/ 1122365 w 1984332"/>
                    <a:gd name="connsiteY82" fmla="*/ 967785 h 1520187"/>
                    <a:gd name="connsiteX83" fmla="*/ 1155969 w 1984332"/>
                    <a:gd name="connsiteY83" fmla="*/ 887136 h 1520187"/>
                    <a:gd name="connsiteX84" fmla="*/ 1236617 w 1984332"/>
                    <a:gd name="connsiteY84" fmla="*/ 853533 h 1520187"/>
                    <a:gd name="connsiteX85" fmla="*/ 1236617 w 1984332"/>
                    <a:gd name="connsiteY85" fmla="*/ 853533 h 1520187"/>
                    <a:gd name="connsiteX86" fmla="*/ 1317266 w 1984332"/>
                    <a:gd name="connsiteY86" fmla="*/ 887136 h 1520187"/>
                    <a:gd name="connsiteX87" fmla="*/ 1350870 w 1984332"/>
                    <a:gd name="connsiteY87" fmla="*/ 967785 h 1520187"/>
                    <a:gd name="connsiteX88" fmla="*/ 1283663 w 1984332"/>
                    <a:gd name="connsiteY88" fmla="*/ 1068596 h 1520187"/>
                    <a:gd name="connsiteX89" fmla="*/ 1270221 w 1984332"/>
                    <a:gd name="connsiteY89" fmla="*/ 1088758 h 1520187"/>
                    <a:gd name="connsiteX90" fmla="*/ 1270221 w 1984332"/>
                    <a:gd name="connsiteY90" fmla="*/ 1162686 h 1520187"/>
                    <a:gd name="connsiteX91" fmla="*/ 1276942 w 1984332"/>
                    <a:gd name="connsiteY91" fmla="*/ 1176128 h 1520187"/>
                    <a:gd name="connsiteX92" fmla="*/ 1290383 w 1984332"/>
                    <a:gd name="connsiteY92" fmla="*/ 1182849 h 1520187"/>
                    <a:gd name="connsiteX93" fmla="*/ 1290383 w 1984332"/>
                    <a:gd name="connsiteY93" fmla="*/ 1182849 h 1520187"/>
                    <a:gd name="connsiteX94" fmla="*/ 1633141 w 1984332"/>
                    <a:gd name="connsiteY94" fmla="*/ 1182849 h 1520187"/>
                    <a:gd name="connsiteX95" fmla="*/ 1653304 w 1984332"/>
                    <a:gd name="connsiteY95" fmla="*/ 1162686 h 1520187"/>
                    <a:gd name="connsiteX96" fmla="*/ 1653304 w 1984332"/>
                    <a:gd name="connsiteY96" fmla="*/ 833371 h 1520187"/>
                    <a:gd name="connsiteX97" fmla="*/ 1693628 w 1984332"/>
                    <a:gd name="connsiteY97" fmla="*/ 833371 h 1520187"/>
                    <a:gd name="connsiteX98" fmla="*/ 1828043 w 1984332"/>
                    <a:gd name="connsiteY98" fmla="*/ 914019 h 1520187"/>
                    <a:gd name="connsiteX99" fmla="*/ 1828043 w 1984332"/>
                    <a:gd name="connsiteY99" fmla="*/ 914019 h 1520187"/>
                    <a:gd name="connsiteX100" fmla="*/ 1935575 w 1984332"/>
                    <a:gd name="connsiteY100" fmla="*/ 866974 h 1520187"/>
                    <a:gd name="connsiteX101" fmla="*/ 1982620 w 1984332"/>
                    <a:gd name="connsiteY101" fmla="*/ 759443 h 1520187"/>
                    <a:gd name="connsiteX102" fmla="*/ 1949017 w 1984332"/>
                    <a:gd name="connsiteY102" fmla="*/ 645190 h 1520187"/>
                    <a:gd name="connsiteX103" fmla="*/ 483894 w 1984332"/>
                    <a:gd name="connsiteY103" fmla="*/ 1142524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162686 h 1520187"/>
                    <a:gd name="connsiteX107" fmla="*/ 463732 w 1984332"/>
                    <a:gd name="connsiteY107" fmla="*/ 1236614 h 1520187"/>
                    <a:gd name="connsiteX108" fmla="*/ 463732 w 1984332"/>
                    <a:gd name="connsiteY108" fmla="*/ 1236614 h 1520187"/>
                    <a:gd name="connsiteX109" fmla="*/ 477173 w 1984332"/>
                    <a:gd name="connsiteY109" fmla="*/ 1263497 h 1520187"/>
                    <a:gd name="connsiteX110" fmla="*/ 544381 w 1984332"/>
                    <a:gd name="connsiteY110" fmla="*/ 1364308 h 1520187"/>
                    <a:gd name="connsiteX111" fmla="*/ 510777 w 1984332"/>
                    <a:gd name="connsiteY111" fmla="*/ 1444957 h 1520187"/>
                    <a:gd name="connsiteX112" fmla="*/ 423407 w 1984332"/>
                    <a:gd name="connsiteY112" fmla="*/ 1478561 h 1520187"/>
                    <a:gd name="connsiteX113" fmla="*/ 423407 w 1984332"/>
                    <a:gd name="connsiteY113" fmla="*/ 1478561 h 1520187"/>
                    <a:gd name="connsiteX114" fmla="*/ 342758 w 1984332"/>
                    <a:gd name="connsiteY114" fmla="*/ 1444957 h 1520187"/>
                    <a:gd name="connsiteX115" fmla="*/ 309154 w 1984332"/>
                    <a:gd name="connsiteY115" fmla="*/ 1364308 h 1520187"/>
                    <a:gd name="connsiteX116" fmla="*/ 383083 w 1984332"/>
                    <a:gd name="connsiteY116" fmla="*/ 1256777 h 1520187"/>
                    <a:gd name="connsiteX117" fmla="*/ 396524 w 1984332"/>
                    <a:gd name="connsiteY117" fmla="*/ 1236614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96524 w 1984332"/>
                    <a:gd name="connsiteY120" fmla="*/ 1162686 h 1520187"/>
                    <a:gd name="connsiteX121" fmla="*/ 376362 w 1984332"/>
                    <a:gd name="connsiteY121" fmla="*/ 1142524 h 1520187"/>
                    <a:gd name="connsiteX122" fmla="*/ 376362 w 1984332"/>
                    <a:gd name="connsiteY122" fmla="*/ 1142524 h 1520187"/>
                    <a:gd name="connsiteX123" fmla="*/ 40324 w 1984332"/>
                    <a:gd name="connsiteY123" fmla="*/ 1142524 h 1520187"/>
                    <a:gd name="connsiteX124" fmla="*/ 40324 w 1984332"/>
                    <a:gd name="connsiteY124" fmla="*/ 833371 h 1520187"/>
                    <a:gd name="connsiteX125" fmla="*/ 80649 w 1984332"/>
                    <a:gd name="connsiteY125" fmla="*/ 833371 h 1520187"/>
                    <a:gd name="connsiteX126" fmla="*/ 221785 w 1984332"/>
                    <a:gd name="connsiteY126" fmla="*/ 920740 h 1520187"/>
                    <a:gd name="connsiteX127" fmla="*/ 221785 w 1984332"/>
                    <a:gd name="connsiteY127" fmla="*/ 920740 h 1520187"/>
                    <a:gd name="connsiteX128" fmla="*/ 376362 w 1984332"/>
                    <a:gd name="connsiteY128" fmla="*/ 766163 h 1520187"/>
                    <a:gd name="connsiteX129" fmla="*/ 221785 w 1984332"/>
                    <a:gd name="connsiteY129" fmla="*/ 604866 h 1520187"/>
                    <a:gd name="connsiteX130" fmla="*/ 221785 w 1984332"/>
                    <a:gd name="connsiteY130" fmla="*/ 604866 h 1520187"/>
                    <a:gd name="connsiteX131" fmla="*/ 87370 w 1984332"/>
                    <a:gd name="connsiteY131" fmla="*/ 678794 h 1520187"/>
                    <a:gd name="connsiteX132" fmla="*/ 40324 w 1984332"/>
                    <a:gd name="connsiteY132" fmla="*/ 678794 h 1520187"/>
                    <a:gd name="connsiteX133" fmla="*/ 40324 w 1984332"/>
                    <a:gd name="connsiteY133" fmla="*/ 376361 h 1520187"/>
                    <a:gd name="connsiteX134" fmla="*/ 369641 w 1984332"/>
                    <a:gd name="connsiteY134" fmla="*/ 376361 h 1520187"/>
                    <a:gd name="connsiteX135" fmla="*/ 383083 w 1984332"/>
                    <a:gd name="connsiteY135" fmla="*/ 369640 h 1520187"/>
                    <a:gd name="connsiteX136" fmla="*/ 389803 w 1984332"/>
                    <a:gd name="connsiteY136" fmla="*/ 356199 h 1520187"/>
                    <a:gd name="connsiteX137" fmla="*/ 389803 w 1984332"/>
                    <a:gd name="connsiteY137" fmla="*/ 275550 h 1520187"/>
                    <a:gd name="connsiteX138" fmla="*/ 376362 w 1984332"/>
                    <a:gd name="connsiteY138" fmla="*/ 255388 h 1520187"/>
                    <a:gd name="connsiteX139" fmla="*/ 309154 w 1984332"/>
                    <a:gd name="connsiteY139" fmla="*/ 154577 h 1520187"/>
                    <a:gd name="connsiteX140" fmla="*/ 423407 w 1984332"/>
                    <a:gd name="connsiteY140" fmla="*/ 40324 h 1520187"/>
                    <a:gd name="connsiteX141" fmla="*/ 504056 w 1984332"/>
                    <a:gd name="connsiteY141" fmla="*/ 73928 h 1520187"/>
                    <a:gd name="connsiteX142" fmla="*/ 537660 w 1984332"/>
                    <a:gd name="connsiteY142" fmla="*/ 154577 h 1520187"/>
                    <a:gd name="connsiteX143" fmla="*/ 470452 w 1984332"/>
                    <a:gd name="connsiteY143" fmla="*/ 262109 h 1520187"/>
                    <a:gd name="connsiteX144" fmla="*/ 457011 w 1984332"/>
                    <a:gd name="connsiteY144" fmla="*/ 282271 h 1520187"/>
                    <a:gd name="connsiteX145" fmla="*/ 457011 w 1984332"/>
                    <a:gd name="connsiteY145" fmla="*/ 362919 h 1520187"/>
                    <a:gd name="connsiteX146" fmla="*/ 477173 w 1984332"/>
                    <a:gd name="connsiteY146" fmla="*/ 383082 h 1520187"/>
                    <a:gd name="connsiteX147" fmla="*/ 477173 w 1984332"/>
                    <a:gd name="connsiteY147" fmla="*/ 383082 h 1520187"/>
                    <a:gd name="connsiteX148" fmla="*/ 806490 w 1984332"/>
                    <a:gd name="connsiteY148" fmla="*/ 383082 h 1520187"/>
                    <a:gd name="connsiteX149" fmla="*/ 806490 w 1984332"/>
                    <a:gd name="connsiteY149" fmla="*/ 631749 h 1520187"/>
                    <a:gd name="connsiteX150" fmla="*/ 806490 w 1984332"/>
                    <a:gd name="connsiteY150" fmla="*/ 685515 h 1520187"/>
                    <a:gd name="connsiteX151" fmla="*/ 766165 w 1984332"/>
                    <a:gd name="connsiteY151" fmla="*/ 685515 h 1520187"/>
                    <a:gd name="connsiteX152" fmla="*/ 631750 w 1984332"/>
                    <a:gd name="connsiteY152" fmla="*/ 604866 h 1520187"/>
                    <a:gd name="connsiteX153" fmla="*/ 631750 w 1984332"/>
                    <a:gd name="connsiteY153" fmla="*/ 604866 h 1520187"/>
                    <a:gd name="connsiteX154" fmla="*/ 517497 w 1984332"/>
                    <a:gd name="connsiteY154" fmla="*/ 651911 h 1520187"/>
                    <a:gd name="connsiteX155" fmla="*/ 470452 w 1984332"/>
                    <a:gd name="connsiteY155" fmla="*/ 759443 h 1520187"/>
                    <a:gd name="connsiteX156" fmla="*/ 517497 w 1984332"/>
                    <a:gd name="connsiteY156" fmla="*/ 866974 h 1520187"/>
                    <a:gd name="connsiteX157" fmla="*/ 625029 w 1984332"/>
                    <a:gd name="connsiteY157" fmla="*/ 914019 h 1520187"/>
                    <a:gd name="connsiteX158" fmla="*/ 625029 w 1984332"/>
                    <a:gd name="connsiteY158" fmla="*/ 914019 h 1520187"/>
                    <a:gd name="connsiteX159" fmla="*/ 766165 w 1984332"/>
                    <a:gd name="connsiteY159" fmla="*/ 826650 h 1520187"/>
                    <a:gd name="connsiteX160" fmla="*/ 799769 w 1984332"/>
                    <a:gd name="connsiteY160" fmla="*/ 826650 h 1520187"/>
                    <a:gd name="connsiteX161" fmla="*/ 799769 w 1984332"/>
                    <a:gd name="connsiteY161" fmla="*/ 1135803 h 1520187"/>
                    <a:gd name="connsiteX162" fmla="*/ 483894 w 1984332"/>
                    <a:gd name="connsiteY162" fmla="*/ 1142524 h 1520187"/>
                    <a:gd name="connsiteX163" fmla="*/ 1915413 w 1984332"/>
                    <a:gd name="connsiteY163" fmla="*/ 840091 h 1520187"/>
                    <a:gd name="connsiteX164" fmla="*/ 1834764 w 1984332"/>
                    <a:gd name="connsiteY164" fmla="*/ 873695 h 1520187"/>
                    <a:gd name="connsiteX165" fmla="*/ 1834764 w 1984332"/>
                    <a:gd name="connsiteY165" fmla="*/ 873695 h 1520187"/>
                    <a:gd name="connsiteX166" fmla="*/ 1733953 w 1984332"/>
                    <a:gd name="connsiteY166" fmla="*/ 806488 h 1520187"/>
                    <a:gd name="connsiteX167" fmla="*/ 1713790 w 1984332"/>
                    <a:gd name="connsiteY167" fmla="*/ 793046 h 1520187"/>
                    <a:gd name="connsiteX168" fmla="*/ 1713790 w 1984332"/>
                    <a:gd name="connsiteY168" fmla="*/ 793046 h 1520187"/>
                    <a:gd name="connsiteX169" fmla="*/ 1633141 w 1984332"/>
                    <a:gd name="connsiteY169" fmla="*/ 793046 h 1520187"/>
                    <a:gd name="connsiteX170" fmla="*/ 1612979 w 1984332"/>
                    <a:gd name="connsiteY170" fmla="*/ 813208 h 1520187"/>
                    <a:gd name="connsiteX171" fmla="*/ 1612979 w 1984332"/>
                    <a:gd name="connsiteY171" fmla="*/ 1142524 h 1520187"/>
                    <a:gd name="connsiteX172" fmla="*/ 1310546 w 1984332"/>
                    <a:gd name="connsiteY172" fmla="*/ 1142524 h 1520187"/>
                    <a:gd name="connsiteX173" fmla="*/ 1310546 w 1984332"/>
                    <a:gd name="connsiteY173" fmla="*/ 1102200 h 1520187"/>
                    <a:gd name="connsiteX174" fmla="*/ 1384474 w 1984332"/>
                    <a:gd name="connsiteY174" fmla="*/ 967785 h 1520187"/>
                    <a:gd name="connsiteX175" fmla="*/ 1337429 w 1984332"/>
                    <a:gd name="connsiteY175" fmla="*/ 860254 h 1520187"/>
                    <a:gd name="connsiteX176" fmla="*/ 1229897 w 1984332"/>
                    <a:gd name="connsiteY176" fmla="*/ 813208 h 1520187"/>
                    <a:gd name="connsiteX177" fmla="*/ 1229897 w 1984332"/>
                    <a:gd name="connsiteY177" fmla="*/ 813208 h 1520187"/>
                    <a:gd name="connsiteX178" fmla="*/ 1122365 w 1984332"/>
                    <a:gd name="connsiteY178" fmla="*/ 860254 h 1520187"/>
                    <a:gd name="connsiteX179" fmla="*/ 1075320 w 1984332"/>
                    <a:gd name="connsiteY179" fmla="*/ 967785 h 1520187"/>
                    <a:gd name="connsiteX180" fmla="*/ 1162689 w 1984332"/>
                    <a:gd name="connsiteY180" fmla="*/ 1108921 h 1520187"/>
                    <a:gd name="connsiteX181" fmla="*/ 1162689 w 1984332"/>
                    <a:gd name="connsiteY181" fmla="*/ 1142524 h 1520187"/>
                    <a:gd name="connsiteX182" fmla="*/ 853535 w 1984332"/>
                    <a:gd name="connsiteY182" fmla="*/ 1142524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19929 h 1520187"/>
                    <a:gd name="connsiteX185" fmla="*/ 853535 w 1984332"/>
                    <a:gd name="connsiteY185" fmla="*/ 806488 h 1520187"/>
                    <a:gd name="connsiteX186" fmla="*/ 846814 w 1984332"/>
                    <a:gd name="connsiteY186" fmla="*/ 793046 h 1520187"/>
                    <a:gd name="connsiteX187" fmla="*/ 833373 w 1984332"/>
                    <a:gd name="connsiteY187" fmla="*/ 786325 h 1520187"/>
                    <a:gd name="connsiteX188" fmla="*/ 833373 w 1984332"/>
                    <a:gd name="connsiteY188" fmla="*/ 786325 h 1520187"/>
                    <a:gd name="connsiteX189" fmla="*/ 759444 w 1984332"/>
                    <a:gd name="connsiteY189" fmla="*/ 786325 h 1520187"/>
                    <a:gd name="connsiteX190" fmla="*/ 739282 w 1984332"/>
                    <a:gd name="connsiteY190" fmla="*/ 799767 h 1520187"/>
                    <a:gd name="connsiteX191" fmla="*/ 631750 w 1984332"/>
                    <a:gd name="connsiteY191" fmla="*/ 873695 h 1520187"/>
                    <a:gd name="connsiteX192" fmla="*/ 631750 w 1984332"/>
                    <a:gd name="connsiteY192" fmla="*/ 873695 h 1520187"/>
                    <a:gd name="connsiteX193" fmla="*/ 551101 w 1984332"/>
                    <a:gd name="connsiteY193" fmla="*/ 840091 h 1520187"/>
                    <a:gd name="connsiteX194" fmla="*/ 517497 w 1984332"/>
                    <a:gd name="connsiteY194" fmla="*/ 759443 h 1520187"/>
                    <a:gd name="connsiteX195" fmla="*/ 551101 w 1984332"/>
                    <a:gd name="connsiteY195" fmla="*/ 678794 h 1520187"/>
                    <a:gd name="connsiteX196" fmla="*/ 631750 w 1984332"/>
                    <a:gd name="connsiteY196" fmla="*/ 645190 h 1520187"/>
                    <a:gd name="connsiteX197" fmla="*/ 631750 w 1984332"/>
                    <a:gd name="connsiteY197" fmla="*/ 645190 h 1520187"/>
                    <a:gd name="connsiteX198" fmla="*/ 732561 w 1984332"/>
                    <a:gd name="connsiteY198" fmla="*/ 712397 h 1520187"/>
                    <a:gd name="connsiteX199" fmla="*/ 752724 w 1984332"/>
                    <a:gd name="connsiteY199" fmla="*/ 725839 h 1520187"/>
                    <a:gd name="connsiteX200" fmla="*/ 752724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26652 w 1984332"/>
                    <a:gd name="connsiteY202" fmla="*/ 725839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0093 w 1984332"/>
                    <a:gd name="connsiteY205" fmla="*/ 719118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705677 h 1520187"/>
                    <a:gd name="connsiteX210" fmla="*/ 846814 w 1984332"/>
                    <a:gd name="connsiteY210" fmla="*/ 383082 h 1520187"/>
                    <a:gd name="connsiteX211" fmla="*/ 1155969 w 1984332"/>
                    <a:gd name="connsiteY211" fmla="*/ 383082 h 1520187"/>
                    <a:gd name="connsiteX212" fmla="*/ 1155969 w 1984332"/>
                    <a:gd name="connsiteY212" fmla="*/ 423406 h 1520187"/>
                    <a:gd name="connsiteX213" fmla="*/ 1089608 w 1984332"/>
                    <a:gd name="connsiteY213" fmla="*/ 560202 h 1520187"/>
                    <a:gd name="connsiteX214" fmla="*/ 1139409 w 1984332"/>
                    <a:gd name="connsiteY214" fmla="*/ 664773 h 1520187"/>
                    <a:gd name="connsiteX215" fmla="*/ 1241803 w 1984332"/>
                    <a:gd name="connsiteY215" fmla="*/ 712400 h 1520187"/>
                    <a:gd name="connsiteX216" fmla="*/ 1351716 w 1984332"/>
                    <a:gd name="connsiteY216" fmla="*/ 670115 h 1520187"/>
                    <a:gd name="connsiteX217" fmla="*/ 1396380 w 1984332"/>
                    <a:gd name="connsiteY217" fmla="*/ 553058 h 1520187"/>
                    <a:gd name="connsiteX218" fmla="*/ 1310546 w 1984332"/>
                    <a:gd name="connsiteY218" fmla="*/ 423406 h 1520187"/>
                    <a:gd name="connsiteX219" fmla="*/ 1310546 w 1984332"/>
                    <a:gd name="connsiteY219" fmla="*/ 376361 h 1520187"/>
                    <a:gd name="connsiteX220" fmla="*/ 1612979 w 1984332"/>
                    <a:gd name="connsiteY220" fmla="*/ 376361 h 1520187"/>
                    <a:gd name="connsiteX221" fmla="*/ 1612979 w 1984332"/>
                    <a:gd name="connsiteY221" fmla="*/ 705677 h 1520187"/>
                    <a:gd name="connsiteX222" fmla="*/ 1633141 w 1984332"/>
                    <a:gd name="connsiteY222" fmla="*/ 725839 h 1520187"/>
                    <a:gd name="connsiteX223" fmla="*/ 1633141 w 1984332"/>
                    <a:gd name="connsiteY223" fmla="*/ 725839 h 1520187"/>
                    <a:gd name="connsiteX224" fmla="*/ 1713790 w 1984332"/>
                    <a:gd name="connsiteY224" fmla="*/ 725839 h 1520187"/>
                    <a:gd name="connsiteX225" fmla="*/ 1733953 w 1984332"/>
                    <a:gd name="connsiteY225" fmla="*/ 712397 h 1520187"/>
                    <a:gd name="connsiteX226" fmla="*/ 1834764 w 1984332"/>
                    <a:gd name="connsiteY226" fmla="*/ 645190 h 1520187"/>
                    <a:gd name="connsiteX227" fmla="*/ 1834764 w 1984332"/>
                    <a:gd name="connsiteY227" fmla="*/ 645190 h 1520187"/>
                    <a:gd name="connsiteX228" fmla="*/ 1915413 w 1984332"/>
                    <a:gd name="connsiteY228" fmla="*/ 678794 h 1520187"/>
                    <a:gd name="connsiteX229" fmla="*/ 1949017 w 1984332"/>
                    <a:gd name="connsiteY229" fmla="*/ 759443 h 1520187"/>
                    <a:gd name="connsiteX230" fmla="*/ 1915413 w 1984332"/>
                    <a:gd name="connsiteY230" fmla="*/ 840091 h 1520187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83663 w 1984332"/>
                    <a:gd name="connsiteY13" fmla="*/ 423406 h 1520187"/>
                    <a:gd name="connsiteX14" fmla="*/ 1297104 w 1984332"/>
                    <a:gd name="connsiteY14" fmla="*/ 450289 h 1520187"/>
                    <a:gd name="connsiteX15" fmla="*/ 1357168 w 1984332"/>
                    <a:gd name="connsiteY15" fmla="*/ 551100 h 1520187"/>
                    <a:gd name="connsiteX16" fmla="*/ 1330708 w 1984332"/>
                    <a:gd name="connsiteY16" fmla="*/ 631749 h 1520187"/>
                    <a:gd name="connsiteX17" fmla="*/ 1250059 w 1984332"/>
                    <a:gd name="connsiteY17" fmla="*/ 665352 h 1520187"/>
                    <a:gd name="connsiteX18" fmla="*/ 1135806 w 1984332"/>
                    <a:gd name="connsiteY18" fmla="*/ 551100 h 1520187"/>
                    <a:gd name="connsiteX19" fmla="*/ 1209734 w 1984332"/>
                    <a:gd name="connsiteY19" fmla="*/ 443568 h 1520187"/>
                    <a:gd name="connsiteX20" fmla="*/ 1223176 w 1984332"/>
                    <a:gd name="connsiteY20" fmla="*/ 423406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223176 w 1984332"/>
                    <a:gd name="connsiteY23" fmla="*/ 349478 h 1520187"/>
                    <a:gd name="connsiteX24" fmla="*/ 1182852 w 1984332"/>
                    <a:gd name="connsiteY24" fmla="*/ 336037 h 1520187"/>
                    <a:gd name="connsiteX25" fmla="*/ 11828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826652 w 1984332"/>
                    <a:gd name="connsiteY28" fmla="*/ 336037 h 1520187"/>
                    <a:gd name="connsiteX29" fmla="*/ 497335 w 1984332"/>
                    <a:gd name="connsiteY29" fmla="*/ 336037 h 1520187"/>
                    <a:gd name="connsiteX30" fmla="*/ 497335 w 1984332"/>
                    <a:gd name="connsiteY30" fmla="*/ 295712 h 1520187"/>
                    <a:gd name="connsiteX31" fmla="*/ 584705 w 1984332"/>
                    <a:gd name="connsiteY31" fmla="*/ 154577 h 1520187"/>
                    <a:gd name="connsiteX32" fmla="*/ 537660 w 1984332"/>
                    <a:gd name="connsiteY32" fmla="*/ 47045 h 1520187"/>
                    <a:gd name="connsiteX33" fmla="*/ 423407 w 1984332"/>
                    <a:gd name="connsiteY33" fmla="*/ 0 h 1520187"/>
                    <a:gd name="connsiteX34" fmla="*/ 423407 w 1984332"/>
                    <a:gd name="connsiteY34" fmla="*/ 0 h 1520187"/>
                    <a:gd name="connsiteX35" fmla="*/ 268830 w 1984332"/>
                    <a:gd name="connsiteY35" fmla="*/ 154577 h 1520187"/>
                    <a:gd name="connsiteX36" fmla="*/ 349479 w 1984332"/>
                    <a:gd name="connsiteY36" fmla="*/ 288991 h 1520187"/>
                    <a:gd name="connsiteX37" fmla="*/ 349479 w 1984332"/>
                    <a:gd name="connsiteY37" fmla="*/ 329316 h 1520187"/>
                    <a:gd name="connsiteX38" fmla="*/ 20162 w 1984332"/>
                    <a:gd name="connsiteY38" fmla="*/ 336037 h 1520187"/>
                    <a:gd name="connsiteX39" fmla="*/ 0 w 1984332"/>
                    <a:gd name="connsiteY39" fmla="*/ 356199 h 1520187"/>
                    <a:gd name="connsiteX40" fmla="*/ 0 w 1984332"/>
                    <a:gd name="connsiteY40" fmla="*/ 698956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20162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94090 w 1984332"/>
                    <a:gd name="connsiteY46" fmla="*/ 719118 h 1520187"/>
                    <a:gd name="connsiteX47" fmla="*/ 120973 w 1984332"/>
                    <a:gd name="connsiteY47" fmla="*/ 705677 h 1520187"/>
                    <a:gd name="connsiteX48" fmla="*/ 221785 w 1984332"/>
                    <a:gd name="connsiteY48" fmla="*/ 638469 h 1520187"/>
                    <a:gd name="connsiteX49" fmla="*/ 221785 w 1984332"/>
                    <a:gd name="connsiteY49" fmla="*/ 638469 h 1520187"/>
                    <a:gd name="connsiteX50" fmla="*/ 336037 w 1984332"/>
                    <a:gd name="connsiteY50" fmla="*/ 752722 h 1520187"/>
                    <a:gd name="connsiteX51" fmla="*/ 221785 w 1984332"/>
                    <a:gd name="connsiteY51" fmla="*/ 873695 h 1520187"/>
                    <a:gd name="connsiteX52" fmla="*/ 221785 w 1984332"/>
                    <a:gd name="connsiteY52" fmla="*/ 873695 h 1520187"/>
                    <a:gd name="connsiteX53" fmla="*/ 114253 w 1984332"/>
                    <a:gd name="connsiteY53" fmla="*/ 799767 h 1520187"/>
                    <a:gd name="connsiteX54" fmla="*/ 94090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20162 w 1984332"/>
                    <a:gd name="connsiteY59" fmla="*/ 786325 h 1520187"/>
                    <a:gd name="connsiteX60" fmla="*/ 0 w 1984332"/>
                    <a:gd name="connsiteY60" fmla="*/ 806488 h 1520187"/>
                    <a:gd name="connsiteX61" fmla="*/ 0 w 1984332"/>
                    <a:gd name="connsiteY61" fmla="*/ 1162686 h 1520187"/>
                    <a:gd name="connsiteX62" fmla="*/ 20162 w 1984332"/>
                    <a:gd name="connsiteY62" fmla="*/ 1182849 h 1520187"/>
                    <a:gd name="connsiteX63" fmla="*/ 20162 w 1984332"/>
                    <a:gd name="connsiteY63" fmla="*/ 1182849 h 1520187"/>
                    <a:gd name="connsiteX64" fmla="*/ 356200 w 1984332"/>
                    <a:gd name="connsiteY64" fmla="*/ 1182849 h 1520187"/>
                    <a:gd name="connsiteX65" fmla="*/ 356200 w 1984332"/>
                    <a:gd name="connsiteY65" fmla="*/ 1223173 h 1520187"/>
                    <a:gd name="connsiteX66" fmla="*/ 268830 w 1984332"/>
                    <a:gd name="connsiteY66" fmla="*/ 1364308 h 1520187"/>
                    <a:gd name="connsiteX67" fmla="*/ 315875 w 1984332"/>
                    <a:gd name="connsiteY67" fmla="*/ 1471840 h 1520187"/>
                    <a:gd name="connsiteX68" fmla="*/ 423407 w 1984332"/>
                    <a:gd name="connsiteY68" fmla="*/ 1518885 h 1520187"/>
                    <a:gd name="connsiteX69" fmla="*/ 423407 w 1984332"/>
                    <a:gd name="connsiteY69" fmla="*/ 1518885 h 1520187"/>
                    <a:gd name="connsiteX70" fmla="*/ 537660 w 1984332"/>
                    <a:gd name="connsiteY70" fmla="*/ 1478561 h 1520187"/>
                    <a:gd name="connsiteX71" fmla="*/ 584705 w 1984332"/>
                    <a:gd name="connsiteY71" fmla="*/ 1371029 h 1520187"/>
                    <a:gd name="connsiteX72" fmla="*/ 510777 w 1984332"/>
                    <a:gd name="connsiteY72" fmla="*/ 1236614 h 1520187"/>
                    <a:gd name="connsiteX73" fmla="*/ 510777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833373 w 1984332"/>
                    <a:gd name="connsiteY76" fmla="*/ 1189569 h 1520187"/>
                    <a:gd name="connsiteX77" fmla="*/ 1189572 w 1984332"/>
                    <a:gd name="connsiteY77" fmla="*/ 1189569 h 1520187"/>
                    <a:gd name="connsiteX78" fmla="*/ 1203014 w 1984332"/>
                    <a:gd name="connsiteY78" fmla="*/ 1182849 h 1520187"/>
                    <a:gd name="connsiteX79" fmla="*/ 1209734 w 1984332"/>
                    <a:gd name="connsiteY79" fmla="*/ 1169407 h 1520187"/>
                    <a:gd name="connsiteX80" fmla="*/ 1209734 w 1984332"/>
                    <a:gd name="connsiteY80" fmla="*/ 1095479 h 1520187"/>
                    <a:gd name="connsiteX81" fmla="*/ 1196293 w 1984332"/>
                    <a:gd name="connsiteY81" fmla="*/ 1075317 h 1520187"/>
                    <a:gd name="connsiteX82" fmla="*/ 1122365 w 1984332"/>
                    <a:gd name="connsiteY82" fmla="*/ 967785 h 1520187"/>
                    <a:gd name="connsiteX83" fmla="*/ 1155969 w 1984332"/>
                    <a:gd name="connsiteY83" fmla="*/ 887136 h 1520187"/>
                    <a:gd name="connsiteX84" fmla="*/ 1236617 w 1984332"/>
                    <a:gd name="connsiteY84" fmla="*/ 853533 h 1520187"/>
                    <a:gd name="connsiteX85" fmla="*/ 1236617 w 1984332"/>
                    <a:gd name="connsiteY85" fmla="*/ 853533 h 1520187"/>
                    <a:gd name="connsiteX86" fmla="*/ 1317266 w 1984332"/>
                    <a:gd name="connsiteY86" fmla="*/ 887136 h 1520187"/>
                    <a:gd name="connsiteX87" fmla="*/ 1350870 w 1984332"/>
                    <a:gd name="connsiteY87" fmla="*/ 967785 h 1520187"/>
                    <a:gd name="connsiteX88" fmla="*/ 1283663 w 1984332"/>
                    <a:gd name="connsiteY88" fmla="*/ 1068596 h 1520187"/>
                    <a:gd name="connsiteX89" fmla="*/ 1270221 w 1984332"/>
                    <a:gd name="connsiteY89" fmla="*/ 1088758 h 1520187"/>
                    <a:gd name="connsiteX90" fmla="*/ 1270221 w 1984332"/>
                    <a:gd name="connsiteY90" fmla="*/ 1162686 h 1520187"/>
                    <a:gd name="connsiteX91" fmla="*/ 1276942 w 1984332"/>
                    <a:gd name="connsiteY91" fmla="*/ 1176128 h 1520187"/>
                    <a:gd name="connsiteX92" fmla="*/ 1290383 w 1984332"/>
                    <a:gd name="connsiteY92" fmla="*/ 1182849 h 1520187"/>
                    <a:gd name="connsiteX93" fmla="*/ 1290383 w 1984332"/>
                    <a:gd name="connsiteY93" fmla="*/ 1182849 h 1520187"/>
                    <a:gd name="connsiteX94" fmla="*/ 1633141 w 1984332"/>
                    <a:gd name="connsiteY94" fmla="*/ 1182849 h 1520187"/>
                    <a:gd name="connsiteX95" fmla="*/ 1653304 w 1984332"/>
                    <a:gd name="connsiteY95" fmla="*/ 1162686 h 1520187"/>
                    <a:gd name="connsiteX96" fmla="*/ 1653304 w 1984332"/>
                    <a:gd name="connsiteY96" fmla="*/ 833371 h 1520187"/>
                    <a:gd name="connsiteX97" fmla="*/ 1693628 w 1984332"/>
                    <a:gd name="connsiteY97" fmla="*/ 833371 h 1520187"/>
                    <a:gd name="connsiteX98" fmla="*/ 1828043 w 1984332"/>
                    <a:gd name="connsiteY98" fmla="*/ 914019 h 1520187"/>
                    <a:gd name="connsiteX99" fmla="*/ 1828043 w 1984332"/>
                    <a:gd name="connsiteY99" fmla="*/ 914019 h 1520187"/>
                    <a:gd name="connsiteX100" fmla="*/ 1935575 w 1984332"/>
                    <a:gd name="connsiteY100" fmla="*/ 866974 h 1520187"/>
                    <a:gd name="connsiteX101" fmla="*/ 1982620 w 1984332"/>
                    <a:gd name="connsiteY101" fmla="*/ 759443 h 1520187"/>
                    <a:gd name="connsiteX102" fmla="*/ 1949017 w 1984332"/>
                    <a:gd name="connsiteY102" fmla="*/ 645190 h 1520187"/>
                    <a:gd name="connsiteX103" fmla="*/ 483894 w 1984332"/>
                    <a:gd name="connsiteY103" fmla="*/ 1142524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162686 h 1520187"/>
                    <a:gd name="connsiteX107" fmla="*/ 463732 w 1984332"/>
                    <a:gd name="connsiteY107" fmla="*/ 1236614 h 1520187"/>
                    <a:gd name="connsiteX108" fmla="*/ 463732 w 1984332"/>
                    <a:gd name="connsiteY108" fmla="*/ 1236614 h 1520187"/>
                    <a:gd name="connsiteX109" fmla="*/ 477173 w 1984332"/>
                    <a:gd name="connsiteY109" fmla="*/ 1263497 h 1520187"/>
                    <a:gd name="connsiteX110" fmla="*/ 544381 w 1984332"/>
                    <a:gd name="connsiteY110" fmla="*/ 1364308 h 1520187"/>
                    <a:gd name="connsiteX111" fmla="*/ 510777 w 1984332"/>
                    <a:gd name="connsiteY111" fmla="*/ 1444957 h 1520187"/>
                    <a:gd name="connsiteX112" fmla="*/ 423407 w 1984332"/>
                    <a:gd name="connsiteY112" fmla="*/ 1478561 h 1520187"/>
                    <a:gd name="connsiteX113" fmla="*/ 423407 w 1984332"/>
                    <a:gd name="connsiteY113" fmla="*/ 1478561 h 1520187"/>
                    <a:gd name="connsiteX114" fmla="*/ 342758 w 1984332"/>
                    <a:gd name="connsiteY114" fmla="*/ 1444957 h 1520187"/>
                    <a:gd name="connsiteX115" fmla="*/ 309154 w 1984332"/>
                    <a:gd name="connsiteY115" fmla="*/ 1364308 h 1520187"/>
                    <a:gd name="connsiteX116" fmla="*/ 383083 w 1984332"/>
                    <a:gd name="connsiteY116" fmla="*/ 1256777 h 1520187"/>
                    <a:gd name="connsiteX117" fmla="*/ 396524 w 1984332"/>
                    <a:gd name="connsiteY117" fmla="*/ 1236614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96524 w 1984332"/>
                    <a:gd name="connsiteY120" fmla="*/ 1162686 h 1520187"/>
                    <a:gd name="connsiteX121" fmla="*/ 376362 w 1984332"/>
                    <a:gd name="connsiteY121" fmla="*/ 1142524 h 1520187"/>
                    <a:gd name="connsiteX122" fmla="*/ 376362 w 1984332"/>
                    <a:gd name="connsiteY122" fmla="*/ 1142524 h 1520187"/>
                    <a:gd name="connsiteX123" fmla="*/ 40324 w 1984332"/>
                    <a:gd name="connsiteY123" fmla="*/ 1142524 h 1520187"/>
                    <a:gd name="connsiteX124" fmla="*/ 40324 w 1984332"/>
                    <a:gd name="connsiteY124" fmla="*/ 833371 h 1520187"/>
                    <a:gd name="connsiteX125" fmla="*/ 80649 w 1984332"/>
                    <a:gd name="connsiteY125" fmla="*/ 833371 h 1520187"/>
                    <a:gd name="connsiteX126" fmla="*/ 221785 w 1984332"/>
                    <a:gd name="connsiteY126" fmla="*/ 920740 h 1520187"/>
                    <a:gd name="connsiteX127" fmla="*/ 221785 w 1984332"/>
                    <a:gd name="connsiteY127" fmla="*/ 920740 h 1520187"/>
                    <a:gd name="connsiteX128" fmla="*/ 376362 w 1984332"/>
                    <a:gd name="connsiteY128" fmla="*/ 766163 h 1520187"/>
                    <a:gd name="connsiteX129" fmla="*/ 221785 w 1984332"/>
                    <a:gd name="connsiteY129" fmla="*/ 604866 h 1520187"/>
                    <a:gd name="connsiteX130" fmla="*/ 221785 w 1984332"/>
                    <a:gd name="connsiteY130" fmla="*/ 604866 h 1520187"/>
                    <a:gd name="connsiteX131" fmla="*/ 87370 w 1984332"/>
                    <a:gd name="connsiteY131" fmla="*/ 678794 h 1520187"/>
                    <a:gd name="connsiteX132" fmla="*/ 40324 w 1984332"/>
                    <a:gd name="connsiteY132" fmla="*/ 678794 h 1520187"/>
                    <a:gd name="connsiteX133" fmla="*/ 40324 w 1984332"/>
                    <a:gd name="connsiteY133" fmla="*/ 376361 h 1520187"/>
                    <a:gd name="connsiteX134" fmla="*/ 369641 w 1984332"/>
                    <a:gd name="connsiteY134" fmla="*/ 376361 h 1520187"/>
                    <a:gd name="connsiteX135" fmla="*/ 383083 w 1984332"/>
                    <a:gd name="connsiteY135" fmla="*/ 369640 h 1520187"/>
                    <a:gd name="connsiteX136" fmla="*/ 389803 w 1984332"/>
                    <a:gd name="connsiteY136" fmla="*/ 356199 h 1520187"/>
                    <a:gd name="connsiteX137" fmla="*/ 389803 w 1984332"/>
                    <a:gd name="connsiteY137" fmla="*/ 275550 h 1520187"/>
                    <a:gd name="connsiteX138" fmla="*/ 376362 w 1984332"/>
                    <a:gd name="connsiteY138" fmla="*/ 255388 h 1520187"/>
                    <a:gd name="connsiteX139" fmla="*/ 309154 w 1984332"/>
                    <a:gd name="connsiteY139" fmla="*/ 154577 h 1520187"/>
                    <a:gd name="connsiteX140" fmla="*/ 423407 w 1984332"/>
                    <a:gd name="connsiteY140" fmla="*/ 40324 h 1520187"/>
                    <a:gd name="connsiteX141" fmla="*/ 504056 w 1984332"/>
                    <a:gd name="connsiteY141" fmla="*/ 73928 h 1520187"/>
                    <a:gd name="connsiteX142" fmla="*/ 537660 w 1984332"/>
                    <a:gd name="connsiteY142" fmla="*/ 154577 h 1520187"/>
                    <a:gd name="connsiteX143" fmla="*/ 470452 w 1984332"/>
                    <a:gd name="connsiteY143" fmla="*/ 262109 h 1520187"/>
                    <a:gd name="connsiteX144" fmla="*/ 457011 w 1984332"/>
                    <a:gd name="connsiteY144" fmla="*/ 282271 h 1520187"/>
                    <a:gd name="connsiteX145" fmla="*/ 457011 w 1984332"/>
                    <a:gd name="connsiteY145" fmla="*/ 362919 h 1520187"/>
                    <a:gd name="connsiteX146" fmla="*/ 477173 w 1984332"/>
                    <a:gd name="connsiteY146" fmla="*/ 383082 h 1520187"/>
                    <a:gd name="connsiteX147" fmla="*/ 477173 w 1984332"/>
                    <a:gd name="connsiteY147" fmla="*/ 383082 h 1520187"/>
                    <a:gd name="connsiteX148" fmla="*/ 806490 w 1984332"/>
                    <a:gd name="connsiteY148" fmla="*/ 383082 h 1520187"/>
                    <a:gd name="connsiteX149" fmla="*/ 806490 w 1984332"/>
                    <a:gd name="connsiteY149" fmla="*/ 631749 h 1520187"/>
                    <a:gd name="connsiteX150" fmla="*/ 806490 w 1984332"/>
                    <a:gd name="connsiteY150" fmla="*/ 685515 h 1520187"/>
                    <a:gd name="connsiteX151" fmla="*/ 766165 w 1984332"/>
                    <a:gd name="connsiteY151" fmla="*/ 685515 h 1520187"/>
                    <a:gd name="connsiteX152" fmla="*/ 631750 w 1984332"/>
                    <a:gd name="connsiteY152" fmla="*/ 604866 h 1520187"/>
                    <a:gd name="connsiteX153" fmla="*/ 631750 w 1984332"/>
                    <a:gd name="connsiteY153" fmla="*/ 604866 h 1520187"/>
                    <a:gd name="connsiteX154" fmla="*/ 517497 w 1984332"/>
                    <a:gd name="connsiteY154" fmla="*/ 651911 h 1520187"/>
                    <a:gd name="connsiteX155" fmla="*/ 470452 w 1984332"/>
                    <a:gd name="connsiteY155" fmla="*/ 759443 h 1520187"/>
                    <a:gd name="connsiteX156" fmla="*/ 517497 w 1984332"/>
                    <a:gd name="connsiteY156" fmla="*/ 866974 h 1520187"/>
                    <a:gd name="connsiteX157" fmla="*/ 625029 w 1984332"/>
                    <a:gd name="connsiteY157" fmla="*/ 914019 h 1520187"/>
                    <a:gd name="connsiteX158" fmla="*/ 625029 w 1984332"/>
                    <a:gd name="connsiteY158" fmla="*/ 914019 h 1520187"/>
                    <a:gd name="connsiteX159" fmla="*/ 766165 w 1984332"/>
                    <a:gd name="connsiteY159" fmla="*/ 826650 h 1520187"/>
                    <a:gd name="connsiteX160" fmla="*/ 799769 w 1984332"/>
                    <a:gd name="connsiteY160" fmla="*/ 826650 h 1520187"/>
                    <a:gd name="connsiteX161" fmla="*/ 799769 w 1984332"/>
                    <a:gd name="connsiteY161" fmla="*/ 1135803 h 1520187"/>
                    <a:gd name="connsiteX162" fmla="*/ 483894 w 1984332"/>
                    <a:gd name="connsiteY162" fmla="*/ 1142524 h 1520187"/>
                    <a:gd name="connsiteX163" fmla="*/ 1915413 w 1984332"/>
                    <a:gd name="connsiteY163" fmla="*/ 840091 h 1520187"/>
                    <a:gd name="connsiteX164" fmla="*/ 1834764 w 1984332"/>
                    <a:gd name="connsiteY164" fmla="*/ 873695 h 1520187"/>
                    <a:gd name="connsiteX165" fmla="*/ 1834764 w 1984332"/>
                    <a:gd name="connsiteY165" fmla="*/ 873695 h 1520187"/>
                    <a:gd name="connsiteX166" fmla="*/ 1733953 w 1984332"/>
                    <a:gd name="connsiteY166" fmla="*/ 806488 h 1520187"/>
                    <a:gd name="connsiteX167" fmla="*/ 1713790 w 1984332"/>
                    <a:gd name="connsiteY167" fmla="*/ 793046 h 1520187"/>
                    <a:gd name="connsiteX168" fmla="*/ 1713790 w 1984332"/>
                    <a:gd name="connsiteY168" fmla="*/ 793046 h 1520187"/>
                    <a:gd name="connsiteX169" fmla="*/ 1633141 w 1984332"/>
                    <a:gd name="connsiteY169" fmla="*/ 793046 h 1520187"/>
                    <a:gd name="connsiteX170" fmla="*/ 1612979 w 1984332"/>
                    <a:gd name="connsiteY170" fmla="*/ 813208 h 1520187"/>
                    <a:gd name="connsiteX171" fmla="*/ 1612979 w 1984332"/>
                    <a:gd name="connsiteY171" fmla="*/ 1142524 h 1520187"/>
                    <a:gd name="connsiteX172" fmla="*/ 1310546 w 1984332"/>
                    <a:gd name="connsiteY172" fmla="*/ 1142524 h 1520187"/>
                    <a:gd name="connsiteX173" fmla="*/ 1310546 w 1984332"/>
                    <a:gd name="connsiteY173" fmla="*/ 1102200 h 1520187"/>
                    <a:gd name="connsiteX174" fmla="*/ 1384474 w 1984332"/>
                    <a:gd name="connsiteY174" fmla="*/ 967785 h 1520187"/>
                    <a:gd name="connsiteX175" fmla="*/ 1337429 w 1984332"/>
                    <a:gd name="connsiteY175" fmla="*/ 860254 h 1520187"/>
                    <a:gd name="connsiteX176" fmla="*/ 1229897 w 1984332"/>
                    <a:gd name="connsiteY176" fmla="*/ 813208 h 1520187"/>
                    <a:gd name="connsiteX177" fmla="*/ 1229897 w 1984332"/>
                    <a:gd name="connsiteY177" fmla="*/ 813208 h 1520187"/>
                    <a:gd name="connsiteX178" fmla="*/ 1122365 w 1984332"/>
                    <a:gd name="connsiteY178" fmla="*/ 860254 h 1520187"/>
                    <a:gd name="connsiteX179" fmla="*/ 1075320 w 1984332"/>
                    <a:gd name="connsiteY179" fmla="*/ 967785 h 1520187"/>
                    <a:gd name="connsiteX180" fmla="*/ 1162689 w 1984332"/>
                    <a:gd name="connsiteY180" fmla="*/ 1108921 h 1520187"/>
                    <a:gd name="connsiteX181" fmla="*/ 1162689 w 1984332"/>
                    <a:gd name="connsiteY181" fmla="*/ 1142524 h 1520187"/>
                    <a:gd name="connsiteX182" fmla="*/ 853535 w 1984332"/>
                    <a:gd name="connsiteY182" fmla="*/ 1142524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19929 h 1520187"/>
                    <a:gd name="connsiteX185" fmla="*/ 853535 w 1984332"/>
                    <a:gd name="connsiteY185" fmla="*/ 806488 h 1520187"/>
                    <a:gd name="connsiteX186" fmla="*/ 846814 w 1984332"/>
                    <a:gd name="connsiteY186" fmla="*/ 793046 h 1520187"/>
                    <a:gd name="connsiteX187" fmla="*/ 833373 w 1984332"/>
                    <a:gd name="connsiteY187" fmla="*/ 786325 h 1520187"/>
                    <a:gd name="connsiteX188" fmla="*/ 833373 w 1984332"/>
                    <a:gd name="connsiteY188" fmla="*/ 786325 h 1520187"/>
                    <a:gd name="connsiteX189" fmla="*/ 759444 w 1984332"/>
                    <a:gd name="connsiteY189" fmla="*/ 786325 h 1520187"/>
                    <a:gd name="connsiteX190" fmla="*/ 739282 w 1984332"/>
                    <a:gd name="connsiteY190" fmla="*/ 799767 h 1520187"/>
                    <a:gd name="connsiteX191" fmla="*/ 631750 w 1984332"/>
                    <a:gd name="connsiteY191" fmla="*/ 873695 h 1520187"/>
                    <a:gd name="connsiteX192" fmla="*/ 631750 w 1984332"/>
                    <a:gd name="connsiteY192" fmla="*/ 873695 h 1520187"/>
                    <a:gd name="connsiteX193" fmla="*/ 551101 w 1984332"/>
                    <a:gd name="connsiteY193" fmla="*/ 840091 h 1520187"/>
                    <a:gd name="connsiteX194" fmla="*/ 517497 w 1984332"/>
                    <a:gd name="connsiteY194" fmla="*/ 759443 h 1520187"/>
                    <a:gd name="connsiteX195" fmla="*/ 551101 w 1984332"/>
                    <a:gd name="connsiteY195" fmla="*/ 678794 h 1520187"/>
                    <a:gd name="connsiteX196" fmla="*/ 631750 w 1984332"/>
                    <a:gd name="connsiteY196" fmla="*/ 645190 h 1520187"/>
                    <a:gd name="connsiteX197" fmla="*/ 631750 w 1984332"/>
                    <a:gd name="connsiteY197" fmla="*/ 645190 h 1520187"/>
                    <a:gd name="connsiteX198" fmla="*/ 732561 w 1984332"/>
                    <a:gd name="connsiteY198" fmla="*/ 712397 h 1520187"/>
                    <a:gd name="connsiteX199" fmla="*/ 752724 w 1984332"/>
                    <a:gd name="connsiteY199" fmla="*/ 725839 h 1520187"/>
                    <a:gd name="connsiteX200" fmla="*/ 752724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26652 w 1984332"/>
                    <a:gd name="connsiteY202" fmla="*/ 725839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0093 w 1984332"/>
                    <a:gd name="connsiteY205" fmla="*/ 719118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705677 h 1520187"/>
                    <a:gd name="connsiteX210" fmla="*/ 846814 w 1984332"/>
                    <a:gd name="connsiteY210" fmla="*/ 383082 h 1520187"/>
                    <a:gd name="connsiteX211" fmla="*/ 1155969 w 1984332"/>
                    <a:gd name="connsiteY211" fmla="*/ 383082 h 1520187"/>
                    <a:gd name="connsiteX212" fmla="*/ 1155969 w 1984332"/>
                    <a:gd name="connsiteY212" fmla="*/ 423406 h 1520187"/>
                    <a:gd name="connsiteX213" fmla="*/ 1089608 w 1984332"/>
                    <a:gd name="connsiteY213" fmla="*/ 560202 h 1520187"/>
                    <a:gd name="connsiteX214" fmla="*/ 1139409 w 1984332"/>
                    <a:gd name="connsiteY214" fmla="*/ 664773 h 1520187"/>
                    <a:gd name="connsiteX215" fmla="*/ 1241803 w 1984332"/>
                    <a:gd name="connsiteY215" fmla="*/ 712400 h 1520187"/>
                    <a:gd name="connsiteX216" fmla="*/ 1354098 w 1984332"/>
                    <a:gd name="connsiteY216" fmla="*/ 670115 h 1520187"/>
                    <a:gd name="connsiteX217" fmla="*/ 1396380 w 1984332"/>
                    <a:gd name="connsiteY217" fmla="*/ 553058 h 1520187"/>
                    <a:gd name="connsiteX218" fmla="*/ 1310546 w 1984332"/>
                    <a:gd name="connsiteY218" fmla="*/ 423406 h 1520187"/>
                    <a:gd name="connsiteX219" fmla="*/ 1310546 w 1984332"/>
                    <a:gd name="connsiteY219" fmla="*/ 376361 h 1520187"/>
                    <a:gd name="connsiteX220" fmla="*/ 1612979 w 1984332"/>
                    <a:gd name="connsiteY220" fmla="*/ 376361 h 1520187"/>
                    <a:gd name="connsiteX221" fmla="*/ 1612979 w 1984332"/>
                    <a:gd name="connsiteY221" fmla="*/ 705677 h 1520187"/>
                    <a:gd name="connsiteX222" fmla="*/ 1633141 w 1984332"/>
                    <a:gd name="connsiteY222" fmla="*/ 725839 h 1520187"/>
                    <a:gd name="connsiteX223" fmla="*/ 1633141 w 1984332"/>
                    <a:gd name="connsiteY223" fmla="*/ 725839 h 1520187"/>
                    <a:gd name="connsiteX224" fmla="*/ 1713790 w 1984332"/>
                    <a:gd name="connsiteY224" fmla="*/ 725839 h 1520187"/>
                    <a:gd name="connsiteX225" fmla="*/ 1733953 w 1984332"/>
                    <a:gd name="connsiteY225" fmla="*/ 712397 h 1520187"/>
                    <a:gd name="connsiteX226" fmla="*/ 1834764 w 1984332"/>
                    <a:gd name="connsiteY226" fmla="*/ 645190 h 1520187"/>
                    <a:gd name="connsiteX227" fmla="*/ 1834764 w 1984332"/>
                    <a:gd name="connsiteY227" fmla="*/ 645190 h 1520187"/>
                    <a:gd name="connsiteX228" fmla="*/ 1915413 w 1984332"/>
                    <a:gd name="connsiteY228" fmla="*/ 678794 h 1520187"/>
                    <a:gd name="connsiteX229" fmla="*/ 1949017 w 1984332"/>
                    <a:gd name="connsiteY229" fmla="*/ 759443 h 1520187"/>
                    <a:gd name="connsiteX230" fmla="*/ 1915413 w 1984332"/>
                    <a:gd name="connsiteY230" fmla="*/ 840091 h 1520187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83663 w 1984332"/>
                    <a:gd name="connsiteY13" fmla="*/ 423406 h 1520187"/>
                    <a:gd name="connsiteX14" fmla="*/ 1297104 w 1984332"/>
                    <a:gd name="connsiteY14" fmla="*/ 450289 h 1520187"/>
                    <a:gd name="connsiteX15" fmla="*/ 1357168 w 1984332"/>
                    <a:gd name="connsiteY15" fmla="*/ 551100 h 1520187"/>
                    <a:gd name="connsiteX16" fmla="*/ 1330708 w 1984332"/>
                    <a:gd name="connsiteY16" fmla="*/ 631749 h 1520187"/>
                    <a:gd name="connsiteX17" fmla="*/ 1250059 w 1984332"/>
                    <a:gd name="connsiteY17" fmla="*/ 665352 h 1520187"/>
                    <a:gd name="connsiteX18" fmla="*/ 1135806 w 1984332"/>
                    <a:gd name="connsiteY18" fmla="*/ 551100 h 1520187"/>
                    <a:gd name="connsiteX19" fmla="*/ 1209734 w 1984332"/>
                    <a:gd name="connsiteY19" fmla="*/ 443568 h 1520187"/>
                    <a:gd name="connsiteX20" fmla="*/ 1223176 w 1984332"/>
                    <a:gd name="connsiteY20" fmla="*/ 423406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223176 w 1984332"/>
                    <a:gd name="connsiteY23" fmla="*/ 349478 h 1520187"/>
                    <a:gd name="connsiteX24" fmla="*/ 1182852 w 1984332"/>
                    <a:gd name="connsiteY24" fmla="*/ 336037 h 1520187"/>
                    <a:gd name="connsiteX25" fmla="*/ 11828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826652 w 1984332"/>
                    <a:gd name="connsiteY28" fmla="*/ 336037 h 1520187"/>
                    <a:gd name="connsiteX29" fmla="*/ 497335 w 1984332"/>
                    <a:gd name="connsiteY29" fmla="*/ 336037 h 1520187"/>
                    <a:gd name="connsiteX30" fmla="*/ 497335 w 1984332"/>
                    <a:gd name="connsiteY30" fmla="*/ 295712 h 1520187"/>
                    <a:gd name="connsiteX31" fmla="*/ 584705 w 1984332"/>
                    <a:gd name="connsiteY31" fmla="*/ 154577 h 1520187"/>
                    <a:gd name="connsiteX32" fmla="*/ 537660 w 1984332"/>
                    <a:gd name="connsiteY32" fmla="*/ 47045 h 1520187"/>
                    <a:gd name="connsiteX33" fmla="*/ 423407 w 1984332"/>
                    <a:gd name="connsiteY33" fmla="*/ 0 h 1520187"/>
                    <a:gd name="connsiteX34" fmla="*/ 423407 w 1984332"/>
                    <a:gd name="connsiteY34" fmla="*/ 0 h 1520187"/>
                    <a:gd name="connsiteX35" fmla="*/ 268830 w 1984332"/>
                    <a:gd name="connsiteY35" fmla="*/ 154577 h 1520187"/>
                    <a:gd name="connsiteX36" fmla="*/ 349479 w 1984332"/>
                    <a:gd name="connsiteY36" fmla="*/ 288991 h 1520187"/>
                    <a:gd name="connsiteX37" fmla="*/ 349479 w 1984332"/>
                    <a:gd name="connsiteY37" fmla="*/ 329316 h 1520187"/>
                    <a:gd name="connsiteX38" fmla="*/ 20162 w 1984332"/>
                    <a:gd name="connsiteY38" fmla="*/ 336037 h 1520187"/>
                    <a:gd name="connsiteX39" fmla="*/ 0 w 1984332"/>
                    <a:gd name="connsiteY39" fmla="*/ 356199 h 1520187"/>
                    <a:gd name="connsiteX40" fmla="*/ 0 w 1984332"/>
                    <a:gd name="connsiteY40" fmla="*/ 698956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20162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94090 w 1984332"/>
                    <a:gd name="connsiteY46" fmla="*/ 719118 h 1520187"/>
                    <a:gd name="connsiteX47" fmla="*/ 120973 w 1984332"/>
                    <a:gd name="connsiteY47" fmla="*/ 705677 h 1520187"/>
                    <a:gd name="connsiteX48" fmla="*/ 221785 w 1984332"/>
                    <a:gd name="connsiteY48" fmla="*/ 638469 h 1520187"/>
                    <a:gd name="connsiteX49" fmla="*/ 221785 w 1984332"/>
                    <a:gd name="connsiteY49" fmla="*/ 638469 h 1520187"/>
                    <a:gd name="connsiteX50" fmla="*/ 336037 w 1984332"/>
                    <a:gd name="connsiteY50" fmla="*/ 752722 h 1520187"/>
                    <a:gd name="connsiteX51" fmla="*/ 221785 w 1984332"/>
                    <a:gd name="connsiteY51" fmla="*/ 873695 h 1520187"/>
                    <a:gd name="connsiteX52" fmla="*/ 221785 w 1984332"/>
                    <a:gd name="connsiteY52" fmla="*/ 873695 h 1520187"/>
                    <a:gd name="connsiteX53" fmla="*/ 114253 w 1984332"/>
                    <a:gd name="connsiteY53" fmla="*/ 799767 h 1520187"/>
                    <a:gd name="connsiteX54" fmla="*/ 94090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20162 w 1984332"/>
                    <a:gd name="connsiteY59" fmla="*/ 786325 h 1520187"/>
                    <a:gd name="connsiteX60" fmla="*/ 0 w 1984332"/>
                    <a:gd name="connsiteY60" fmla="*/ 806488 h 1520187"/>
                    <a:gd name="connsiteX61" fmla="*/ 0 w 1984332"/>
                    <a:gd name="connsiteY61" fmla="*/ 1162686 h 1520187"/>
                    <a:gd name="connsiteX62" fmla="*/ 20162 w 1984332"/>
                    <a:gd name="connsiteY62" fmla="*/ 1182849 h 1520187"/>
                    <a:gd name="connsiteX63" fmla="*/ 20162 w 1984332"/>
                    <a:gd name="connsiteY63" fmla="*/ 1182849 h 1520187"/>
                    <a:gd name="connsiteX64" fmla="*/ 356200 w 1984332"/>
                    <a:gd name="connsiteY64" fmla="*/ 1182849 h 1520187"/>
                    <a:gd name="connsiteX65" fmla="*/ 356200 w 1984332"/>
                    <a:gd name="connsiteY65" fmla="*/ 1223173 h 1520187"/>
                    <a:gd name="connsiteX66" fmla="*/ 268830 w 1984332"/>
                    <a:gd name="connsiteY66" fmla="*/ 1364308 h 1520187"/>
                    <a:gd name="connsiteX67" fmla="*/ 315875 w 1984332"/>
                    <a:gd name="connsiteY67" fmla="*/ 1471840 h 1520187"/>
                    <a:gd name="connsiteX68" fmla="*/ 423407 w 1984332"/>
                    <a:gd name="connsiteY68" fmla="*/ 1518885 h 1520187"/>
                    <a:gd name="connsiteX69" fmla="*/ 423407 w 1984332"/>
                    <a:gd name="connsiteY69" fmla="*/ 1518885 h 1520187"/>
                    <a:gd name="connsiteX70" fmla="*/ 537660 w 1984332"/>
                    <a:gd name="connsiteY70" fmla="*/ 1478561 h 1520187"/>
                    <a:gd name="connsiteX71" fmla="*/ 584705 w 1984332"/>
                    <a:gd name="connsiteY71" fmla="*/ 1371029 h 1520187"/>
                    <a:gd name="connsiteX72" fmla="*/ 510777 w 1984332"/>
                    <a:gd name="connsiteY72" fmla="*/ 1236614 h 1520187"/>
                    <a:gd name="connsiteX73" fmla="*/ 510777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833373 w 1984332"/>
                    <a:gd name="connsiteY76" fmla="*/ 1189569 h 1520187"/>
                    <a:gd name="connsiteX77" fmla="*/ 1189572 w 1984332"/>
                    <a:gd name="connsiteY77" fmla="*/ 1189569 h 1520187"/>
                    <a:gd name="connsiteX78" fmla="*/ 1203014 w 1984332"/>
                    <a:gd name="connsiteY78" fmla="*/ 1182849 h 1520187"/>
                    <a:gd name="connsiteX79" fmla="*/ 1209734 w 1984332"/>
                    <a:gd name="connsiteY79" fmla="*/ 1169407 h 1520187"/>
                    <a:gd name="connsiteX80" fmla="*/ 1209734 w 1984332"/>
                    <a:gd name="connsiteY80" fmla="*/ 1095479 h 1520187"/>
                    <a:gd name="connsiteX81" fmla="*/ 1196293 w 1984332"/>
                    <a:gd name="connsiteY81" fmla="*/ 1075317 h 1520187"/>
                    <a:gd name="connsiteX82" fmla="*/ 1122365 w 1984332"/>
                    <a:gd name="connsiteY82" fmla="*/ 967785 h 1520187"/>
                    <a:gd name="connsiteX83" fmla="*/ 1155969 w 1984332"/>
                    <a:gd name="connsiteY83" fmla="*/ 887136 h 1520187"/>
                    <a:gd name="connsiteX84" fmla="*/ 1236617 w 1984332"/>
                    <a:gd name="connsiteY84" fmla="*/ 853533 h 1520187"/>
                    <a:gd name="connsiteX85" fmla="*/ 1236617 w 1984332"/>
                    <a:gd name="connsiteY85" fmla="*/ 853533 h 1520187"/>
                    <a:gd name="connsiteX86" fmla="*/ 1317266 w 1984332"/>
                    <a:gd name="connsiteY86" fmla="*/ 887136 h 1520187"/>
                    <a:gd name="connsiteX87" fmla="*/ 1350870 w 1984332"/>
                    <a:gd name="connsiteY87" fmla="*/ 967785 h 1520187"/>
                    <a:gd name="connsiteX88" fmla="*/ 1283663 w 1984332"/>
                    <a:gd name="connsiteY88" fmla="*/ 1068596 h 1520187"/>
                    <a:gd name="connsiteX89" fmla="*/ 1270221 w 1984332"/>
                    <a:gd name="connsiteY89" fmla="*/ 1088758 h 1520187"/>
                    <a:gd name="connsiteX90" fmla="*/ 1270221 w 1984332"/>
                    <a:gd name="connsiteY90" fmla="*/ 1162686 h 1520187"/>
                    <a:gd name="connsiteX91" fmla="*/ 1276942 w 1984332"/>
                    <a:gd name="connsiteY91" fmla="*/ 1176128 h 1520187"/>
                    <a:gd name="connsiteX92" fmla="*/ 1290383 w 1984332"/>
                    <a:gd name="connsiteY92" fmla="*/ 1182849 h 1520187"/>
                    <a:gd name="connsiteX93" fmla="*/ 1290383 w 1984332"/>
                    <a:gd name="connsiteY93" fmla="*/ 1182849 h 1520187"/>
                    <a:gd name="connsiteX94" fmla="*/ 1633141 w 1984332"/>
                    <a:gd name="connsiteY94" fmla="*/ 1182849 h 1520187"/>
                    <a:gd name="connsiteX95" fmla="*/ 1653304 w 1984332"/>
                    <a:gd name="connsiteY95" fmla="*/ 1162686 h 1520187"/>
                    <a:gd name="connsiteX96" fmla="*/ 1653304 w 1984332"/>
                    <a:gd name="connsiteY96" fmla="*/ 833371 h 1520187"/>
                    <a:gd name="connsiteX97" fmla="*/ 1693628 w 1984332"/>
                    <a:gd name="connsiteY97" fmla="*/ 833371 h 1520187"/>
                    <a:gd name="connsiteX98" fmla="*/ 1828043 w 1984332"/>
                    <a:gd name="connsiteY98" fmla="*/ 914019 h 1520187"/>
                    <a:gd name="connsiteX99" fmla="*/ 1828043 w 1984332"/>
                    <a:gd name="connsiteY99" fmla="*/ 914019 h 1520187"/>
                    <a:gd name="connsiteX100" fmla="*/ 1935575 w 1984332"/>
                    <a:gd name="connsiteY100" fmla="*/ 866974 h 1520187"/>
                    <a:gd name="connsiteX101" fmla="*/ 1982620 w 1984332"/>
                    <a:gd name="connsiteY101" fmla="*/ 759443 h 1520187"/>
                    <a:gd name="connsiteX102" fmla="*/ 1949017 w 1984332"/>
                    <a:gd name="connsiteY102" fmla="*/ 645190 h 1520187"/>
                    <a:gd name="connsiteX103" fmla="*/ 483894 w 1984332"/>
                    <a:gd name="connsiteY103" fmla="*/ 1142524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162686 h 1520187"/>
                    <a:gd name="connsiteX107" fmla="*/ 463732 w 1984332"/>
                    <a:gd name="connsiteY107" fmla="*/ 1236614 h 1520187"/>
                    <a:gd name="connsiteX108" fmla="*/ 463732 w 1984332"/>
                    <a:gd name="connsiteY108" fmla="*/ 1236614 h 1520187"/>
                    <a:gd name="connsiteX109" fmla="*/ 477173 w 1984332"/>
                    <a:gd name="connsiteY109" fmla="*/ 1263497 h 1520187"/>
                    <a:gd name="connsiteX110" fmla="*/ 544381 w 1984332"/>
                    <a:gd name="connsiteY110" fmla="*/ 1364308 h 1520187"/>
                    <a:gd name="connsiteX111" fmla="*/ 510777 w 1984332"/>
                    <a:gd name="connsiteY111" fmla="*/ 1444957 h 1520187"/>
                    <a:gd name="connsiteX112" fmla="*/ 423407 w 1984332"/>
                    <a:gd name="connsiteY112" fmla="*/ 1478561 h 1520187"/>
                    <a:gd name="connsiteX113" fmla="*/ 423407 w 1984332"/>
                    <a:gd name="connsiteY113" fmla="*/ 1478561 h 1520187"/>
                    <a:gd name="connsiteX114" fmla="*/ 342758 w 1984332"/>
                    <a:gd name="connsiteY114" fmla="*/ 1444957 h 1520187"/>
                    <a:gd name="connsiteX115" fmla="*/ 309154 w 1984332"/>
                    <a:gd name="connsiteY115" fmla="*/ 1364308 h 1520187"/>
                    <a:gd name="connsiteX116" fmla="*/ 383083 w 1984332"/>
                    <a:gd name="connsiteY116" fmla="*/ 1256777 h 1520187"/>
                    <a:gd name="connsiteX117" fmla="*/ 396524 w 1984332"/>
                    <a:gd name="connsiteY117" fmla="*/ 1236614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96524 w 1984332"/>
                    <a:gd name="connsiteY120" fmla="*/ 1162686 h 1520187"/>
                    <a:gd name="connsiteX121" fmla="*/ 376362 w 1984332"/>
                    <a:gd name="connsiteY121" fmla="*/ 1142524 h 1520187"/>
                    <a:gd name="connsiteX122" fmla="*/ 376362 w 1984332"/>
                    <a:gd name="connsiteY122" fmla="*/ 1142524 h 1520187"/>
                    <a:gd name="connsiteX123" fmla="*/ 40324 w 1984332"/>
                    <a:gd name="connsiteY123" fmla="*/ 1142524 h 1520187"/>
                    <a:gd name="connsiteX124" fmla="*/ 40324 w 1984332"/>
                    <a:gd name="connsiteY124" fmla="*/ 833371 h 1520187"/>
                    <a:gd name="connsiteX125" fmla="*/ 80649 w 1984332"/>
                    <a:gd name="connsiteY125" fmla="*/ 833371 h 1520187"/>
                    <a:gd name="connsiteX126" fmla="*/ 221785 w 1984332"/>
                    <a:gd name="connsiteY126" fmla="*/ 920740 h 1520187"/>
                    <a:gd name="connsiteX127" fmla="*/ 221785 w 1984332"/>
                    <a:gd name="connsiteY127" fmla="*/ 920740 h 1520187"/>
                    <a:gd name="connsiteX128" fmla="*/ 376362 w 1984332"/>
                    <a:gd name="connsiteY128" fmla="*/ 766163 h 1520187"/>
                    <a:gd name="connsiteX129" fmla="*/ 221785 w 1984332"/>
                    <a:gd name="connsiteY129" fmla="*/ 604866 h 1520187"/>
                    <a:gd name="connsiteX130" fmla="*/ 221785 w 1984332"/>
                    <a:gd name="connsiteY130" fmla="*/ 604866 h 1520187"/>
                    <a:gd name="connsiteX131" fmla="*/ 87370 w 1984332"/>
                    <a:gd name="connsiteY131" fmla="*/ 678794 h 1520187"/>
                    <a:gd name="connsiteX132" fmla="*/ 40324 w 1984332"/>
                    <a:gd name="connsiteY132" fmla="*/ 678794 h 1520187"/>
                    <a:gd name="connsiteX133" fmla="*/ 40324 w 1984332"/>
                    <a:gd name="connsiteY133" fmla="*/ 376361 h 1520187"/>
                    <a:gd name="connsiteX134" fmla="*/ 369641 w 1984332"/>
                    <a:gd name="connsiteY134" fmla="*/ 376361 h 1520187"/>
                    <a:gd name="connsiteX135" fmla="*/ 383083 w 1984332"/>
                    <a:gd name="connsiteY135" fmla="*/ 369640 h 1520187"/>
                    <a:gd name="connsiteX136" fmla="*/ 389803 w 1984332"/>
                    <a:gd name="connsiteY136" fmla="*/ 356199 h 1520187"/>
                    <a:gd name="connsiteX137" fmla="*/ 389803 w 1984332"/>
                    <a:gd name="connsiteY137" fmla="*/ 275550 h 1520187"/>
                    <a:gd name="connsiteX138" fmla="*/ 376362 w 1984332"/>
                    <a:gd name="connsiteY138" fmla="*/ 255388 h 1520187"/>
                    <a:gd name="connsiteX139" fmla="*/ 309154 w 1984332"/>
                    <a:gd name="connsiteY139" fmla="*/ 154577 h 1520187"/>
                    <a:gd name="connsiteX140" fmla="*/ 423407 w 1984332"/>
                    <a:gd name="connsiteY140" fmla="*/ 40324 h 1520187"/>
                    <a:gd name="connsiteX141" fmla="*/ 504056 w 1984332"/>
                    <a:gd name="connsiteY141" fmla="*/ 73928 h 1520187"/>
                    <a:gd name="connsiteX142" fmla="*/ 537660 w 1984332"/>
                    <a:gd name="connsiteY142" fmla="*/ 154577 h 1520187"/>
                    <a:gd name="connsiteX143" fmla="*/ 470452 w 1984332"/>
                    <a:gd name="connsiteY143" fmla="*/ 262109 h 1520187"/>
                    <a:gd name="connsiteX144" fmla="*/ 457011 w 1984332"/>
                    <a:gd name="connsiteY144" fmla="*/ 282271 h 1520187"/>
                    <a:gd name="connsiteX145" fmla="*/ 457011 w 1984332"/>
                    <a:gd name="connsiteY145" fmla="*/ 362919 h 1520187"/>
                    <a:gd name="connsiteX146" fmla="*/ 477173 w 1984332"/>
                    <a:gd name="connsiteY146" fmla="*/ 383082 h 1520187"/>
                    <a:gd name="connsiteX147" fmla="*/ 477173 w 1984332"/>
                    <a:gd name="connsiteY147" fmla="*/ 383082 h 1520187"/>
                    <a:gd name="connsiteX148" fmla="*/ 806490 w 1984332"/>
                    <a:gd name="connsiteY148" fmla="*/ 383082 h 1520187"/>
                    <a:gd name="connsiteX149" fmla="*/ 806490 w 1984332"/>
                    <a:gd name="connsiteY149" fmla="*/ 631749 h 1520187"/>
                    <a:gd name="connsiteX150" fmla="*/ 806490 w 1984332"/>
                    <a:gd name="connsiteY150" fmla="*/ 685515 h 1520187"/>
                    <a:gd name="connsiteX151" fmla="*/ 766165 w 1984332"/>
                    <a:gd name="connsiteY151" fmla="*/ 685515 h 1520187"/>
                    <a:gd name="connsiteX152" fmla="*/ 631750 w 1984332"/>
                    <a:gd name="connsiteY152" fmla="*/ 604866 h 1520187"/>
                    <a:gd name="connsiteX153" fmla="*/ 631750 w 1984332"/>
                    <a:gd name="connsiteY153" fmla="*/ 604866 h 1520187"/>
                    <a:gd name="connsiteX154" fmla="*/ 517497 w 1984332"/>
                    <a:gd name="connsiteY154" fmla="*/ 651911 h 1520187"/>
                    <a:gd name="connsiteX155" fmla="*/ 470452 w 1984332"/>
                    <a:gd name="connsiteY155" fmla="*/ 759443 h 1520187"/>
                    <a:gd name="connsiteX156" fmla="*/ 517497 w 1984332"/>
                    <a:gd name="connsiteY156" fmla="*/ 866974 h 1520187"/>
                    <a:gd name="connsiteX157" fmla="*/ 625029 w 1984332"/>
                    <a:gd name="connsiteY157" fmla="*/ 914019 h 1520187"/>
                    <a:gd name="connsiteX158" fmla="*/ 625029 w 1984332"/>
                    <a:gd name="connsiteY158" fmla="*/ 914019 h 1520187"/>
                    <a:gd name="connsiteX159" fmla="*/ 766165 w 1984332"/>
                    <a:gd name="connsiteY159" fmla="*/ 826650 h 1520187"/>
                    <a:gd name="connsiteX160" fmla="*/ 799769 w 1984332"/>
                    <a:gd name="connsiteY160" fmla="*/ 826650 h 1520187"/>
                    <a:gd name="connsiteX161" fmla="*/ 799769 w 1984332"/>
                    <a:gd name="connsiteY161" fmla="*/ 1135803 h 1520187"/>
                    <a:gd name="connsiteX162" fmla="*/ 483894 w 1984332"/>
                    <a:gd name="connsiteY162" fmla="*/ 1142524 h 1520187"/>
                    <a:gd name="connsiteX163" fmla="*/ 1915413 w 1984332"/>
                    <a:gd name="connsiteY163" fmla="*/ 840091 h 1520187"/>
                    <a:gd name="connsiteX164" fmla="*/ 1834764 w 1984332"/>
                    <a:gd name="connsiteY164" fmla="*/ 873695 h 1520187"/>
                    <a:gd name="connsiteX165" fmla="*/ 1834764 w 1984332"/>
                    <a:gd name="connsiteY165" fmla="*/ 873695 h 1520187"/>
                    <a:gd name="connsiteX166" fmla="*/ 1733953 w 1984332"/>
                    <a:gd name="connsiteY166" fmla="*/ 806488 h 1520187"/>
                    <a:gd name="connsiteX167" fmla="*/ 1713790 w 1984332"/>
                    <a:gd name="connsiteY167" fmla="*/ 793046 h 1520187"/>
                    <a:gd name="connsiteX168" fmla="*/ 1713790 w 1984332"/>
                    <a:gd name="connsiteY168" fmla="*/ 793046 h 1520187"/>
                    <a:gd name="connsiteX169" fmla="*/ 1633141 w 1984332"/>
                    <a:gd name="connsiteY169" fmla="*/ 793046 h 1520187"/>
                    <a:gd name="connsiteX170" fmla="*/ 1612979 w 1984332"/>
                    <a:gd name="connsiteY170" fmla="*/ 813208 h 1520187"/>
                    <a:gd name="connsiteX171" fmla="*/ 1612979 w 1984332"/>
                    <a:gd name="connsiteY171" fmla="*/ 1142524 h 1520187"/>
                    <a:gd name="connsiteX172" fmla="*/ 1310546 w 1984332"/>
                    <a:gd name="connsiteY172" fmla="*/ 1142524 h 1520187"/>
                    <a:gd name="connsiteX173" fmla="*/ 1310546 w 1984332"/>
                    <a:gd name="connsiteY173" fmla="*/ 1102200 h 1520187"/>
                    <a:gd name="connsiteX174" fmla="*/ 1384474 w 1984332"/>
                    <a:gd name="connsiteY174" fmla="*/ 967785 h 1520187"/>
                    <a:gd name="connsiteX175" fmla="*/ 1337429 w 1984332"/>
                    <a:gd name="connsiteY175" fmla="*/ 860254 h 1520187"/>
                    <a:gd name="connsiteX176" fmla="*/ 1229897 w 1984332"/>
                    <a:gd name="connsiteY176" fmla="*/ 813208 h 1520187"/>
                    <a:gd name="connsiteX177" fmla="*/ 1229897 w 1984332"/>
                    <a:gd name="connsiteY177" fmla="*/ 813208 h 1520187"/>
                    <a:gd name="connsiteX178" fmla="*/ 1122365 w 1984332"/>
                    <a:gd name="connsiteY178" fmla="*/ 860254 h 1520187"/>
                    <a:gd name="connsiteX179" fmla="*/ 1075320 w 1984332"/>
                    <a:gd name="connsiteY179" fmla="*/ 967785 h 1520187"/>
                    <a:gd name="connsiteX180" fmla="*/ 1162689 w 1984332"/>
                    <a:gd name="connsiteY180" fmla="*/ 1108921 h 1520187"/>
                    <a:gd name="connsiteX181" fmla="*/ 1162689 w 1984332"/>
                    <a:gd name="connsiteY181" fmla="*/ 1142524 h 1520187"/>
                    <a:gd name="connsiteX182" fmla="*/ 853535 w 1984332"/>
                    <a:gd name="connsiteY182" fmla="*/ 1142524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19929 h 1520187"/>
                    <a:gd name="connsiteX185" fmla="*/ 853535 w 1984332"/>
                    <a:gd name="connsiteY185" fmla="*/ 806488 h 1520187"/>
                    <a:gd name="connsiteX186" fmla="*/ 846814 w 1984332"/>
                    <a:gd name="connsiteY186" fmla="*/ 793046 h 1520187"/>
                    <a:gd name="connsiteX187" fmla="*/ 833373 w 1984332"/>
                    <a:gd name="connsiteY187" fmla="*/ 786325 h 1520187"/>
                    <a:gd name="connsiteX188" fmla="*/ 833373 w 1984332"/>
                    <a:gd name="connsiteY188" fmla="*/ 786325 h 1520187"/>
                    <a:gd name="connsiteX189" fmla="*/ 759444 w 1984332"/>
                    <a:gd name="connsiteY189" fmla="*/ 786325 h 1520187"/>
                    <a:gd name="connsiteX190" fmla="*/ 739282 w 1984332"/>
                    <a:gd name="connsiteY190" fmla="*/ 799767 h 1520187"/>
                    <a:gd name="connsiteX191" fmla="*/ 631750 w 1984332"/>
                    <a:gd name="connsiteY191" fmla="*/ 873695 h 1520187"/>
                    <a:gd name="connsiteX192" fmla="*/ 631750 w 1984332"/>
                    <a:gd name="connsiteY192" fmla="*/ 873695 h 1520187"/>
                    <a:gd name="connsiteX193" fmla="*/ 551101 w 1984332"/>
                    <a:gd name="connsiteY193" fmla="*/ 840091 h 1520187"/>
                    <a:gd name="connsiteX194" fmla="*/ 517497 w 1984332"/>
                    <a:gd name="connsiteY194" fmla="*/ 759443 h 1520187"/>
                    <a:gd name="connsiteX195" fmla="*/ 551101 w 1984332"/>
                    <a:gd name="connsiteY195" fmla="*/ 678794 h 1520187"/>
                    <a:gd name="connsiteX196" fmla="*/ 631750 w 1984332"/>
                    <a:gd name="connsiteY196" fmla="*/ 645190 h 1520187"/>
                    <a:gd name="connsiteX197" fmla="*/ 631750 w 1984332"/>
                    <a:gd name="connsiteY197" fmla="*/ 645190 h 1520187"/>
                    <a:gd name="connsiteX198" fmla="*/ 732561 w 1984332"/>
                    <a:gd name="connsiteY198" fmla="*/ 712397 h 1520187"/>
                    <a:gd name="connsiteX199" fmla="*/ 752724 w 1984332"/>
                    <a:gd name="connsiteY199" fmla="*/ 725839 h 1520187"/>
                    <a:gd name="connsiteX200" fmla="*/ 752724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26652 w 1984332"/>
                    <a:gd name="connsiteY202" fmla="*/ 725839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0093 w 1984332"/>
                    <a:gd name="connsiteY205" fmla="*/ 719118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705677 h 1520187"/>
                    <a:gd name="connsiteX210" fmla="*/ 846814 w 1984332"/>
                    <a:gd name="connsiteY210" fmla="*/ 383082 h 1520187"/>
                    <a:gd name="connsiteX211" fmla="*/ 1155969 w 1984332"/>
                    <a:gd name="connsiteY211" fmla="*/ 383082 h 1520187"/>
                    <a:gd name="connsiteX212" fmla="*/ 1155969 w 1984332"/>
                    <a:gd name="connsiteY212" fmla="*/ 423406 h 1520187"/>
                    <a:gd name="connsiteX213" fmla="*/ 1084846 w 1984332"/>
                    <a:gd name="connsiteY213" fmla="*/ 555440 h 1520187"/>
                    <a:gd name="connsiteX214" fmla="*/ 1139409 w 1984332"/>
                    <a:gd name="connsiteY214" fmla="*/ 664773 h 1520187"/>
                    <a:gd name="connsiteX215" fmla="*/ 1241803 w 1984332"/>
                    <a:gd name="connsiteY215" fmla="*/ 712400 h 1520187"/>
                    <a:gd name="connsiteX216" fmla="*/ 1354098 w 1984332"/>
                    <a:gd name="connsiteY216" fmla="*/ 670115 h 1520187"/>
                    <a:gd name="connsiteX217" fmla="*/ 1396380 w 1984332"/>
                    <a:gd name="connsiteY217" fmla="*/ 553058 h 1520187"/>
                    <a:gd name="connsiteX218" fmla="*/ 1310546 w 1984332"/>
                    <a:gd name="connsiteY218" fmla="*/ 423406 h 1520187"/>
                    <a:gd name="connsiteX219" fmla="*/ 1310546 w 1984332"/>
                    <a:gd name="connsiteY219" fmla="*/ 376361 h 1520187"/>
                    <a:gd name="connsiteX220" fmla="*/ 1612979 w 1984332"/>
                    <a:gd name="connsiteY220" fmla="*/ 376361 h 1520187"/>
                    <a:gd name="connsiteX221" fmla="*/ 1612979 w 1984332"/>
                    <a:gd name="connsiteY221" fmla="*/ 705677 h 1520187"/>
                    <a:gd name="connsiteX222" fmla="*/ 1633141 w 1984332"/>
                    <a:gd name="connsiteY222" fmla="*/ 725839 h 1520187"/>
                    <a:gd name="connsiteX223" fmla="*/ 1633141 w 1984332"/>
                    <a:gd name="connsiteY223" fmla="*/ 725839 h 1520187"/>
                    <a:gd name="connsiteX224" fmla="*/ 1713790 w 1984332"/>
                    <a:gd name="connsiteY224" fmla="*/ 725839 h 1520187"/>
                    <a:gd name="connsiteX225" fmla="*/ 1733953 w 1984332"/>
                    <a:gd name="connsiteY225" fmla="*/ 712397 h 1520187"/>
                    <a:gd name="connsiteX226" fmla="*/ 1834764 w 1984332"/>
                    <a:gd name="connsiteY226" fmla="*/ 645190 h 1520187"/>
                    <a:gd name="connsiteX227" fmla="*/ 1834764 w 1984332"/>
                    <a:gd name="connsiteY227" fmla="*/ 645190 h 1520187"/>
                    <a:gd name="connsiteX228" fmla="*/ 1915413 w 1984332"/>
                    <a:gd name="connsiteY228" fmla="*/ 678794 h 1520187"/>
                    <a:gd name="connsiteX229" fmla="*/ 1949017 w 1984332"/>
                    <a:gd name="connsiteY229" fmla="*/ 759443 h 1520187"/>
                    <a:gd name="connsiteX230" fmla="*/ 1915413 w 1984332"/>
                    <a:gd name="connsiteY230" fmla="*/ 840091 h 1520187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83663 w 1984332"/>
                    <a:gd name="connsiteY13" fmla="*/ 423406 h 1520187"/>
                    <a:gd name="connsiteX14" fmla="*/ 1294723 w 1984332"/>
                    <a:gd name="connsiteY14" fmla="*/ 450289 h 1520187"/>
                    <a:gd name="connsiteX15" fmla="*/ 1357168 w 1984332"/>
                    <a:gd name="connsiteY15" fmla="*/ 551100 h 1520187"/>
                    <a:gd name="connsiteX16" fmla="*/ 1330708 w 1984332"/>
                    <a:gd name="connsiteY16" fmla="*/ 631749 h 1520187"/>
                    <a:gd name="connsiteX17" fmla="*/ 1250059 w 1984332"/>
                    <a:gd name="connsiteY17" fmla="*/ 665352 h 1520187"/>
                    <a:gd name="connsiteX18" fmla="*/ 1135806 w 1984332"/>
                    <a:gd name="connsiteY18" fmla="*/ 551100 h 1520187"/>
                    <a:gd name="connsiteX19" fmla="*/ 1209734 w 1984332"/>
                    <a:gd name="connsiteY19" fmla="*/ 443568 h 1520187"/>
                    <a:gd name="connsiteX20" fmla="*/ 1223176 w 1984332"/>
                    <a:gd name="connsiteY20" fmla="*/ 423406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223176 w 1984332"/>
                    <a:gd name="connsiteY23" fmla="*/ 349478 h 1520187"/>
                    <a:gd name="connsiteX24" fmla="*/ 1182852 w 1984332"/>
                    <a:gd name="connsiteY24" fmla="*/ 336037 h 1520187"/>
                    <a:gd name="connsiteX25" fmla="*/ 11828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826652 w 1984332"/>
                    <a:gd name="connsiteY28" fmla="*/ 336037 h 1520187"/>
                    <a:gd name="connsiteX29" fmla="*/ 497335 w 1984332"/>
                    <a:gd name="connsiteY29" fmla="*/ 336037 h 1520187"/>
                    <a:gd name="connsiteX30" fmla="*/ 497335 w 1984332"/>
                    <a:gd name="connsiteY30" fmla="*/ 295712 h 1520187"/>
                    <a:gd name="connsiteX31" fmla="*/ 584705 w 1984332"/>
                    <a:gd name="connsiteY31" fmla="*/ 154577 h 1520187"/>
                    <a:gd name="connsiteX32" fmla="*/ 537660 w 1984332"/>
                    <a:gd name="connsiteY32" fmla="*/ 47045 h 1520187"/>
                    <a:gd name="connsiteX33" fmla="*/ 423407 w 1984332"/>
                    <a:gd name="connsiteY33" fmla="*/ 0 h 1520187"/>
                    <a:gd name="connsiteX34" fmla="*/ 423407 w 1984332"/>
                    <a:gd name="connsiteY34" fmla="*/ 0 h 1520187"/>
                    <a:gd name="connsiteX35" fmla="*/ 268830 w 1984332"/>
                    <a:gd name="connsiteY35" fmla="*/ 154577 h 1520187"/>
                    <a:gd name="connsiteX36" fmla="*/ 349479 w 1984332"/>
                    <a:gd name="connsiteY36" fmla="*/ 288991 h 1520187"/>
                    <a:gd name="connsiteX37" fmla="*/ 349479 w 1984332"/>
                    <a:gd name="connsiteY37" fmla="*/ 329316 h 1520187"/>
                    <a:gd name="connsiteX38" fmla="*/ 20162 w 1984332"/>
                    <a:gd name="connsiteY38" fmla="*/ 336037 h 1520187"/>
                    <a:gd name="connsiteX39" fmla="*/ 0 w 1984332"/>
                    <a:gd name="connsiteY39" fmla="*/ 356199 h 1520187"/>
                    <a:gd name="connsiteX40" fmla="*/ 0 w 1984332"/>
                    <a:gd name="connsiteY40" fmla="*/ 698956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20162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94090 w 1984332"/>
                    <a:gd name="connsiteY46" fmla="*/ 719118 h 1520187"/>
                    <a:gd name="connsiteX47" fmla="*/ 120973 w 1984332"/>
                    <a:gd name="connsiteY47" fmla="*/ 705677 h 1520187"/>
                    <a:gd name="connsiteX48" fmla="*/ 221785 w 1984332"/>
                    <a:gd name="connsiteY48" fmla="*/ 638469 h 1520187"/>
                    <a:gd name="connsiteX49" fmla="*/ 221785 w 1984332"/>
                    <a:gd name="connsiteY49" fmla="*/ 638469 h 1520187"/>
                    <a:gd name="connsiteX50" fmla="*/ 336037 w 1984332"/>
                    <a:gd name="connsiteY50" fmla="*/ 752722 h 1520187"/>
                    <a:gd name="connsiteX51" fmla="*/ 221785 w 1984332"/>
                    <a:gd name="connsiteY51" fmla="*/ 873695 h 1520187"/>
                    <a:gd name="connsiteX52" fmla="*/ 221785 w 1984332"/>
                    <a:gd name="connsiteY52" fmla="*/ 873695 h 1520187"/>
                    <a:gd name="connsiteX53" fmla="*/ 114253 w 1984332"/>
                    <a:gd name="connsiteY53" fmla="*/ 799767 h 1520187"/>
                    <a:gd name="connsiteX54" fmla="*/ 94090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20162 w 1984332"/>
                    <a:gd name="connsiteY59" fmla="*/ 786325 h 1520187"/>
                    <a:gd name="connsiteX60" fmla="*/ 0 w 1984332"/>
                    <a:gd name="connsiteY60" fmla="*/ 806488 h 1520187"/>
                    <a:gd name="connsiteX61" fmla="*/ 0 w 1984332"/>
                    <a:gd name="connsiteY61" fmla="*/ 1162686 h 1520187"/>
                    <a:gd name="connsiteX62" fmla="*/ 20162 w 1984332"/>
                    <a:gd name="connsiteY62" fmla="*/ 1182849 h 1520187"/>
                    <a:gd name="connsiteX63" fmla="*/ 20162 w 1984332"/>
                    <a:gd name="connsiteY63" fmla="*/ 1182849 h 1520187"/>
                    <a:gd name="connsiteX64" fmla="*/ 356200 w 1984332"/>
                    <a:gd name="connsiteY64" fmla="*/ 1182849 h 1520187"/>
                    <a:gd name="connsiteX65" fmla="*/ 356200 w 1984332"/>
                    <a:gd name="connsiteY65" fmla="*/ 1223173 h 1520187"/>
                    <a:gd name="connsiteX66" fmla="*/ 268830 w 1984332"/>
                    <a:gd name="connsiteY66" fmla="*/ 1364308 h 1520187"/>
                    <a:gd name="connsiteX67" fmla="*/ 315875 w 1984332"/>
                    <a:gd name="connsiteY67" fmla="*/ 1471840 h 1520187"/>
                    <a:gd name="connsiteX68" fmla="*/ 423407 w 1984332"/>
                    <a:gd name="connsiteY68" fmla="*/ 1518885 h 1520187"/>
                    <a:gd name="connsiteX69" fmla="*/ 423407 w 1984332"/>
                    <a:gd name="connsiteY69" fmla="*/ 1518885 h 1520187"/>
                    <a:gd name="connsiteX70" fmla="*/ 537660 w 1984332"/>
                    <a:gd name="connsiteY70" fmla="*/ 1478561 h 1520187"/>
                    <a:gd name="connsiteX71" fmla="*/ 584705 w 1984332"/>
                    <a:gd name="connsiteY71" fmla="*/ 1371029 h 1520187"/>
                    <a:gd name="connsiteX72" fmla="*/ 510777 w 1984332"/>
                    <a:gd name="connsiteY72" fmla="*/ 1236614 h 1520187"/>
                    <a:gd name="connsiteX73" fmla="*/ 510777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833373 w 1984332"/>
                    <a:gd name="connsiteY76" fmla="*/ 1189569 h 1520187"/>
                    <a:gd name="connsiteX77" fmla="*/ 1189572 w 1984332"/>
                    <a:gd name="connsiteY77" fmla="*/ 1189569 h 1520187"/>
                    <a:gd name="connsiteX78" fmla="*/ 1203014 w 1984332"/>
                    <a:gd name="connsiteY78" fmla="*/ 1182849 h 1520187"/>
                    <a:gd name="connsiteX79" fmla="*/ 1209734 w 1984332"/>
                    <a:gd name="connsiteY79" fmla="*/ 1169407 h 1520187"/>
                    <a:gd name="connsiteX80" fmla="*/ 1209734 w 1984332"/>
                    <a:gd name="connsiteY80" fmla="*/ 1095479 h 1520187"/>
                    <a:gd name="connsiteX81" fmla="*/ 1196293 w 1984332"/>
                    <a:gd name="connsiteY81" fmla="*/ 1075317 h 1520187"/>
                    <a:gd name="connsiteX82" fmla="*/ 1122365 w 1984332"/>
                    <a:gd name="connsiteY82" fmla="*/ 967785 h 1520187"/>
                    <a:gd name="connsiteX83" fmla="*/ 1155969 w 1984332"/>
                    <a:gd name="connsiteY83" fmla="*/ 887136 h 1520187"/>
                    <a:gd name="connsiteX84" fmla="*/ 1236617 w 1984332"/>
                    <a:gd name="connsiteY84" fmla="*/ 853533 h 1520187"/>
                    <a:gd name="connsiteX85" fmla="*/ 1236617 w 1984332"/>
                    <a:gd name="connsiteY85" fmla="*/ 853533 h 1520187"/>
                    <a:gd name="connsiteX86" fmla="*/ 1317266 w 1984332"/>
                    <a:gd name="connsiteY86" fmla="*/ 887136 h 1520187"/>
                    <a:gd name="connsiteX87" fmla="*/ 1350870 w 1984332"/>
                    <a:gd name="connsiteY87" fmla="*/ 967785 h 1520187"/>
                    <a:gd name="connsiteX88" fmla="*/ 1283663 w 1984332"/>
                    <a:gd name="connsiteY88" fmla="*/ 1068596 h 1520187"/>
                    <a:gd name="connsiteX89" fmla="*/ 1270221 w 1984332"/>
                    <a:gd name="connsiteY89" fmla="*/ 1088758 h 1520187"/>
                    <a:gd name="connsiteX90" fmla="*/ 1270221 w 1984332"/>
                    <a:gd name="connsiteY90" fmla="*/ 1162686 h 1520187"/>
                    <a:gd name="connsiteX91" fmla="*/ 1276942 w 1984332"/>
                    <a:gd name="connsiteY91" fmla="*/ 1176128 h 1520187"/>
                    <a:gd name="connsiteX92" fmla="*/ 1290383 w 1984332"/>
                    <a:gd name="connsiteY92" fmla="*/ 1182849 h 1520187"/>
                    <a:gd name="connsiteX93" fmla="*/ 1290383 w 1984332"/>
                    <a:gd name="connsiteY93" fmla="*/ 1182849 h 1520187"/>
                    <a:gd name="connsiteX94" fmla="*/ 1633141 w 1984332"/>
                    <a:gd name="connsiteY94" fmla="*/ 1182849 h 1520187"/>
                    <a:gd name="connsiteX95" fmla="*/ 1653304 w 1984332"/>
                    <a:gd name="connsiteY95" fmla="*/ 1162686 h 1520187"/>
                    <a:gd name="connsiteX96" fmla="*/ 1653304 w 1984332"/>
                    <a:gd name="connsiteY96" fmla="*/ 833371 h 1520187"/>
                    <a:gd name="connsiteX97" fmla="*/ 1693628 w 1984332"/>
                    <a:gd name="connsiteY97" fmla="*/ 833371 h 1520187"/>
                    <a:gd name="connsiteX98" fmla="*/ 1828043 w 1984332"/>
                    <a:gd name="connsiteY98" fmla="*/ 914019 h 1520187"/>
                    <a:gd name="connsiteX99" fmla="*/ 1828043 w 1984332"/>
                    <a:gd name="connsiteY99" fmla="*/ 914019 h 1520187"/>
                    <a:gd name="connsiteX100" fmla="*/ 1935575 w 1984332"/>
                    <a:gd name="connsiteY100" fmla="*/ 866974 h 1520187"/>
                    <a:gd name="connsiteX101" fmla="*/ 1982620 w 1984332"/>
                    <a:gd name="connsiteY101" fmla="*/ 759443 h 1520187"/>
                    <a:gd name="connsiteX102" fmla="*/ 1949017 w 1984332"/>
                    <a:gd name="connsiteY102" fmla="*/ 645190 h 1520187"/>
                    <a:gd name="connsiteX103" fmla="*/ 483894 w 1984332"/>
                    <a:gd name="connsiteY103" fmla="*/ 1142524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162686 h 1520187"/>
                    <a:gd name="connsiteX107" fmla="*/ 463732 w 1984332"/>
                    <a:gd name="connsiteY107" fmla="*/ 1236614 h 1520187"/>
                    <a:gd name="connsiteX108" fmla="*/ 463732 w 1984332"/>
                    <a:gd name="connsiteY108" fmla="*/ 1236614 h 1520187"/>
                    <a:gd name="connsiteX109" fmla="*/ 477173 w 1984332"/>
                    <a:gd name="connsiteY109" fmla="*/ 1263497 h 1520187"/>
                    <a:gd name="connsiteX110" fmla="*/ 544381 w 1984332"/>
                    <a:gd name="connsiteY110" fmla="*/ 1364308 h 1520187"/>
                    <a:gd name="connsiteX111" fmla="*/ 510777 w 1984332"/>
                    <a:gd name="connsiteY111" fmla="*/ 1444957 h 1520187"/>
                    <a:gd name="connsiteX112" fmla="*/ 423407 w 1984332"/>
                    <a:gd name="connsiteY112" fmla="*/ 1478561 h 1520187"/>
                    <a:gd name="connsiteX113" fmla="*/ 423407 w 1984332"/>
                    <a:gd name="connsiteY113" fmla="*/ 1478561 h 1520187"/>
                    <a:gd name="connsiteX114" fmla="*/ 342758 w 1984332"/>
                    <a:gd name="connsiteY114" fmla="*/ 1444957 h 1520187"/>
                    <a:gd name="connsiteX115" fmla="*/ 309154 w 1984332"/>
                    <a:gd name="connsiteY115" fmla="*/ 1364308 h 1520187"/>
                    <a:gd name="connsiteX116" fmla="*/ 383083 w 1984332"/>
                    <a:gd name="connsiteY116" fmla="*/ 1256777 h 1520187"/>
                    <a:gd name="connsiteX117" fmla="*/ 396524 w 1984332"/>
                    <a:gd name="connsiteY117" fmla="*/ 1236614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96524 w 1984332"/>
                    <a:gd name="connsiteY120" fmla="*/ 1162686 h 1520187"/>
                    <a:gd name="connsiteX121" fmla="*/ 376362 w 1984332"/>
                    <a:gd name="connsiteY121" fmla="*/ 1142524 h 1520187"/>
                    <a:gd name="connsiteX122" fmla="*/ 376362 w 1984332"/>
                    <a:gd name="connsiteY122" fmla="*/ 1142524 h 1520187"/>
                    <a:gd name="connsiteX123" fmla="*/ 40324 w 1984332"/>
                    <a:gd name="connsiteY123" fmla="*/ 1142524 h 1520187"/>
                    <a:gd name="connsiteX124" fmla="*/ 40324 w 1984332"/>
                    <a:gd name="connsiteY124" fmla="*/ 833371 h 1520187"/>
                    <a:gd name="connsiteX125" fmla="*/ 80649 w 1984332"/>
                    <a:gd name="connsiteY125" fmla="*/ 833371 h 1520187"/>
                    <a:gd name="connsiteX126" fmla="*/ 221785 w 1984332"/>
                    <a:gd name="connsiteY126" fmla="*/ 920740 h 1520187"/>
                    <a:gd name="connsiteX127" fmla="*/ 221785 w 1984332"/>
                    <a:gd name="connsiteY127" fmla="*/ 920740 h 1520187"/>
                    <a:gd name="connsiteX128" fmla="*/ 376362 w 1984332"/>
                    <a:gd name="connsiteY128" fmla="*/ 766163 h 1520187"/>
                    <a:gd name="connsiteX129" fmla="*/ 221785 w 1984332"/>
                    <a:gd name="connsiteY129" fmla="*/ 604866 h 1520187"/>
                    <a:gd name="connsiteX130" fmla="*/ 221785 w 1984332"/>
                    <a:gd name="connsiteY130" fmla="*/ 604866 h 1520187"/>
                    <a:gd name="connsiteX131" fmla="*/ 87370 w 1984332"/>
                    <a:gd name="connsiteY131" fmla="*/ 678794 h 1520187"/>
                    <a:gd name="connsiteX132" fmla="*/ 40324 w 1984332"/>
                    <a:gd name="connsiteY132" fmla="*/ 678794 h 1520187"/>
                    <a:gd name="connsiteX133" fmla="*/ 40324 w 1984332"/>
                    <a:gd name="connsiteY133" fmla="*/ 376361 h 1520187"/>
                    <a:gd name="connsiteX134" fmla="*/ 369641 w 1984332"/>
                    <a:gd name="connsiteY134" fmla="*/ 376361 h 1520187"/>
                    <a:gd name="connsiteX135" fmla="*/ 383083 w 1984332"/>
                    <a:gd name="connsiteY135" fmla="*/ 369640 h 1520187"/>
                    <a:gd name="connsiteX136" fmla="*/ 389803 w 1984332"/>
                    <a:gd name="connsiteY136" fmla="*/ 356199 h 1520187"/>
                    <a:gd name="connsiteX137" fmla="*/ 389803 w 1984332"/>
                    <a:gd name="connsiteY137" fmla="*/ 275550 h 1520187"/>
                    <a:gd name="connsiteX138" fmla="*/ 376362 w 1984332"/>
                    <a:gd name="connsiteY138" fmla="*/ 255388 h 1520187"/>
                    <a:gd name="connsiteX139" fmla="*/ 309154 w 1984332"/>
                    <a:gd name="connsiteY139" fmla="*/ 154577 h 1520187"/>
                    <a:gd name="connsiteX140" fmla="*/ 423407 w 1984332"/>
                    <a:gd name="connsiteY140" fmla="*/ 40324 h 1520187"/>
                    <a:gd name="connsiteX141" fmla="*/ 504056 w 1984332"/>
                    <a:gd name="connsiteY141" fmla="*/ 73928 h 1520187"/>
                    <a:gd name="connsiteX142" fmla="*/ 537660 w 1984332"/>
                    <a:gd name="connsiteY142" fmla="*/ 154577 h 1520187"/>
                    <a:gd name="connsiteX143" fmla="*/ 470452 w 1984332"/>
                    <a:gd name="connsiteY143" fmla="*/ 262109 h 1520187"/>
                    <a:gd name="connsiteX144" fmla="*/ 457011 w 1984332"/>
                    <a:gd name="connsiteY144" fmla="*/ 282271 h 1520187"/>
                    <a:gd name="connsiteX145" fmla="*/ 457011 w 1984332"/>
                    <a:gd name="connsiteY145" fmla="*/ 362919 h 1520187"/>
                    <a:gd name="connsiteX146" fmla="*/ 477173 w 1984332"/>
                    <a:gd name="connsiteY146" fmla="*/ 383082 h 1520187"/>
                    <a:gd name="connsiteX147" fmla="*/ 477173 w 1984332"/>
                    <a:gd name="connsiteY147" fmla="*/ 383082 h 1520187"/>
                    <a:gd name="connsiteX148" fmla="*/ 806490 w 1984332"/>
                    <a:gd name="connsiteY148" fmla="*/ 383082 h 1520187"/>
                    <a:gd name="connsiteX149" fmla="*/ 806490 w 1984332"/>
                    <a:gd name="connsiteY149" fmla="*/ 631749 h 1520187"/>
                    <a:gd name="connsiteX150" fmla="*/ 806490 w 1984332"/>
                    <a:gd name="connsiteY150" fmla="*/ 685515 h 1520187"/>
                    <a:gd name="connsiteX151" fmla="*/ 766165 w 1984332"/>
                    <a:gd name="connsiteY151" fmla="*/ 685515 h 1520187"/>
                    <a:gd name="connsiteX152" fmla="*/ 631750 w 1984332"/>
                    <a:gd name="connsiteY152" fmla="*/ 604866 h 1520187"/>
                    <a:gd name="connsiteX153" fmla="*/ 631750 w 1984332"/>
                    <a:gd name="connsiteY153" fmla="*/ 604866 h 1520187"/>
                    <a:gd name="connsiteX154" fmla="*/ 517497 w 1984332"/>
                    <a:gd name="connsiteY154" fmla="*/ 651911 h 1520187"/>
                    <a:gd name="connsiteX155" fmla="*/ 470452 w 1984332"/>
                    <a:gd name="connsiteY155" fmla="*/ 759443 h 1520187"/>
                    <a:gd name="connsiteX156" fmla="*/ 517497 w 1984332"/>
                    <a:gd name="connsiteY156" fmla="*/ 866974 h 1520187"/>
                    <a:gd name="connsiteX157" fmla="*/ 625029 w 1984332"/>
                    <a:gd name="connsiteY157" fmla="*/ 914019 h 1520187"/>
                    <a:gd name="connsiteX158" fmla="*/ 625029 w 1984332"/>
                    <a:gd name="connsiteY158" fmla="*/ 914019 h 1520187"/>
                    <a:gd name="connsiteX159" fmla="*/ 766165 w 1984332"/>
                    <a:gd name="connsiteY159" fmla="*/ 826650 h 1520187"/>
                    <a:gd name="connsiteX160" fmla="*/ 799769 w 1984332"/>
                    <a:gd name="connsiteY160" fmla="*/ 826650 h 1520187"/>
                    <a:gd name="connsiteX161" fmla="*/ 799769 w 1984332"/>
                    <a:gd name="connsiteY161" fmla="*/ 1135803 h 1520187"/>
                    <a:gd name="connsiteX162" fmla="*/ 483894 w 1984332"/>
                    <a:gd name="connsiteY162" fmla="*/ 1142524 h 1520187"/>
                    <a:gd name="connsiteX163" fmla="*/ 1915413 w 1984332"/>
                    <a:gd name="connsiteY163" fmla="*/ 840091 h 1520187"/>
                    <a:gd name="connsiteX164" fmla="*/ 1834764 w 1984332"/>
                    <a:gd name="connsiteY164" fmla="*/ 873695 h 1520187"/>
                    <a:gd name="connsiteX165" fmla="*/ 1834764 w 1984332"/>
                    <a:gd name="connsiteY165" fmla="*/ 873695 h 1520187"/>
                    <a:gd name="connsiteX166" fmla="*/ 1733953 w 1984332"/>
                    <a:gd name="connsiteY166" fmla="*/ 806488 h 1520187"/>
                    <a:gd name="connsiteX167" fmla="*/ 1713790 w 1984332"/>
                    <a:gd name="connsiteY167" fmla="*/ 793046 h 1520187"/>
                    <a:gd name="connsiteX168" fmla="*/ 1713790 w 1984332"/>
                    <a:gd name="connsiteY168" fmla="*/ 793046 h 1520187"/>
                    <a:gd name="connsiteX169" fmla="*/ 1633141 w 1984332"/>
                    <a:gd name="connsiteY169" fmla="*/ 793046 h 1520187"/>
                    <a:gd name="connsiteX170" fmla="*/ 1612979 w 1984332"/>
                    <a:gd name="connsiteY170" fmla="*/ 813208 h 1520187"/>
                    <a:gd name="connsiteX171" fmla="*/ 1612979 w 1984332"/>
                    <a:gd name="connsiteY171" fmla="*/ 1142524 h 1520187"/>
                    <a:gd name="connsiteX172" fmla="*/ 1310546 w 1984332"/>
                    <a:gd name="connsiteY172" fmla="*/ 1142524 h 1520187"/>
                    <a:gd name="connsiteX173" fmla="*/ 1310546 w 1984332"/>
                    <a:gd name="connsiteY173" fmla="*/ 1102200 h 1520187"/>
                    <a:gd name="connsiteX174" fmla="*/ 1384474 w 1984332"/>
                    <a:gd name="connsiteY174" fmla="*/ 967785 h 1520187"/>
                    <a:gd name="connsiteX175" fmla="*/ 1337429 w 1984332"/>
                    <a:gd name="connsiteY175" fmla="*/ 860254 h 1520187"/>
                    <a:gd name="connsiteX176" fmla="*/ 1229897 w 1984332"/>
                    <a:gd name="connsiteY176" fmla="*/ 813208 h 1520187"/>
                    <a:gd name="connsiteX177" fmla="*/ 1229897 w 1984332"/>
                    <a:gd name="connsiteY177" fmla="*/ 813208 h 1520187"/>
                    <a:gd name="connsiteX178" fmla="*/ 1122365 w 1984332"/>
                    <a:gd name="connsiteY178" fmla="*/ 860254 h 1520187"/>
                    <a:gd name="connsiteX179" fmla="*/ 1075320 w 1984332"/>
                    <a:gd name="connsiteY179" fmla="*/ 967785 h 1520187"/>
                    <a:gd name="connsiteX180" fmla="*/ 1162689 w 1984332"/>
                    <a:gd name="connsiteY180" fmla="*/ 1108921 h 1520187"/>
                    <a:gd name="connsiteX181" fmla="*/ 1162689 w 1984332"/>
                    <a:gd name="connsiteY181" fmla="*/ 1142524 h 1520187"/>
                    <a:gd name="connsiteX182" fmla="*/ 853535 w 1984332"/>
                    <a:gd name="connsiteY182" fmla="*/ 1142524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19929 h 1520187"/>
                    <a:gd name="connsiteX185" fmla="*/ 853535 w 1984332"/>
                    <a:gd name="connsiteY185" fmla="*/ 806488 h 1520187"/>
                    <a:gd name="connsiteX186" fmla="*/ 846814 w 1984332"/>
                    <a:gd name="connsiteY186" fmla="*/ 793046 h 1520187"/>
                    <a:gd name="connsiteX187" fmla="*/ 833373 w 1984332"/>
                    <a:gd name="connsiteY187" fmla="*/ 786325 h 1520187"/>
                    <a:gd name="connsiteX188" fmla="*/ 833373 w 1984332"/>
                    <a:gd name="connsiteY188" fmla="*/ 786325 h 1520187"/>
                    <a:gd name="connsiteX189" fmla="*/ 759444 w 1984332"/>
                    <a:gd name="connsiteY189" fmla="*/ 786325 h 1520187"/>
                    <a:gd name="connsiteX190" fmla="*/ 739282 w 1984332"/>
                    <a:gd name="connsiteY190" fmla="*/ 799767 h 1520187"/>
                    <a:gd name="connsiteX191" fmla="*/ 631750 w 1984332"/>
                    <a:gd name="connsiteY191" fmla="*/ 873695 h 1520187"/>
                    <a:gd name="connsiteX192" fmla="*/ 631750 w 1984332"/>
                    <a:gd name="connsiteY192" fmla="*/ 873695 h 1520187"/>
                    <a:gd name="connsiteX193" fmla="*/ 551101 w 1984332"/>
                    <a:gd name="connsiteY193" fmla="*/ 840091 h 1520187"/>
                    <a:gd name="connsiteX194" fmla="*/ 517497 w 1984332"/>
                    <a:gd name="connsiteY194" fmla="*/ 759443 h 1520187"/>
                    <a:gd name="connsiteX195" fmla="*/ 551101 w 1984332"/>
                    <a:gd name="connsiteY195" fmla="*/ 678794 h 1520187"/>
                    <a:gd name="connsiteX196" fmla="*/ 631750 w 1984332"/>
                    <a:gd name="connsiteY196" fmla="*/ 645190 h 1520187"/>
                    <a:gd name="connsiteX197" fmla="*/ 631750 w 1984332"/>
                    <a:gd name="connsiteY197" fmla="*/ 645190 h 1520187"/>
                    <a:gd name="connsiteX198" fmla="*/ 732561 w 1984332"/>
                    <a:gd name="connsiteY198" fmla="*/ 712397 h 1520187"/>
                    <a:gd name="connsiteX199" fmla="*/ 752724 w 1984332"/>
                    <a:gd name="connsiteY199" fmla="*/ 725839 h 1520187"/>
                    <a:gd name="connsiteX200" fmla="*/ 752724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26652 w 1984332"/>
                    <a:gd name="connsiteY202" fmla="*/ 725839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0093 w 1984332"/>
                    <a:gd name="connsiteY205" fmla="*/ 719118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705677 h 1520187"/>
                    <a:gd name="connsiteX210" fmla="*/ 846814 w 1984332"/>
                    <a:gd name="connsiteY210" fmla="*/ 383082 h 1520187"/>
                    <a:gd name="connsiteX211" fmla="*/ 1155969 w 1984332"/>
                    <a:gd name="connsiteY211" fmla="*/ 383082 h 1520187"/>
                    <a:gd name="connsiteX212" fmla="*/ 1155969 w 1984332"/>
                    <a:gd name="connsiteY212" fmla="*/ 423406 h 1520187"/>
                    <a:gd name="connsiteX213" fmla="*/ 1084846 w 1984332"/>
                    <a:gd name="connsiteY213" fmla="*/ 555440 h 1520187"/>
                    <a:gd name="connsiteX214" fmla="*/ 1139409 w 1984332"/>
                    <a:gd name="connsiteY214" fmla="*/ 664773 h 1520187"/>
                    <a:gd name="connsiteX215" fmla="*/ 1241803 w 1984332"/>
                    <a:gd name="connsiteY215" fmla="*/ 712400 h 1520187"/>
                    <a:gd name="connsiteX216" fmla="*/ 1354098 w 1984332"/>
                    <a:gd name="connsiteY216" fmla="*/ 670115 h 1520187"/>
                    <a:gd name="connsiteX217" fmla="*/ 1396380 w 1984332"/>
                    <a:gd name="connsiteY217" fmla="*/ 553058 h 1520187"/>
                    <a:gd name="connsiteX218" fmla="*/ 1310546 w 1984332"/>
                    <a:gd name="connsiteY218" fmla="*/ 423406 h 1520187"/>
                    <a:gd name="connsiteX219" fmla="*/ 1310546 w 1984332"/>
                    <a:gd name="connsiteY219" fmla="*/ 376361 h 1520187"/>
                    <a:gd name="connsiteX220" fmla="*/ 1612979 w 1984332"/>
                    <a:gd name="connsiteY220" fmla="*/ 376361 h 1520187"/>
                    <a:gd name="connsiteX221" fmla="*/ 1612979 w 1984332"/>
                    <a:gd name="connsiteY221" fmla="*/ 705677 h 1520187"/>
                    <a:gd name="connsiteX222" fmla="*/ 1633141 w 1984332"/>
                    <a:gd name="connsiteY222" fmla="*/ 725839 h 1520187"/>
                    <a:gd name="connsiteX223" fmla="*/ 1633141 w 1984332"/>
                    <a:gd name="connsiteY223" fmla="*/ 725839 h 1520187"/>
                    <a:gd name="connsiteX224" fmla="*/ 1713790 w 1984332"/>
                    <a:gd name="connsiteY224" fmla="*/ 725839 h 1520187"/>
                    <a:gd name="connsiteX225" fmla="*/ 1733953 w 1984332"/>
                    <a:gd name="connsiteY225" fmla="*/ 712397 h 1520187"/>
                    <a:gd name="connsiteX226" fmla="*/ 1834764 w 1984332"/>
                    <a:gd name="connsiteY226" fmla="*/ 645190 h 1520187"/>
                    <a:gd name="connsiteX227" fmla="*/ 1834764 w 1984332"/>
                    <a:gd name="connsiteY227" fmla="*/ 645190 h 1520187"/>
                    <a:gd name="connsiteX228" fmla="*/ 1915413 w 1984332"/>
                    <a:gd name="connsiteY228" fmla="*/ 678794 h 1520187"/>
                    <a:gd name="connsiteX229" fmla="*/ 1949017 w 1984332"/>
                    <a:gd name="connsiteY229" fmla="*/ 759443 h 1520187"/>
                    <a:gd name="connsiteX230" fmla="*/ 1915413 w 1984332"/>
                    <a:gd name="connsiteY230" fmla="*/ 840091 h 1520187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83663 w 1984332"/>
                    <a:gd name="connsiteY13" fmla="*/ 423406 h 1520187"/>
                    <a:gd name="connsiteX14" fmla="*/ 1294723 w 1984332"/>
                    <a:gd name="connsiteY14" fmla="*/ 450289 h 1520187"/>
                    <a:gd name="connsiteX15" fmla="*/ 1357168 w 1984332"/>
                    <a:gd name="connsiteY15" fmla="*/ 551100 h 1520187"/>
                    <a:gd name="connsiteX16" fmla="*/ 1330708 w 1984332"/>
                    <a:gd name="connsiteY16" fmla="*/ 631749 h 1520187"/>
                    <a:gd name="connsiteX17" fmla="*/ 1250059 w 1984332"/>
                    <a:gd name="connsiteY17" fmla="*/ 665352 h 1520187"/>
                    <a:gd name="connsiteX18" fmla="*/ 1135806 w 1984332"/>
                    <a:gd name="connsiteY18" fmla="*/ 551100 h 1520187"/>
                    <a:gd name="connsiteX19" fmla="*/ 1209734 w 1984332"/>
                    <a:gd name="connsiteY19" fmla="*/ 443568 h 1520187"/>
                    <a:gd name="connsiteX20" fmla="*/ 1223176 w 1984332"/>
                    <a:gd name="connsiteY20" fmla="*/ 423406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223176 w 1984332"/>
                    <a:gd name="connsiteY23" fmla="*/ 349478 h 1520187"/>
                    <a:gd name="connsiteX24" fmla="*/ 1182852 w 1984332"/>
                    <a:gd name="connsiteY24" fmla="*/ 336037 h 1520187"/>
                    <a:gd name="connsiteX25" fmla="*/ 11828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826652 w 1984332"/>
                    <a:gd name="connsiteY28" fmla="*/ 336037 h 1520187"/>
                    <a:gd name="connsiteX29" fmla="*/ 497335 w 1984332"/>
                    <a:gd name="connsiteY29" fmla="*/ 336037 h 1520187"/>
                    <a:gd name="connsiteX30" fmla="*/ 497335 w 1984332"/>
                    <a:gd name="connsiteY30" fmla="*/ 295712 h 1520187"/>
                    <a:gd name="connsiteX31" fmla="*/ 584705 w 1984332"/>
                    <a:gd name="connsiteY31" fmla="*/ 154577 h 1520187"/>
                    <a:gd name="connsiteX32" fmla="*/ 537660 w 1984332"/>
                    <a:gd name="connsiteY32" fmla="*/ 47045 h 1520187"/>
                    <a:gd name="connsiteX33" fmla="*/ 423407 w 1984332"/>
                    <a:gd name="connsiteY33" fmla="*/ 0 h 1520187"/>
                    <a:gd name="connsiteX34" fmla="*/ 423407 w 1984332"/>
                    <a:gd name="connsiteY34" fmla="*/ 0 h 1520187"/>
                    <a:gd name="connsiteX35" fmla="*/ 268830 w 1984332"/>
                    <a:gd name="connsiteY35" fmla="*/ 154577 h 1520187"/>
                    <a:gd name="connsiteX36" fmla="*/ 349479 w 1984332"/>
                    <a:gd name="connsiteY36" fmla="*/ 288991 h 1520187"/>
                    <a:gd name="connsiteX37" fmla="*/ 349479 w 1984332"/>
                    <a:gd name="connsiteY37" fmla="*/ 329316 h 1520187"/>
                    <a:gd name="connsiteX38" fmla="*/ 20162 w 1984332"/>
                    <a:gd name="connsiteY38" fmla="*/ 336037 h 1520187"/>
                    <a:gd name="connsiteX39" fmla="*/ 0 w 1984332"/>
                    <a:gd name="connsiteY39" fmla="*/ 356199 h 1520187"/>
                    <a:gd name="connsiteX40" fmla="*/ 0 w 1984332"/>
                    <a:gd name="connsiteY40" fmla="*/ 698956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20162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94090 w 1984332"/>
                    <a:gd name="connsiteY46" fmla="*/ 719118 h 1520187"/>
                    <a:gd name="connsiteX47" fmla="*/ 120973 w 1984332"/>
                    <a:gd name="connsiteY47" fmla="*/ 705677 h 1520187"/>
                    <a:gd name="connsiteX48" fmla="*/ 221785 w 1984332"/>
                    <a:gd name="connsiteY48" fmla="*/ 638469 h 1520187"/>
                    <a:gd name="connsiteX49" fmla="*/ 221785 w 1984332"/>
                    <a:gd name="connsiteY49" fmla="*/ 638469 h 1520187"/>
                    <a:gd name="connsiteX50" fmla="*/ 336037 w 1984332"/>
                    <a:gd name="connsiteY50" fmla="*/ 752722 h 1520187"/>
                    <a:gd name="connsiteX51" fmla="*/ 221785 w 1984332"/>
                    <a:gd name="connsiteY51" fmla="*/ 873695 h 1520187"/>
                    <a:gd name="connsiteX52" fmla="*/ 221785 w 1984332"/>
                    <a:gd name="connsiteY52" fmla="*/ 873695 h 1520187"/>
                    <a:gd name="connsiteX53" fmla="*/ 114253 w 1984332"/>
                    <a:gd name="connsiteY53" fmla="*/ 799767 h 1520187"/>
                    <a:gd name="connsiteX54" fmla="*/ 94090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20162 w 1984332"/>
                    <a:gd name="connsiteY59" fmla="*/ 786325 h 1520187"/>
                    <a:gd name="connsiteX60" fmla="*/ 0 w 1984332"/>
                    <a:gd name="connsiteY60" fmla="*/ 806488 h 1520187"/>
                    <a:gd name="connsiteX61" fmla="*/ 0 w 1984332"/>
                    <a:gd name="connsiteY61" fmla="*/ 1162686 h 1520187"/>
                    <a:gd name="connsiteX62" fmla="*/ 20162 w 1984332"/>
                    <a:gd name="connsiteY62" fmla="*/ 1182849 h 1520187"/>
                    <a:gd name="connsiteX63" fmla="*/ 20162 w 1984332"/>
                    <a:gd name="connsiteY63" fmla="*/ 1182849 h 1520187"/>
                    <a:gd name="connsiteX64" fmla="*/ 356200 w 1984332"/>
                    <a:gd name="connsiteY64" fmla="*/ 1182849 h 1520187"/>
                    <a:gd name="connsiteX65" fmla="*/ 356200 w 1984332"/>
                    <a:gd name="connsiteY65" fmla="*/ 1223173 h 1520187"/>
                    <a:gd name="connsiteX66" fmla="*/ 268830 w 1984332"/>
                    <a:gd name="connsiteY66" fmla="*/ 1364308 h 1520187"/>
                    <a:gd name="connsiteX67" fmla="*/ 315875 w 1984332"/>
                    <a:gd name="connsiteY67" fmla="*/ 1471840 h 1520187"/>
                    <a:gd name="connsiteX68" fmla="*/ 423407 w 1984332"/>
                    <a:gd name="connsiteY68" fmla="*/ 1518885 h 1520187"/>
                    <a:gd name="connsiteX69" fmla="*/ 423407 w 1984332"/>
                    <a:gd name="connsiteY69" fmla="*/ 1518885 h 1520187"/>
                    <a:gd name="connsiteX70" fmla="*/ 537660 w 1984332"/>
                    <a:gd name="connsiteY70" fmla="*/ 1478561 h 1520187"/>
                    <a:gd name="connsiteX71" fmla="*/ 584705 w 1984332"/>
                    <a:gd name="connsiteY71" fmla="*/ 1371029 h 1520187"/>
                    <a:gd name="connsiteX72" fmla="*/ 510777 w 1984332"/>
                    <a:gd name="connsiteY72" fmla="*/ 1236614 h 1520187"/>
                    <a:gd name="connsiteX73" fmla="*/ 510777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833373 w 1984332"/>
                    <a:gd name="connsiteY76" fmla="*/ 1189569 h 1520187"/>
                    <a:gd name="connsiteX77" fmla="*/ 1189572 w 1984332"/>
                    <a:gd name="connsiteY77" fmla="*/ 1189569 h 1520187"/>
                    <a:gd name="connsiteX78" fmla="*/ 1203014 w 1984332"/>
                    <a:gd name="connsiteY78" fmla="*/ 1182849 h 1520187"/>
                    <a:gd name="connsiteX79" fmla="*/ 1209734 w 1984332"/>
                    <a:gd name="connsiteY79" fmla="*/ 1169407 h 1520187"/>
                    <a:gd name="connsiteX80" fmla="*/ 1209734 w 1984332"/>
                    <a:gd name="connsiteY80" fmla="*/ 1095479 h 1520187"/>
                    <a:gd name="connsiteX81" fmla="*/ 1196293 w 1984332"/>
                    <a:gd name="connsiteY81" fmla="*/ 1075317 h 1520187"/>
                    <a:gd name="connsiteX82" fmla="*/ 1122365 w 1984332"/>
                    <a:gd name="connsiteY82" fmla="*/ 967785 h 1520187"/>
                    <a:gd name="connsiteX83" fmla="*/ 1155969 w 1984332"/>
                    <a:gd name="connsiteY83" fmla="*/ 887136 h 1520187"/>
                    <a:gd name="connsiteX84" fmla="*/ 1236617 w 1984332"/>
                    <a:gd name="connsiteY84" fmla="*/ 853533 h 1520187"/>
                    <a:gd name="connsiteX85" fmla="*/ 1236617 w 1984332"/>
                    <a:gd name="connsiteY85" fmla="*/ 853533 h 1520187"/>
                    <a:gd name="connsiteX86" fmla="*/ 1317266 w 1984332"/>
                    <a:gd name="connsiteY86" fmla="*/ 887136 h 1520187"/>
                    <a:gd name="connsiteX87" fmla="*/ 1350870 w 1984332"/>
                    <a:gd name="connsiteY87" fmla="*/ 967785 h 1520187"/>
                    <a:gd name="connsiteX88" fmla="*/ 1283663 w 1984332"/>
                    <a:gd name="connsiteY88" fmla="*/ 1068596 h 1520187"/>
                    <a:gd name="connsiteX89" fmla="*/ 1270221 w 1984332"/>
                    <a:gd name="connsiteY89" fmla="*/ 1088758 h 1520187"/>
                    <a:gd name="connsiteX90" fmla="*/ 1270221 w 1984332"/>
                    <a:gd name="connsiteY90" fmla="*/ 1162686 h 1520187"/>
                    <a:gd name="connsiteX91" fmla="*/ 1276942 w 1984332"/>
                    <a:gd name="connsiteY91" fmla="*/ 1176128 h 1520187"/>
                    <a:gd name="connsiteX92" fmla="*/ 1290383 w 1984332"/>
                    <a:gd name="connsiteY92" fmla="*/ 1182849 h 1520187"/>
                    <a:gd name="connsiteX93" fmla="*/ 1290383 w 1984332"/>
                    <a:gd name="connsiteY93" fmla="*/ 1182849 h 1520187"/>
                    <a:gd name="connsiteX94" fmla="*/ 1633141 w 1984332"/>
                    <a:gd name="connsiteY94" fmla="*/ 1182849 h 1520187"/>
                    <a:gd name="connsiteX95" fmla="*/ 1653304 w 1984332"/>
                    <a:gd name="connsiteY95" fmla="*/ 1162686 h 1520187"/>
                    <a:gd name="connsiteX96" fmla="*/ 1653304 w 1984332"/>
                    <a:gd name="connsiteY96" fmla="*/ 833371 h 1520187"/>
                    <a:gd name="connsiteX97" fmla="*/ 1693628 w 1984332"/>
                    <a:gd name="connsiteY97" fmla="*/ 833371 h 1520187"/>
                    <a:gd name="connsiteX98" fmla="*/ 1828043 w 1984332"/>
                    <a:gd name="connsiteY98" fmla="*/ 914019 h 1520187"/>
                    <a:gd name="connsiteX99" fmla="*/ 1828043 w 1984332"/>
                    <a:gd name="connsiteY99" fmla="*/ 914019 h 1520187"/>
                    <a:gd name="connsiteX100" fmla="*/ 1935575 w 1984332"/>
                    <a:gd name="connsiteY100" fmla="*/ 866974 h 1520187"/>
                    <a:gd name="connsiteX101" fmla="*/ 1982620 w 1984332"/>
                    <a:gd name="connsiteY101" fmla="*/ 759443 h 1520187"/>
                    <a:gd name="connsiteX102" fmla="*/ 1949017 w 1984332"/>
                    <a:gd name="connsiteY102" fmla="*/ 645190 h 1520187"/>
                    <a:gd name="connsiteX103" fmla="*/ 483894 w 1984332"/>
                    <a:gd name="connsiteY103" fmla="*/ 1142524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162686 h 1520187"/>
                    <a:gd name="connsiteX107" fmla="*/ 463732 w 1984332"/>
                    <a:gd name="connsiteY107" fmla="*/ 1236614 h 1520187"/>
                    <a:gd name="connsiteX108" fmla="*/ 463732 w 1984332"/>
                    <a:gd name="connsiteY108" fmla="*/ 1236614 h 1520187"/>
                    <a:gd name="connsiteX109" fmla="*/ 477173 w 1984332"/>
                    <a:gd name="connsiteY109" fmla="*/ 1263497 h 1520187"/>
                    <a:gd name="connsiteX110" fmla="*/ 544381 w 1984332"/>
                    <a:gd name="connsiteY110" fmla="*/ 1364308 h 1520187"/>
                    <a:gd name="connsiteX111" fmla="*/ 510777 w 1984332"/>
                    <a:gd name="connsiteY111" fmla="*/ 1444957 h 1520187"/>
                    <a:gd name="connsiteX112" fmla="*/ 423407 w 1984332"/>
                    <a:gd name="connsiteY112" fmla="*/ 1478561 h 1520187"/>
                    <a:gd name="connsiteX113" fmla="*/ 423407 w 1984332"/>
                    <a:gd name="connsiteY113" fmla="*/ 1478561 h 1520187"/>
                    <a:gd name="connsiteX114" fmla="*/ 342758 w 1984332"/>
                    <a:gd name="connsiteY114" fmla="*/ 1444957 h 1520187"/>
                    <a:gd name="connsiteX115" fmla="*/ 309154 w 1984332"/>
                    <a:gd name="connsiteY115" fmla="*/ 1364308 h 1520187"/>
                    <a:gd name="connsiteX116" fmla="*/ 383083 w 1984332"/>
                    <a:gd name="connsiteY116" fmla="*/ 1256777 h 1520187"/>
                    <a:gd name="connsiteX117" fmla="*/ 396524 w 1984332"/>
                    <a:gd name="connsiteY117" fmla="*/ 1236614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96524 w 1984332"/>
                    <a:gd name="connsiteY120" fmla="*/ 1162686 h 1520187"/>
                    <a:gd name="connsiteX121" fmla="*/ 376362 w 1984332"/>
                    <a:gd name="connsiteY121" fmla="*/ 1142524 h 1520187"/>
                    <a:gd name="connsiteX122" fmla="*/ 376362 w 1984332"/>
                    <a:gd name="connsiteY122" fmla="*/ 1142524 h 1520187"/>
                    <a:gd name="connsiteX123" fmla="*/ 40324 w 1984332"/>
                    <a:gd name="connsiteY123" fmla="*/ 1142524 h 1520187"/>
                    <a:gd name="connsiteX124" fmla="*/ 40324 w 1984332"/>
                    <a:gd name="connsiteY124" fmla="*/ 833371 h 1520187"/>
                    <a:gd name="connsiteX125" fmla="*/ 80649 w 1984332"/>
                    <a:gd name="connsiteY125" fmla="*/ 833371 h 1520187"/>
                    <a:gd name="connsiteX126" fmla="*/ 221785 w 1984332"/>
                    <a:gd name="connsiteY126" fmla="*/ 920740 h 1520187"/>
                    <a:gd name="connsiteX127" fmla="*/ 221785 w 1984332"/>
                    <a:gd name="connsiteY127" fmla="*/ 920740 h 1520187"/>
                    <a:gd name="connsiteX128" fmla="*/ 376362 w 1984332"/>
                    <a:gd name="connsiteY128" fmla="*/ 766163 h 1520187"/>
                    <a:gd name="connsiteX129" fmla="*/ 221785 w 1984332"/>
                    <a:gd name="connsiteY129" fmla="*/ 604866 h 1520187"/>
                    <a:gd name="connsiteX130" fmla="*/ 221785 w 1984332"/>
                    <a:gd name="connsiteY130" fmla="*/ 604866 h 1520187"/>
                    <a:gd name="connsiteX131" fmla="*/ 87370 w 1984332"/>
                    <a:gd name="connsiteY131" fmla="*/ 678794 h 1520187"/>
                    <a:gd name="connsiteX132" fmla="*/ 40324 w 1984332"/>
                    <a:gd name="connsiteY132" fmla="*/ 678794 h 1520187"/>
                    <a:gd name="connsiteX133" fmla="*/ 40324 w 1984332"/>
                    <a:gd name="connsiteY133" fmla="*/ 376361 h 1520187"/>
                    <a:gd name="connsiteX134" fmla="*/ 369641 w 1984332"/>
                    <a:gd name="connsiteY134" fmla="*/ 376361 h 1520187"/>
                    <a:gd name="connsiteX135" fmla="*/ 383083 w 1984332"/>
                    <a:gd name="connsiteY135" fmla="*/ 369640 h 1520187"/>
                    <a:gd name="connsiteX136" fmla="*/ 389803 w 1984332"/>
                    <a:gd name="connsiteY136" fmla="*/ 356199 h 1520187"/>
                    <a:gd name="connsiteX137" fmla="*/ 389803 w 1984332"/>
                    <a:gd name="connsiteY137" fmla="*/ 275550 h 1520187"/>
                    <a:gd name="connsiteX138" fmla="*/ 376362 w 1984332"/>
                    <a:gd name="connsiteY138" fmla="*/ 255388 h 1520187"/>
                    <a:gd name="connsiteX139" fmla="*/ 309154 w 1984332"/>
                    <a:gd name="connsiteY139" fmla="*/ 154577 h 1520187"/>
                    <a:gd name="connsiteX140" fmla="*/ 423407 w 1984332"/>
                    <a:gd name="connsiteY140" fmla="*/ 40324 h 1520187"/>
                    <a:gd name="connsiteX141" fmla="*/ 504056 w 1984332"/>
                    <a:gd name="connsiteY141" fmla="*/ 73928 h 1520187"/>
                    <a:gd name="connsiteX142" fmla="*/ 537660 w 1984332"/>
                    <a:gd name="connsiteY142" fmla="*/ 154577 h 1520187"/>
                    <a:gd name="connsiteX143" fmla="*/ 470452 w 1984332"/>
                    <a:gd name="connsiteY143" fmla="*/ 262109 h 1520187"/>
                    <a:gd name="connsiteX144" fmla="*/ 457011 w 1984332"/>
                    <a:gd name="connsiteY144" fmla="*/ 282271 h 1520187"/>
                    <a:gd name="connsiteX145" fmla="*/ 457011 w 1984332"/>
                    <a:gd name="connsiteY145" fmla="*/ 362919 h 1520187"/>
                    <a:gd name="connsiteX146" fmla="*/ 477173 w 1984332"/>
                    <a:gd name="connsiteY146" fmla="*/ 383082 h 1520187"/>
                    <a:gd name="connsiteX147" fmla="*/ 477173 w 1984332"/>
                    <a:gd name="connsiteY147" fmla="*/ 383082 h 1520187"/>
                    <a:gd name="connsiteX148" fmla="*/ 806490 w 1984332"/>
                    <a:gd name="connsiteY148" fmla="*/ 383082 h 1520187"/>
                    <a:gd name="connsiteX149" fmla="*/ 806490 w 1984332"/>
                    <a:gd name="connsiteY149" fmla="*/ 631749 h 1520187"/>
                    <a:gd name="connsiteX150" fmla="*/ 806490 w 1984332"/>
                    <a:gd name="connsiteY150" fmla="*/ 685515 h 1520187"/>
                    <a:gd name="connsiteX151" fmla="*/ 766165 w 1984332"/>
                    <a:gd name="connsiteY151" fmla="*/ 685515 h 1520187"/>
                    <a:gd name="connsiteX152" fmla="*/ 631750 w 1984332"/>
                    <a:gd name="connsiteY152" fmla="*/ 604866 h 1520187"/>
                    <a:gd name="connsiteX153" fmla="*/ 631750 w 1984332"/>
                    <a:gd name="connsiteY153" fmla="*/ 604866 h 1520187"/>
                    <a:gd name="connsiteX154" fmla="*/ 517497 w 1984332"/>
                    <a:gd name="connsiteY154" fmla="*/ 651911 h 1520187"/>
                    <a:gd name="connsiteX155" fmla="*/ 470452 w 1984332"/>
                    <a:gd name="connsiteY155" fmla="*/ 759443 h 1520187"/>
                    <a:gd name="connsiteX156" fmla="*/ 517497 w 1984332"/>
                    <a:gd name="connsiteY156" fmla="*/ 866974 h 1520187"/>
                    <a:gd name="connsiteX157" fmla="*/ 625029 w 1984332"/>
                    <a:gd name="connsiteY157" fmla="*/ 914019 h 1520187"/>
                    <a:gd name="connsiteX158" fmla="*/ 625029 w 1984332"/>
                    <a:gd name="connsiteY158" fmla="*/ 914019 h 1520187"/>
                    <a:gd name="connsiteX159" fmla="*/ 766165 w 1984332"/>
                    <a:gd name="connsiteY159" fmla="*/ 826650 h 1520187"/>
                    <a:gd name="connsiteX160" fmla="*/ 799769 w 1984332"/>
                    <a:gd name="connsiteY160" fmla="*/ 826650 h 1520187"/>
                    <a:gd name="connsiteX161" fmla="*/ 799769 w 1984332"/>
                    <a:gd name="connsiteY161" fmla="*/ 1135803 h 1520187"/>
                    <a:gd name="connsiteX162" fmla="*/ 483894 w 1984332"/>
                    <a:gd name="connsiteY162" fmla="*/ 1142524 h 1520187"/>
                    <a:gd name="connsiteX163" fmla="*/ 1915413 w 1984332"/>
                    <a:gd name="connsiteY163" fmla="*/ 840091 h 1520187"/>
                    <a:gd name="connsiteX164" fmla="*/ 1834764 w 1984332"/>
                    <a:gd name="connsiteY164" fmla="*/ 873695 h 1520187"/>
                    <a:gd name="connsiteX165" fmla="*/ 1834764 w 1984332"/>
                    <a:gd name="connsiteY165" fmla="*/ 873695 h 1520187"/>
                    <a:gd name="connsiteX166" fmla="*/ 1733953 w 1984332"/>
                    <a:gd name="connsiteY166" fmla="*/ 806488 h 1520187"/>
                    <a:gd name="connsiteX167" fmla="*/ 1713790 w 1984332"/>
                    <a:gd name="connsiteY167" fmla="*/ 793046 h 1520187"/>
                    <a:gd name="connsiteX168" fmla="*/ 1713790 w 1984332"/>
                    <a:gd name="connsiteY168" fmla="*/ 793046 h 1520187"/>
                    <a:gd name="connsiteX169" fmla="*/ 1633141 w 1984332"/>
                    <a:gd name="connsiteY169" fmla="*/ 793046 h 1520187"/>
                    <a:gd name="connsiteX170" fmla="*/ 1612979 w 1984332"/>
                    <a:gd name="connsiteY170" fmla="*/ 813208 h 1520187"/>
                    <a:gd name="connsiteX171" fmla="*/ 1612979 w 1984332"/>
                    <a:gd name="connsiteY171" fmla="*/ 1142524 h 1520187"/>
                    <a:gd name="connsiteX172" fmla="*/ 1310546 w 1984332"/>
                    <a:gd name="connsiteY172" fmla="*/ 1142524 h 1520187"/>
                    <a:gd name="connsiteX173" fmla="*/ 1310546 w 1984332"/>
                    <a:gd name="connsiteY173" fmla="*/ 1102200 h 1520187"/>
                    <a:gd name="connsiteX174" fmla="*/ 1384474 w 1984332"/>
                    <a:gd name="connsiteY174" fmla="*/ 967785 h 1520187"/>
                    <a:gd name="connsiteX175" fmla="*/ 1337429 w 1984332"/>
                    <a:gd name="connsiteY175" fmla="*/ 860254 h 1520187"/>
                    <a:gd name="connsiteX176" fmla="*/ 1229897 w 1984332"/>
                    <a:gd name="connsiteY176" fmla="*/ 813208 h 1520187"/>
                    <a:gd name="connsiteX177" fmla="*/ 1229897 w 1984332"/>
                    <a:gd name="connsiteY177" fmla="*/ 813208 h 1520187"/>
                    <a:gd name="connsiteX178" fmla="*/ 1122365 w 1984332"/>
                    <a:gd name="connsiteY178" fmla="*/ 860254 h 1520187"/>
                    <a:gd name="connsiteX179" fmla="*/ 1075320 w 1984332"/>
                    <a:gd name="connsiteY179" fmla="*/ 967785 h 1520187"/>
                    <a:gd name="connsiteX180" fmla="*/ 1162689 w 1984332"/>
                    <a:gd name="connsiteY180" fmla="*/ 1108921 h 1520187"/>
                    <a:gd name="connsiteX181" fmla="*/ 1162689 w 1984332"/>
                    <a:gd name="connsiteY181" fmla="*/ 1142524 h 1520187"/>
                    <a:gd name="connsiteX182" fmla="*/ 853535 w 1984332"/>
                    <a:gd name="connsiteY182" fmla="*/ 1142524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19929 h 1520187"/>
                    <a:gd name="connsiteX185" fmla="*/ 853535 w 1984332"/>
                    <a:gd name="connsiteY185" fmla="*/ 806488 h 1520187"/>
                    <a:gd name="connsiteX186" fmla="*/ 846814 w 1984332"/>
                    <a:gd name="connsiteY186" fmla="*/ 793046 h 1520187"/>
                    <a:gd name="connsiteX187" fmla="*/ 833373 w 1984332"/>
                    <a:gd name="connsiteY187" fmla="*/ 786325 h 1520187"/>
                    <a:gd name="connsiteX188" fmla="*/ 833373 w 1984332"/>
                    <a:gd name="connsiteY188" fmla="*/ 786325 h 1520187"/>
                    <a:gd name="connsiteX189" fmla="*/ 759444 w 1984332"/>
                    <a:gd name="connsiteY189" fmla="*/ 786325 h 1520187"/>
                    <a:gd name="connsiteX190" fmla="*/ 739282 w 1984332"/>
                    <a:gd name="connsiteY190" fmla="*/ 799767 h 1520187"/>
                    <a:gd name="connsiteX191" fmla="*/ 631750 w 1984332"/>
                    <a:gd name="connsiteY191" fmla="*/ 873695 h 1520187"/>
                    <a:gd name="connsiteX192" fmla="*/ 631750 w 1984332"/>
                    <a:gd name="connsiteY192" fmla="*/ 873695 h 1520187"/>
                    <a:gd name="connsiteX193" fmla="*/ 551101 w 1984332"/>
                    <a:gd name="connsiteY193" fmla="*/ 840091 h 1520187"/>
                    <a:gd name="connsiteX194" fmla="*/ 517497 w 1984332"/>
                    <a:gd name="connsiteY194" fmla="*/ 759443 h 1520187"/>
                    <a:gd name="connsiteX195" fmla="*/ 551101 w 1984332"/>
                    <a:gd name="connsiteY195" fmla="*/ 678794 h 1520187"/>
                    <a:gd name="connsiteX196" fmla="*/ 631750 w 1984332"/>
                    <a:gd name="connsiteY196" fmla="*/ 645190 h 1520187"/>
                    <a:gd name="connsiteX197" fmla="*/ 631750 w 1984332"/>
                    <a:gd name="connsiteY197" fmla="*/ 645190 h 1520187"/>
                    <a:gd name="connsiteX198" fmla="*/ 732561 w 1984332"/>
                    <a:gd name="connsiteY198" fmla="*/ 712397 h 1520187"/>
                    <a:gd name="connsiteX199" fmla="*/ 752724 w 1984332"/>
                    <a:gd name="connsiteY199" fmla="*/ 725839 h 1520187"/>
                    <a:gd name="connsiteX200" fmla="*/ 752724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26652 w 1984332"/>
                    <a:gd name="connsiteY202" fmla="*/ 725839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0093 w 1984332"/>
                    <a:gd name="connsiteY205" fmla="*/ 719118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705677 h 1520187"/>
                    <a:gd name="connsiteX210" fmla="*/ 846814 w 1984332"/>
                    <a:gd name="connsiteY210" fmla="*/ 383082 h 1520187"/>
                    <a:gd name="connsiteX211" fmla="*/ 1155969 w 1984332"/>
                    <a:gd name="connsiteY211" fmla="*/ 383082 h 1520187"/>
                    <a:gd name="connsiteX212" fmla="*/ 1155969 w 1984332"/>
                    <a:gd name="connsiteY212" fmla="*/ 423406 h 1520187"/>
                    <a:gd name="connsiteX213" fmla="*/ 1084846 w 1984332"/>
                    <a:gd name="connsiteY213" fmla="*/ 555440 h 1520187"/>
                    <a:gd name="connsiteX214" fmla="*/ 1139409 w 1984332"/>
                    <a:gd name="connsiteY214" fmla="*/ 664773 h 1520187"/>
                    <a:gd name="connsiteX215" fmla="*/ 1241803 w 1984332"/>
                    <a:gd name="connsiteY215" fmla="*/ 712400 h 1520187"/>
                    <a:gd name="connsiteX216" fmla="*/ 1354098 w 1984332"/>
                    <a:gd name="connsiteY216" fmla="*/ 670115 h 1520187"/>
                    <a:gd name="connsiteX217" fmla="*/ 1396380 w 1984332"/>
                    <a:gd name="connsiteY217" fmla="*/ 553058 h 1520187"/>
                    <a:gd name="connsiteX218" fmla="*/ 1310546 w 1984332"/>
                    <a:gd name="connsiteY218" fmla="*/ 423406 h 1520187"/>
                    <a:gd name="connsiteX219" fmla="*/ 1310546 w 1984332"/>
                    <a:gd name="connsiteY219" fmla="*/ 376361 h 1520187"/>
                    <a:gd name="connsiteX220" fmla="*/ 1612979 w 1984332"/>
                    <a:gd name="connsiteY220" fmla="*/ 376361 h 1520187"/>
                    <a:gd name="connsiteX221" fmla="*/ 1612979 w 1984332"/>
                    <a:gd name="connsiteY221" fmla="*/ 705677 h 1520187"/>
                    <a:gd name="connsiteX222" fmla="*/ 1633141 w 1984332"/>
                    <a:gd name="connsiteY222" fmla="*/ 725839 h 1520187"/>
                    <a:gd name="connsiteX223" fmla="*/ 1633141 w 1984332"/>
                    <a:gd name="connsiteY223" fmla="*/ 725839 h 1520187"/>
                    <a:gd name="connsiteX224" fmla="*/ 1713790 w 1984332"/>
                    <a:gd name="connsiteY224" fmla="*/ 725839 h 1520187"/>
                    <a:gd name="connsiteX225" fmla="*/ 1733953 w 1984332"/>
                    <a:gd name="connsiteY225" fmla="*/ 712397 h 1520187"/>
                    <a:gd name="connsiteX226" fmla="*/ 1834764 w 1984332"/>
                    <a:gd name="connsiteY226" fmla="*/ 645190 h 1520187"/>
                    <a:gd name="connsiteX227" fmla="*/ 1834764 w 1984332"/>
                    <a:gd name="connsiteY227" fmla="*/ 645190 h 1520187"/>
                    <a:gd name="connsiteX228" fmla="*/ 1915413 w 1984332"/>
                    <a:gd name="connsiteY228" fmla="*/ 678794 h 1520187"/>
                    <a:gd name="connsiteX229" fmla="*/ 1949017 w 1984332"/>
                    <a:gd name="connsiteY229" fmla="*/ 759443 h 1520187"/>
                    <a:gd name="connsiteX230" fmla="*/ 1915413 w 1984332"/>
                    <a:gd name="connsiteY230" fmla="*/ 840091 h 1520187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83663 w 1984332"/>
                    <a:gd name="connsiteY13" fmla="*/ 423406 h 1520187"/>
                    <a:gd name="connsiteX14" fmla="*/ 1294723 w 1984332"/>
                    <a:gd name="connsiteY14" fmla="*/ 450289 h 1520187"/>
                    <a:gd name="connsiteX15" fmla="*/ 1357168 w 1984332"/>
                    <a:gd name="connsiteY15" fmla="*/ 551100 h 1520187"/>
                    <a:gd name="connsiteX16" fmla="*/ 1330708 w 1984332"/>
                    <a:gd name="connsiteY16" fmla="*/ 631749 h 1520187"/>
                    <a:gd name="connsiteX17" fmla="*/ 1250059 w 1984332"/>
                    <a:gd name="connsiteY17" fmla="*/ 665352 h 1520187"/>
                    <a:gd name="connsiteX18" fmla="*/ 1135806 w 1984332"/>
                    <a:gd name="connsiteY18" fmla="*/ 551100 h 1520187"/>
                    <a:gd name="connsiteX19" fmla="*/ 1209734 w 1984332"/>
                    <a:gd name="connsiteY19" fmla="*/ 443568 h 1520187"/>
                    <a:gd name="connsiteX20" fmla="*/ 1223176 w 1984332"/>
                    <a:gd name="connsiteY20" fmla="*/ 423406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223176 w 1984332"/>
                    <a:gd name="connsiteY23" fmla="*/ 349478 h 1520187"/>
                    <a:gd name="connsiteX24" fmla="*/ 1182852 w 1984332"/>
                    <a:gd name="connsiteY24" fmla="*/ 336037 h 1520187"/>
                    <a:gd name="connsiteX25" fmla="*/ 11828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826652 w 1984332"/>
                    <a:gd name="connsiteY28" fmla="*/ 336037 h 1520187"/>
                    <a:gd name="connsiteX29" fmla="*/ 497335 w 1984332"/>
                    <a:gd name="connsiteY29" fmla="*/ 336037 h 1520187"/>
                    <a:gd name="connsiteX30" fmla="*/ 497335 w 1984332"/>
                    <a:gd name="connsiteY30" fmla="*/ 295712 h 1520187"/>
                    <a:gd name="connsiteX31" fmla="*/ 584705 w 1984332"/>
                    <a:gd name="connsiteY31" fmla="*/ 154577 h 1520187"/>
                    <a:gd name="connsiteX32" fmla="*/ 537660 w 1984332"/>
                    <a:gd name="connsiteY32" fmla="*/ 47045 h 1520187"/>
                    <a:gd name="connsiteX33" fmla="*/ 423407 w 1984332"/>
                    <a:gd name="connsiteY33" fmla="*/ 0 h 1520187"/>
                    <a:gd name="connsiteX34" fmla="*/ 423407 w 1984332"/>
                    <a:gd name="connsiteY34" fmla="*/ 0 h 1520187"/>
                    <a:gd name="connsiteX35" fmla="*/ 268830 w 1984332"/>
                    <a:gd name="connsiteY35" fmla="*/ 154577 h 1520187"/>
                    <a:gd name="connsiteX36" fmla="*/ 349479 w 1984332"/>
                    <a:gd name="connsiteY36" fmla="*/ 288991 h 1520187"/>
                    <a:gd name="connsiteX37" fmla="*/ 349479 w 1984332"/>
                    <a:gd name="connsiteY37" fmla="*/ 329316 h 1520187"/>
                    <a:gd name="connsiteX38" fmla="*/ 20162 w 1984332"/>
                    <a:gd name="connsiteY38" fmla="*/ 336037 h 1520187"/>
                    <a:gd name="connsiteX39" fmla="*/ 0 w 1984332"/>
                    <a:gd name="connsiteY39" fmla="*/ 356199 h 1520187"/>
                    <a:gd name="connsiteX40" fmla="*/ 0 w 1984332"/>
                    <a:gd name="connsiteY40" fmla="*/ 698956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20162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94090 w 1984332"/>
                    <a:gd name="connsiteY46" fmla="*/ 719118 h 1520187"/>
                    <a:gd name="connsiteX47" fmla="*/ 120973 w 1984332"/>
                    <a:gd name="connsiteY47" fmla="*/ 705677 h 1520187"/>
                    <a:gd name="connsiteX48" fmla="*/ 221785 w 1984332"/>
                    <a:gd name="connsiteY48" fmla="*/ 638469 h 1520187"/>
                    <a:gd name="connsiteX49" fmla="*/ 221785 w 1984332"/>
                    <a:gd name="connsiteY49" fmla="*/ 638469 h 1520187"/>
                    <a:gd name="connsiteX50" fmla="*/ 336037 w 1984332"/>
                    <a:gd name="connsiteY50" fmla="*/ 752722 h 1520187"/>
                    <a:gd name="connsiteX51" fmla="*/ 221785 w 1984332"/>
                    <a:gd name="connsiteY51" fmla="*/ 873695 h 1520187"/>
                    <a:gd name="connsiteX52" fmla="*/ 221785 w 1984332"/>
                    <a:gd name="connsiteY52" fmla="*/ 873695 h 1520187"/>
                    <a:gd name="connsiteX53" fmla="*/ 114253 w 1984332"/>
                    <a:gd name="connsiteY53" fmla="*/ 799767 h 1520187"/>
                    <a:gd name="connsiteX54" fmla="*/ 94090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20162 w 1984332"/>
                    <a:gd name="connsiteY59" fmla="*/ 786325 h 1520187"/>
                    <a:gd name="connsiteX60" fmla="*/ 0 w 1984332"/>
                    <a:gd name="connsiteY60" fmla="*/ 806488 h 1520187"/>
                    <a:gd name="connsiteX61" fmla="*/ 0 w 1984332"/>
                    <a:gd name="connsiteY61" fmla="*/ 1162686 h 1520187"/>
                    <a:gd name="connsiteX62" fmla="*/ 20162 w 1984332"/>
                    <a:gd name="connsiteY62" fmla="*/ 1182849 h 1520187"/>
                    <a:gd name="connsiteX63" fmla="*/ 20162 w 1984332"/>
                    <a:gd name="connsiteY63" fmla="*/ 1182849 h 1520187"/>
                    <a:gd name="connsiteX64" fmla="*/ 356200 w 1984332"/>
                    <a:gd name="connsiteY64" fmla="*/ 1182849 h 1520187"/>
                    <a:gd name="connsiteX65" fmla="*/ 356200 w 1984332"/>
                    <a:gd name="connsiteY65" fmla="*/ 1223173 h 1520187"/>
                    <a:gd name="connsiteX66" fmla="*/ 268830 w 1984332"/>
                    <a:gd name="connsiteY66" fmla="*/ 1364308 h 1520187"/>
                    <a:gd name="connsiteX67" fmla="*/ 315875 w 1984332"/>
                    <a:gd name="connsiteY67" fmla="*/ 1471840 h 1520187"/>
                    <a:gd name="connsiteX68" fmla="*/ 423407 w 1984332"/>
                    <a:gd name="connsiteY68" fmla="*/ 1518885 h 1520187"/>
                    <a:gd name="connsiteX69" fmla="*/ 423407 w 1984332"/>
                    <a:gd name="connsiteY69" fmla="*/ 1518885 h 1520187"/>
                    <a:gd name="connsiteX70" fmla="*/ 537660 w 1984332"/>
                    <a:gd name="connsiteY70" fmla="*/ 1478561 h 1520187"/>
                    <a:gd name="connsiteX71" fmla="*/ 584705 w 1984332"/>
                    <a:gd name="connsiteY71" fmla="*/ 1371029 h 1520187"/>
                    <a:gd name="connsiteX72" fmla="*/ 510777 w 1984332"/>
                    <a:gd name="connsiteY72" fmla="*/ 1236614 h 1520187"/>
                    <a:gd name="connsiteX73" fmla="*/ 510777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833373 w 1984332"/>
                    <a:gd name="connsiteY76" fmla="*/ 1189569 h 1520187"/>
                    <a:gd name="connsiteX77" fmla="*/ 1189572 w 1984332"/>
                    <a:gd name="connsiteY77" fmla="*/ 1189569 h 1520187"/>
                    <a:gd name="connsiteX78" fmla="*/ 1203014 w 1984332"/>
                    <a:gd name="connsiteY78" fmla="*/ 1182849 h 1520187"/>
                    <a:gd name="connsiteX79" fmla="*/ 1209734 w 1984332"/>
                    <a:gd name="connsiteY79" fmla="*/ 1169407 h 1520187"/>
                    <a:gd name="connsiteX80" fmla="*/ 1209734 w 1984332"/>
                    <a:gd name="connsiteY80" fmla="*/ 1095479 h 1520187"/>
                    <a:gd name="connsiteX81" fmla="*/ 1196293 w 1984332"/>
                    <a:gd name="connsiteY81" fmla="*/ 1075317 h 1520187"/>
                    <a:gd name="connsiteX82" fmla="*/ 1122365 w 1984332"/>
                    <a:gd name="connsiteY82" fmla="*/ 967785 h 1520187"/>
                    <a:gd name="connsiteX83" fmla="*/ 1155969 w 1984332"/>
                    <a:gd name="connsiteY83" fmla="*/ 887136 h 1520187"/>
                    <a:gd name="connsiteX84" fmla="*/ 1236617 w 1984332"/>
                    <a:gd name="connsiteY84" fmla="*/ 853533 h 1520187"/>
                    <a:gd name="connsiteX85" fmla="*/ 1236617 w 1984332"/>
                    <a:gd name="connsiteY85" fmla="*/ 853533 h 1520187"/>
                    <a:gd name="connsiteX86" fmla="*/ 1317266 w 1984332"/>
                    <a:gd name="connsiteY86" fmla="*/ 887136 h 1520187"/>
                    <a:gd name="connsiteX87" fmla="*/ 1350870 w 1984332"/>
                    <a:gd name="connsiteY87" fmla="*/ 967785 h 1520187"/>
                    <a:gd name="connsiteX88" fmla="*/ 1283663 w 1984332"/>
                    <a:gd name="connsiteY88" fmla="*/ 1068596 h 1520187"/>
                    <a:gd name="connsiteX89" fmla="*/ 1270221 w 1984332"/>
                    <a:gd name="connsiteY89" fmla="*/ 1088758 h 1520187"/>
                    <a:gd name="connsiteX90" fmla="*/ 1270221 w 1984332"/>
                    <a:gd name="connsiteY90" fmla="*/ 1162686 h 1520187"/>
                    <a:gd name="connsiteX91" fmla="*/ 1276942 w 1984332"/>
                    <a:gd name="connsiteY91" fmla="*/ 1176128 h 1520187"/>
                    <a:gd name="connsiteX92" fmla="*/ 1290383 w 1984332"/>
                    <a:gd name="connsiteY92" fmla="*/ 1182849 h 1520187"/>
                    <a:gd name="connsiteX93" fmla="*/ 1290383 w 1984332"/>
                    <a:gd name="connsiteY93" fmla="*/ 1182849 h 1520187"/>
                    <a:gd name="connsiteX94" fmla="*/ 1633141 w 1984332"/>
                    <a:gd name="connsiteY94" fmla="*/ 1182849 h 1520187"/>
                    <a:gd name="connsiteX95" fmla="*/ 1653304 w 1984332"/>
                    <a:gd name="connsiteY95" fmla="*/ 1162686 h 1520187"/>
                    <a:gd name="connsiteX96" fmla="*/ 1653304 w 1984332"/>
                    <a:gd name="connsiteY96" fmla="*/ 833371 h 1520187"/>
                    <a:gd name="connsiteX97" fmla="*/ 1693628 w 1984332"/>
                    <a:gd name="connsiteY97" fmla="*/ 833371 h 1520187"/>
                    <a:gd name="connsiteX98" fmla="*/ 1828043 w 1984332"/>
                    <a:gd name="connsiteY98" fmla="*/ 914019 h 1520187"/>
                    <a:gd name="connsiteX99" fmla="*/ 1828043 w 1984332"/>
                    <a:gd name="connsiteY99" fmla="*/ 914019 h 1520187"/>
                    <a:gd name="connsiteX100" fmla="*/ 1935575 w 1984332"/>
                    <a:gd name="connsiteY100" fmla="*/ 866974 h 1520187"/>
                    <a:gd name="connsiteX101" fmla="*/ 1982620 w 1984332"/>
                    <a:gd name="connsiteY101" fmla="*/ 759443 h 1520187"/>
                    <a:gd name="connsiteX102" fmla="*/ 1949017 w 1984332"/>
                    <a:gd name="connsiteY102" fmla="*/ 645190 h 1520187"/>
                    <a:gd name="connsiteX103" fmla="*/ 483894 w 1984332"/>
                    <a:gd name="connsiteY103" fmla="*/ 1142524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162686 h 1520187"/>
                    <a:gd name="connsiteX107" fmla="*/ 463732 w 1984332"/>
                    <a:gd name="connsiteY107" fmla="*/ 1236614 h 1520187"/>
                    <a:gd name="connsiteX108" fmla="*/ 463732 w 1984332"/>
                    <a:gd name="connsiteY108" fmla="*/ 1236614 h 1520187"/>
                    <a:gd name="connsiteX109" fmla="*/ 477173 w 1984332"/>
                    <a:gd name="connsiteY109" fmla="*/ 1263497 h 1520187"/>
                    <a:gd name="connsiteX110" fmla="*/ 544381 w 1984332"/>
                    <a:gd name="connsiteY110" fmla="*/ 1364308 h 1520187"/>
                    <a:gd name="connsiteX111" fmla="*/ 510777 w 1984332"/>
                    <a:gd name="connsiteY111" fmla="*/ 1444957 h 1520187"/>
                    <a:gd name="connsiteX112" fmla="*/ 423407 w 1984332"/>
                    <a:gd name="connsiteY112" fmla="*/ 1478561 h 1520187"/>
                    <a:gd name="connsiteX113" fmla="*/ 423407 w 1984332"/>
                    <a:gd name="connsiteY113" fmla="*/ 1478561 h 1520187"/>
                    <a:gd name="connsiteX114" fmla="*/ 342758 w 1984332"/>
                    <a:gd name="connsiteY114" fmla="*/ 1444957 h 1520187"/>
                    <a:gd name="connsiteX115" fmla="*/ 309154 w 1984332"/>
                    <a:gd name="connsiteY115" fmla="*/ 1364308 h 1520187"/>
                    <a:gd name="connsiteX116" fmla="*/ 383083 w 1984332"/>
                    <a:gd name="connsiteY116" fmla="*/ 1256777 h 1520187"/>
                    <a:gd name="connsiteX117" fmla="*/ 396524 w 1984332"/>
                    <a:gd name="connsiteY117" fmla="*/ 1236614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96524 w 1984332"/>
                    <a:gd name="connsiteY120" fmla="*/ 1162686 h 1520187"/>
                    <a:gd name="connsiteX121" fmla="*/ 376362 w 1984332"/>
                    <a:gd name="connsiteY121" fmla="*/ 1142524 h 1520187"/>
                    <a:gd name="connsiteX122" fmla="*/ 376362 w 1984332"/>
                    <a:gd name="connsiteY122" fmla="*/ 1142524 h 1520187"/>
                    <a:gd name="connsiteX123" fmla="*/ 40324 w 1984332"/>
                    <a:gd name="connsiteY123" fmla="*/ 1142524 h 1520187"/>
                    <a:gd name="connsiteX124" fmla="*/ 40324 w 1984332"/>
                    <a:gd name="connsiteY124" fmla="*/ 833371 h 1520187"/>
                    <a:gd name="connsiteX125" fmla="*/ 80649 w 1984332"/>
                    <a:gd name="connsiteY125" fmla="*/ 833371 h 1520187"/>
                    <a:gd name="connsiteX126" fmla="*/ 221785 w 1984332"/>
                    <a:gd name="connsiteY126" fmla="*/ 920740 h 1520187"/>
                    <a:gd name="connsiteX127" fmla="*/ 221785 w 1984332"/>
                    <a:gd name="connsiteY127" fmla="*/ 920740 h 1520187"/>
                    <a:gd name="connsiteX128" fmla="*/ 376362 w 1984332"/>
                    <a:gd name="connsiteY128" fmla="*/ 766163 h 1520187"/>
                    <a:gd name="connsiteX129" fmla="*/ 221785 w 1984332"/>
                    <a:gd name="connsiteY129" fmla="*/ 604866 h 1520187"/>
                    <a:gd name="connsiteX130" fmla="*/ 221785 w 1984332"/>
                    <a:gd name="connsiteY130" fmla="*/ 604866 h 1520187"/>
                    <a:gd name="connsiteX131" fmla="*/ 87370 w 1984332"/>
                    <a:gd name="connsiteY131" fmla="*/ 678794 h 1520187"/>
                    <a:gd name="connsiteX132" fmla="*/ 40324 w 1984332"/>
                    <a:gd name="connsiteY132" fmla="*/ 678794 h 1520187"/>
                    <a:gd name="connsiteX133" fmla="*/ 40324 w 1984332"/>
                    <a:gd name="connsiteY133" fmla="*/ 376361 h 1520187"/>
                    <a:gd name="connsiteX134" fmla="*/ 369641 w 1984332"/>
                    <a:gd name="connsiteY134" fmla="*/ 376361 h 1520187"/>
                    <a:gd name="connsiteX135" fmla="*/ 383083 w 1984332"/>
                    <a:gd name="connsiteY135" fmla="*/ 369640 h 1520187"/>
                    <a:gd name="connsiteX136" fmla="*/ 389803 w 1984332"/>
                    <a:gd name="connsiteY136" fmla="*/ 356199 h 1520187"/>
                    <a:gd name="connsiteX137" fmla="*/ 389803 w 1984332"/>
                    <a:gd name="connsiteY137" fmla="*/ 275550 h 1520187"/>
                    <a:gd name="connsiteX138" fmla="*/ 376362 w 1984332"/>
                    <a:gd name="connsiteY138" fmla="*/ 255388 h 1520187"/>
                    <a:gd name="connsiteX139" fmla="*/ 309154 w 1984332"/>
                    <a:gd name="connsiteY139" fmla="*/ 154577 h 1520187"/>
                    <a:gd name="connsiteX140" fmla="*/ 423407 w 1984332"/>
                    <a:gd name="connsiteY140" fmla="*/ 40324 h 1520187"/>
                    <a:gd name="connsiteX141" fmla="*/ 504056 w 1984332"/>
                    <a:gd name="connsiteY141" fmla="*/ 73928 h 1520187"/>
                    <a:gd name="connsiteX142" fmla="*/ 537660 w 1984332"/>
                    <a:gd name="connsiteY142" fmla="*/ 154577 h 1520187"/>
                    <a:gd name="connsiteX143" fmla="*/ 470452 w 1984332"/>
                    <a:gd name="connsiteY143" fmla="*/ 262109 h 1520187"/>
                    <a:gd name="connsiteX144" fmla="*/ 457011 w 1984332"/>
                    <a:gd name="connsiteY144" fmla="*/ 282271 h 1520187"/>
                    <a:gd name="connsiteX145" fmla="*/ 457011 w 1984332"/>
                    <a:gd name="connsiteY145" fmla="*/ 362919 h 1520187"/>
                    <a:gd name="connsiteX146" fmla="*/ 477173 w 1984332"/>
                    <a:gd name="connsiteY146" fmla="*/ 383082 h 1520187"/>
                    <a:gd name="connsiteX147" fmla="*/ 477173 w 1984332"/>
                    <a:gd name="connsiteY147" fmla="*/ 383082 h 1520187"/>
                    <a:gd name="connsiteX148" fmla="*/ 806490 w 1984332"/>
                    <a:gd name="connsiteY148" fmla="*/ 383082 h 1520187"/>
                    <a:gd name="connsiteX149" fmla="*/ 806490 w 1984332"/>
                    <a:gd name="connsiteY149" fmla="*/ 631749 h 1520187"/>
                    <a:gd name="connsiteX150" fmla="*/ 806490 w 1984332"/>
                    <a:gd name="connsiteY150" fmla="*/ 685515 h 1520187"/>
                    <a:gd name="connsiteX151" fmla="*/ 766165 w 1984332"/>
                    <a:gd name="connsiteY151" fmla="*/ 685515 h 1520187"/>
                    <a:gd name="connsiteX152" fmla="*/ 631750 w 1984332"/>
                    <a:gd name="connsiteY152" fmla="*/ 604866 h 1520187"/>
                    <a:gd name="connsiteX153" fmla="*/ 631750 w 1984332"/>
                    <a:gd name="connsiteY153" fmla="*/ 604866 h 1520187"/>
                    <a:gd name="connsiteX154" fmla="*/ 517497 w 1984332"/>
                    <a:gd name="connsiteY154" fmla="*/ 651911 h 1520187"/>
                    <a:gd name="connsiteX155" fmla="*/ 470452 w 1984332"/>
                    <a:gd name="connsiteY155" fmla="*/ 759443 h 1520187"/>
                    <a:gd name="connsiteX156" fmla="*/ 517497 w 1984332"/>
                    <a:gd name="connsiteY156" fmla="*/ 866974 h 1520187"/>
                    <a:gd name="connsiteX157" fmla="*/ 625029 w 1984332"/>
                    <a:gd name="connsiteY157" fmla="*/ 914019 h 1520187"/>
                    <a:gd name="connsiteX158" fmla="*/ 625029 w 1984332"/>
                    <a:gd name="connsiteY158" fmla="*/ 914019 h 1520187"/>
                    <a:gd name="connsiteX159" fmla="*/ 766165 w 1984332"/>
                    <a:gd name="connsiteY159" fmla="*/ 826650 h 1520187"/>
                    <a:gd name="connsiteX160" fmla="*/ 799769 w 1984332"/>
                    <a:gd name="connsiteY160" fmla="*/ 826650 h 1520187"/>
                    <a:gd name="connsiteX161" fmla="*/ 799769 w 1984332"/>
                    <a:gd name="connsiteY161" fmla="*/ 1135803 h 1520187"/>
                    <a:gd name="connsiteX162" fmla="*/ 483894 w 1984332"/>
                    <a:gd name="connsiteY162" fmla="*/ 1142524 h 1520187"/>
                    <a:gd name="connsiteX163" fmla="*/ 1915413 w 1984332"/>
                    <a:gd name="connsiteY163" fmla="*/ 840091 h 1520187"/>
                    <a:gd name="connsiteX164" fmla="*/ 1834764 w 1984332"/>
                    <a:gd name="connsiteY164" fmla="*/ 873695 h 1520187"/>
                    <a:gd name="connsiteX165" fmla="*/ 1834764 w 1984332"/>
                    <a:gd name="connsiteY165" fmla="*/ 873695 h 1520187"/>
                    <a:gd name="connsiteX166" fmla="*/ 1733953 w 1984332"/>
                    <a:gd name="connsiteY166" fmla="*/ 806488 h 1520187"/>
                    <a:gd name="connsiteX167" fmla="*/ 1713790 w 1984332"/>
                    <a:gd name="connsiteY167" fmla="*/ 793046 h 1520187"/>
                    <a:gd name="connsiteX168" fmla="*/ 1713790 w 1984332"/>
                    <a:gd name="connsiteY168" fmla="*/ 793046 h 1520187"/>
                    <a:gd name="connsiteX169" fmla="*/ 1633141 w 1984332"/>
                    <a:gd name="connsiteY169" fmla="*/ 793046 h 1520187"/>
                    <a:gd name="connsiteX170" fmla="*/ 1612979 w 1984332"/>
                    <a:gd name="connsiteY170" fmla="*/ 813208 h 1520187"/>
                    <a:gd name="connsiteX171" fmla="*/ 1612979 w 1984332"/>
                    <a:gd name="connsiteY171" fmla="*/ 1142524 h 1520187"/>
                    <a:gd name="connsiteX172" fmla="*/ 1310546 w 1984332"/>
                    <a:gd name="connsiteY172" fmla="*/ 1142524 h 1520187"/>
                    <a:gd name="connsiteX173" fmla="*/ 1310546 w 1984332"/>
                    <a:gd name="connsiteY173" fmla="*/ 1102200 h 1520187"/>
                    <a:gd name="connsiteX174" fmla="*/ 1384474 w 1984332"/>
                    <a:gd name="connsiteY174" fmla="*/ 967785 h 1520187"/>
                    <a:gd name="connsiteX175" fmla="*/ 1337429 w 1984332"/>
                    <a:gd name="connsiteY175" fmla="*/ 860254 h 1520187"/>
                    <a:gd name="connsiteX176" fmla="*/ 1229897 w 1984332"/>
                    <a:gd name="connsiteY176" fmla="*/ 813208 h 1520187"/>
                    <a:gd name="connsiteX177" fmla="*/ 1229897 w 1984332"/>
                    <a:gd name="connsiteY177" fmla="*/ 813208 h 1520187"/>
                    <a:gd name="connsiteX178" fmla="*/ 1122365 w 1984332"/>
                    <a:gd name="connsiteY178" fmla="*/ 860254 h 1520187"/>
                    <a:gd name="connsiteX179" fmla="*/ 1075320 w 1984332"/>
                    <a:gd name="connsiteY179" fmla="*/ 967785 h 1520187"/>
                    <a:gd name="connsiteX180" fmla="*/ 1162689 w 1984332"/>
                    <a:gd name="connsiteY180" fmla="*/ 1108921 h 1520187"/>
                    <a:gd name="connsiteX181" fmla="*/ 1162689 w 1984332"/>
                    <a:gd name="connsiteY181" fmla="*/ 1142524 h 1520187"/>
                    <a:gd name="connsiteX182" fmla="*/ 853535 w 1984332"/>
                    <a:gd name="connsiteY182" fmla="*/ 1142524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19929 h 1520187"/>
                    <a:gd name="connsiteX185" fmla="*/ 853535 w 1984332"/>
                    <a:gd name="connsiteY185" fmla="*/ 806488 h 1520187"/>
                    <a:gd name="connsiteX186" fmla="*/ 846814 w 1984332"/>
                    <a:gd name="connsiteY186" fmla="*/ 793046 h 1520187"/>
                    <a:gd name="connsiteX187" fmla="*/ 833373 w 1984332"/>
                    <a:gd name="connsiteY187" fmla="*/ 786325 h 1520187"/>
                    <a:gd name="connsiteX188" fmla="*/ 833373 w 1984332"/>
                    <a:gd name="connsiteY188" fmla="*/ 786325 h 1520187"/>
                    <a:gd name="connsiteX189" fmla="*/ 759444 w 1984332"/>
                    <a:gd name="connsiteY189" fmla="*/ 786325 h 1520187"/>
                    <a:gd name="connsiteX190" fmla="*/ 739282 w 1984332"/>
                    <a:gd name="connsiteY190" fmla="*/ 799767 h 1520187"/>
                    <a:gd name="connsiteX191" fmla="*/ 631750 w 1984332"/>
                    <a:gd name="connsiteY191" fmla="*/ 873695 h 1520187"/>
                    <a:gd name="connsiteX192" fmla="*/ 631750 w 1984332"/>
                    <a:gd name="connsiteY192" fmla="*/ 873695 h 1520187"/>
                    <a:gd name="connsiteX193" fmla="*/ 551101 w 1984332"/>
                    <a:gd name="connsiteY193" fmla="*/ 840091 h 1520187"/>
                    <a:gd name="connsiteX194" fmla="*/ 517497 w 1984332"/>
                    <a:gd name="connsiteY194" fmla="*/ 759443 h 1520187"/>
                    <a:gd name="connsiteX195" fmla="*/ 551101 w 1984332"/>
                    <a:gd name="connsiteY195" fmla="*/ 678794 h 1520187"/>
                    <a:gd name="connsiteX196" fmla="*/ 631750 w 1984332"/>
                    <a:gd name="connsiteY196" fmla="*/ 645190 h 1520187"/>
                    <a:gd name="connsiteX197" fmla="*/ 631750 w 1984332"/>
                    <a:gd name="connsiteY197" fmla="*/ 645190 h 1520187"/>
                    <a:gd name="connsiteX198" fmla="*/ 732561 w 1984332"/>
                    <a:gd name="connsiteY198" fmla="*/ 712397 h 1520187"/>
                    <a:gd name="connsiteX199" fmla="*/ 752724 w 1984332"/>
                    <a:gd name="connsiteY199" fmla="*/ 725839 h 1520187"/>
                    <a:gd name="connsiteX200" fmla="*/ 752724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26652 w 1984332"/>
                    <a:gd name="connsiteY202" fmla="*/ 725839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0093 w 1984332"/>
                    <a:gd name="connsiteY205" fmla="*/ 719118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705677 h 1520187"/>
                    <a:gd name="connsiteX210" fmla="*/ 846814 w 1984332"/>
                    <a:gd name="connsiteY210" fmla="*/ 383082 h 1520187"/>
                    <a:gd name="connsiteX211" fmla="*/ 1155969 w 1984332"/>
                    <a:gd name="connsiteY211" fmla="*/ 383082 h 1520187"/>
                    <a:gd name="connsiteX212" fmla="*/ 1155969 w 1984332"/>
                    <a:gd name="connsiteY212" fmla="*/ 423406 h 1520187"/>
                    <a:gd name="connsiteX213" fmla="*/ 1084846 w 1984332"/>
                    <a:gd name="connsiteY213" fmla="*/ 555440 h 1520187"/>
                    <a:gd name="connsiteX214" fmla="*/ 1139409 w 1984332"/>
                    <a:gd name="connsiteY214" fmla="*/ 664773 h 1520187"/>
                    <a:gd name="connsiteX215" fmla="*/ 1241803 w 1984332"/>
                    <a:gd name="connsiteY215" fmla="*/ 712400 h 1520187"/>
                    <a:gd name="connsiteX216" fmla="*/ 1354098 w 1984332"/>
                    <a:gd name="connsiteY216" fmla="*/ 670115 h 1520187"/>
                    <a:gd name="connsiteX217" fmla="*/ 1396380 w 1984332"/>
                    <a:gd name="connsiteY217" fmla="*/ 553058 h 1520187"/>
                    <a:gd name="connsiteX218" fmla="*/ 1310546 w 1984332"/>
                    <a:gd name="connsiteY218" fmla="*/ 423406 h 1520187"/>
                    <a:gd name="connsiteX219" fmla="*/ 1310546 w 1984332"/>
                    <a:gd name="connsiteY219" fmla="*/ 376361 h 1520187"/>
                    <a:gd name="connsiteX220" fmla="*/ 1612979 w 1984332"/>
                    <a:gd name="connsiteY220" fmla="*/ 376361 h 1520187"/>
                    <a:gd name="connsiteX221" fmla="*/ 1612979 w 1984332"/>
                    <a:gd name="connsiteY221" fmla="*/ 705677 h 1520187"/>
                    <a:gd name="connsiteX222" fmla="*/ 1633141 w 1984332"/>
                    <a:gd name="connsiteY222" fmla="*/ 725839 h 1520187"/>
                    <a:gd name="connsiteX223" fmla="*/ 1633141 w 1984332"/>
                    <a:gd name="connsiteY223" fmla="*/ 725839 h 1520187"/>
                    <a:gd name="connsiteX224" fmla="*/ 1713790 w 1984332"/>
                    <a:gd name="connsiteY224" fmla="*/ 725839 h 1520187"/>
                    <a:gd name="connsiteX225" fmla="*/ 1733953 w 1984332"/>
                    <a:gd name="connsiteY225" fmla="*/ 712397 h 1520187"/>
                    <a:gd name="connsiteX226" fmla="*/ 1834764 w 1984332"/>
                    <a:gd name="connsiteY226" fmla="*/ 645190 h 1520187"/>
                    <a:gd name="connsiteX227" fmla="*/ 1834764 w 1984332"/>
                    <a:gd name="connsiteY227" fmla="*/ 645190 h 1520187"/>
                    <a:gd name="connsiteX228" fmla="*/ 1915413 w 1984332"/>
                    <a:gd name="connsiteY228" fmla="*/ 678794 h 1520187"/>
                    <a:gd name="connsiteX229" fmla="*/ 1949017 w 1984332"/>
                    <a:gd name="connsiteY229" fmla="*/ 759443 h 1520187"/>
                    <a:gd name="connsiteX230" fmla="*/ 1915413 w 1984332"/>
                    <a:gd name="connsiteY230" fmla="*/ 840091 h 1520187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83663 w 1984332"/>
                    <a:gd name="connsiteY13" fmla="*/ 423406 h 1520187"/>
                    <a:gd name="connsiteX14" fmla="*/ 1294723 w 1984332"/>
                    <a:gd name="connsiteY14" fmla="*/ 450289 h 1520187"/>
                    <a:gd name="connsiteX15" fmla="*/ 1357168 w 1984332"/>
                    <a:gd name="connsiteY15" fmla="*/ 551100 h 1520187"/>
                    <a:gd name="connsiteX16" fmla="*/ 1330708 w 1984332"/>
                    <a:gd name="connsiteY16" fmla="*/ 631749 h 1520187"/>
                    <a:gd name="connsiteX17" fmla="*/ 1250059 w 1984332"/>
                    <a:gd name="connsiteY17" fmla="*/ 665352 h 1520187"/>
                    <a:gd name="connsiteX18" fmla="*/ 1135806 w 1984332"/>
                    <a:gd name="connsiteY18" fmla="*/ 551100 h 1520187"/>
                    <a:gd name="connsiteX19" fmla="*/ 1209734 w 1984332"/>
                    <a:gd name="connsiteY19" fmla="*/ 443568 h 1520187"/>
                    <a:gd name="connsiteX20" fmla="*/ 1223176 w 1984332"/>
                    <a:gd name="connsiteY20" fmla="*/ 423406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223176 w 1984332"/>
                    <a:gd name="connsiteY23" fmla="*/ 349478 h 1520187"/>
                    <a:gd name="connsiteX24" fmla="*/ 1182852 w 1984332"/>
                    <a:gd name="connsiteY24" fmla="*/ 336037 h 1520187"/>
                    <a:gd name="connsiteX25" fmla="*/ 11828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826652 w 1984332"/>
                    <a:gd name="connsiteY28" fmla="*/ 336037 h 1520187"/>
                    <a:gd name="connsiteX29" fmla="*/ 497335 w 1984332"/>
                    <a:gd name="connsiteY29" fmla="*/ 336037 h 1520187"/>
                    <a:gd name="connsiteX30" fmla="*/ 497335 w 1984332"/>
                    <a:gd name="connsiteY30" fmla="*/ 295712 h 1520187"/>
                    <a:gd name="connsiteX31" fmla="*/ 584705 w 1984332"/>
                    <a:gd name="connsiteY31" fmla="*/ 154577 h 1520187"/>
                    <a:gd name="connsiteX32" fmla="*/ 537660 w 1984332"/>
                    <a:gd name="connsiteY32" fmla="*/ 47045 h 1520187"/>
                    <a:gd name="connsiteX33" fmla="*/ 423407 w 1984332"/>
                    <a:gd name="connsiteY33" fmla="*/ 0 h 1520187"/>
                    <a:gd name="connsiteX34" fmla="*/ 423407 w 1984332"/>
                    <a:gd name="connsiteY34" fmla="*/ 0 h 1520187"/>
                    <a:gd name="connsiteX35" fmla="*/ 268830 w 1984332"/>
                    <a:gd name="connsiteY35" fmla="*/ 154577 h 1520187"/>
                    <a:gd name="connsiteX36" fmla="*/ 349479 w 1984332"/>
                    <a:gd name="connsiteY36" fmla="*/ 288991 h 1520187"/>
                    <a:gd name="connsiteX37" fmla="*/ 349479 w 1984332"/>
                    <a:gd name="connsiteY37" fmla="*/ 329316 h 1520187"/>
                    <a:gd name="connsiteX38" fmla="*/ 20162 w 1984332"/>
                    <a:gd name="connsiteY38" fmla="*/ 336037 h 1520187"/>
                    <a:gd name="connsiteX39" fmla="*/ 0 w 1984332"/>
                    <a:gd name="connsiteY39" fmla="*/ 356199 h 1520187"/>
                    <a:gd name="connsiteX40" fmla="*/ 0 w 1984332"/>
                    <a:gd name="connsiteY40" fmla="*/ 698956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20162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94090 w 1984332"/>
                    <a:gd name="connsiteY46" fmla="*/ 719118 h 1520187"/>
                    <a:gd name="connsiteX47" fmla="*/ 120973 w 1984332"/>
                    <a:gd name="connsiteY47" fmla="*/ 705677 h 1520187"/>
                    <a:gd name="connsiteX48" fmla="*/ 221785 w 1984332"/>
                    <a:gd name="connsiteY48" fmla="*/ 638469 h 1520187"/>
                    <a:gd name="connsiteX49" fmla="*/ 221785 w 1984332"/>
                    <a:gd name="connsiteY49" fmla="*/ 638469 h 1520187"/>
                    <a:gd name="connsiteX50" fmla="*/ 336037 w 1984332"/>
                    <a:gd name="connsiteY50" fmla="*/ 752722 h 1520187"/>
                    <a:gd name="connsiteX51" fmla="*/ 221785 w 1984332"/>
                    <a:gd name="connsiteY51" fmla="*/ 873695 h 1520187"/>
                    <a:gd name="connsiteX52" fmla="*/ 221785 w 1984332"/>
                    <a:gd name="connsiteY52" fmla="*/ 873695 h 1520187"/>
                    <a:gd name="connsiteX53" fmla="*/ 114253 w 1984332"/>
                    <a:gd name="connsiteY53" fmla="*/ 799767 h 1520187"/>
                    <a:gd name="connsiteX54" fmla="*/ 94090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20162 w 1984332"/>
                    <a:gd name="connsiteY59" fmla="*/ 786325 h 1520187"/>
                    <a:gd name="connsiteX60" fmla="*/ 0 w 1984332"/>
                    <a:gd name="connsiteY60" fmla="*/ 806488 h 1520187"/>
                    <a:gd name="connsiteX61" fmla="*/ 0 w 1984332"/>
                    <a:gd name="connsiteY61" fmla="*/ 1162686 h 1520187"/>
                    <a:gd name="connsiteX62" fmla="*/ 20162 w 1984332"/>
                    <a:gd name="connsiteY62" fmla="*/ 1182849 h 1520187"/>
                    <a:gd name="connsiteX63" fmla="*/ 20162 w 1984332"/>
                    <a:gd name="connsiteY63" fmla="*/ 1182849 h 1520187"/>
                    <a:gd name="connsiteX64" fmla="*/ 356200 w 1984332"/>
                    <a:gd name="connsiteY64" fmla="*/ 1182849 h 1520187"/>
                    <a:gd name="connsiteX65" fmla="*/ 356200 w 1984332"/>
                    <a:gd name="connsiteY65" fmla="*/ 1223173 h 1520187"/>
                    <a:gd name="connsiteX66" fmla="*/ 268830 w 1984332"/>
                    <a:gd name="connsiteY66" fmla="*/ 1364308 h 1520187"/>
                    <a:gd name="connsiteX67" fmla="*/ 315875 w 1984332"/>
                    <a:gd name="connsiteY67" fmla="*/ 1471840 h 1520187"/>
                    <a:gd name="connsiteX68" fmla="*/ 423407 w 1984332"/>
                    <a:gd name="connsiteY68" fmla="*/ 1518885 h 1520187"/>
                    <a:gd name="connsiteX69" fmla="*/ 423407 w 1984332"/>
                    <a:gd name="connsiteY69" fmla="*/ 1518885 h 1520187"/>
                    <a:gd name="connsiteX70" fmla="*/ 537660 w 1984332"/>
                    <a:gd name="connsiteY70" fmla="*/ 1478561 h 1520187"/>
                    <a:gd name="connsiteX71" fmla="*/ 584705 w 1984332"/>
                    <a:gd name="connsiteY71" fmla="*/ 1371029 h 1520187"/>
                    <a:gd name="connsiteX72" fmla="*/ 510777 w 1984332"/>
                    <a:gd name="connsiteY72" fmla="*/ 1236614 h 1520187"/>
                    <a:gd name="connsiteX73" fmla="*/ 510777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833373 w 1984332"/>
                    <a:gd name="connsiteY76" fmla="*/ 1189569 h 1520187"/>
                    <a:gd name="connsiteX77" fmla="*/ 1189572 w 1984332"/>
                    <a:gd name="connsiteY77" fmla="*/ 1189569 h 1520187"/>
                    <a:gd name="connsiteX78" fmla="*/ 1203014 w 1984332"/>
                    <a:gd name="connsiteY78" fmla="*/ 1182849 h 1520187"/>
                    <a:gd name="connsiteX79" fmla="*/ 1209734 w 1984332"/>
                    <a:gd name="connsiteY79" fmla="*/ 1169407 h 1520187"/>
                    <a:gd name="connsiteX80" fmla="*/ 1209734 w 1984332"/>
                    <a:gd name="connsiteY80" fmla="*/ 1095479 h 1520187"/>
                    <a:gd name="connsiteX81" fmla="*/ 1196293 w 1984332"/>
                    <a:gd name="connsiteY81" fmla="*/ 1075317 h 1520187"/>
                    <a:gd name="connsiteX82" fmla="*/ 1122365 w 1984332"/>
                    <a:gd name="connsiteY82" fmla="*/ 967785 h 1520187"/>
                    <a:gd name="connsiteX83" fmla="*/ 1155969 w 1984332"/>
                    <a:gd name="connsiteY83" fmla="*/ 887136 h 1520187"/>
                    <a:gd name="connsiteX84" fmla="*/ 1236617 w 1984332"/>
                    <a:gd name="connsiteY84" fmla="*/ 853533 h 1520187"/>
                    <a:gd name="connsiteX85" fmla="*/ 1236617 w 1984332"/>
                    <a:gd name="connsiteY85" fmla="*/ 853533 h 1520187"/>
                    <a:gd name="connsiteX86" fmla="*/ 1317266 w 1984332"/>
                    <a:gd name="connsiteY86" fmla="*/ 887136 h 1520187"/>
                    <a:gd name="connsiteX87" fmla="*/ 1350870 w 1984332"/>
                    <a:gd name="connsiteY87" fmla="*/ 967785 h 1520187"/>
                    <a:gd name="connsiteX88" fmla="*/ 1283663 w 1984332"/>
                    <a:gd name="connsiteY88" fmla="*/ 1068596 h 1520187"/>
                    <a:gd name="connsiteX89" fmla="*/ 1270221 w 1984332"/>
                    <a:gd name="connsiteY89" fmla="*/ 1088758 h 1520187"/>
                    <a:gd name="connsiteX90" fmla="*/ 1270221 w 1984332"/>
                    <a:gd name="connsiteY90" fmla="*/ 1162686 h 1520187"/>
                    <a:gd name="connsiteX91" fmla="*/ 1276942 w 1984332"/>
                    <a:gd name="connsiteY91" fmla="*/ 1176128 h 1520187"/>
                    <a:gd name="connsiteX92" fmla="*/ 1290383 w 1984332"/>
                    <a:gd name="connsiteY92" fmla="*/ 1182849 h 1520187"/>
                    <a:gd name="connsiteX93" fmla="*/ 1290383 w 1984332"/>
                    <a:gd name="connsiteY93" fmla="*/ 1182849 h 1520187"/>
                    <a:gd name="connsiteX94" fmla="*/ 1633141 w 1984332"/>
                    <a:gd name="connsiteY94" fmla="*/ 1182849 h 1520187"/>
                    <a:gd name="connsiteX95" fmla="*/ 1653304 w 1984332"/>
                    <a:gd name="connsiteY95" fmla="*/ 1162686 h 1520187"/>
                    <a:gd name="connsiteX96" fmla="*/ 1653304 w 1984332"/>
                    <a:gd name="connsiteY96" fmla="*/ 833371 h 1520187"/>
                    <a:gd name="connsiteX97" fmla="*/ 1693628 w 1984332"/>
                    <a:gd name="connsiteY97" fmla="*/ 833371 h 1520187"/>
                    <a:gd name="connsiteX98" fmla="*/ 1828043 w 1984332"/>
                    <a:gd name="connsiteY98" fmla="*/ 914019 h 1520187"/>
                    <a:gd name="connsiteX99" fmla="*/ 1828043 w 1984332"/>
                    <a:gd name="connsiteY99" fmla="*/ 914019 h 1520187"/>
                    <a:gd name="connsiteX100" fmla="*/ 1935575 w 1984332"/>
                    <a:gd name="connsiteY100" fmla="*/ 866974 h 1520187"/>
                    <a:gd name="connsiteX101" fmla="*/ 1982620 w 1984332"/>
                    <a:gd name="connsiteY101" fmla="*/ 759443 h 1520187"/>
                    <a:gd name="connsiteX102" fmla="*/ 1949017 w 1984332"/>
                    <a:gd name="connsiteY102" fmla="*/ 645190 h 1520187"/>
                    <a:gd name="connsiteX103" fmla="*/ 483894 w 1984332"/>
                    <a:gd name="connsiteY103" fmla="*/ 1142524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162686 h 1520187"/>
                    <a:gd name="connsiteX107" fmla="*/ 463732 w 1984332"/>
                    <a:gd name="connsiteY107" fmla="*/ 1236614 h 1520187"/>
                    <a:gd name="connsiteX108" fmla="*/ 463732 w 1984332"/>
                    <a:gd name="connsiteY108" fmla="*/ 1236614 h 1520187"/>
                    <a:gd name="connsiteX109" fmla="*/ 477173 w 1984332"/>
                    <a:gd name="connsiteY109" fmla="*/ 1263497 h 1520187"/>
                    <a:gd name="connsiteX110" fmla="*/ 544381 w 1984332"/>
                    <a:gd name="connsiteY110" fmla="*/ 1364308 h 1520187"/>
                    <a:gd name="connsiteX111" fmla="*/ 510777 w 1984332"/>
                    <a:gd name="connsiteY111" fmla="*/ 1444957 h 1520187"/>
                    <a:gd name="connsiteX112" fmla="*/ 423407 w 1984332"/>
                    <a:gd name="connsiteY112" fmla="*/ 1478561 h 1520187"/>
                    <a:gd name="connsiteX113" fmla="*/ 423407 w 1984332"/>
                    <a:gd name="connsiteY113" fmla="*/ 1478561 h 1520187"/>
                    <a:gd name="connsiteX114" fmla="*/ 342758 w 1984332"/>
                    <a:gd name="connsiteY114" fmla="*/ 1444957 h 1520187"/>
                    <a:gd name="connsiteX115" fmla="*/ 309154 w 1984332"/>
                    <a:gd name="connsiteY115" fmla="*/ 1364308 h 1520187"/>
                    <a:gd name="connsiteX116" fmla="*/ 383083 w 1984332"/>
                    <a:gd name="connsiteY116" fmla="*/ 1256777 h 1520187"/>
                    <a:gd name="connsiteX117" fmla="*/ 396524 w 1984332"/>
                    <a:gd name="connsiteY117" fmla="*/ 1236614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96524 w 1984332"/>
                    <a:gd name="connsiteY120" fmla="*/ 1162686 h 1520187"/>
                    <a:gd name="connsiteX121" fmla="*/ 376362 w 1984332"/>
                    <a:gd name="connsiteY121" fmla="*/ 1142524 h 1520187"/>
                    <a:gd name="connsiteX122" fmla="*/ 376362 w 1984332"/>
                    <a:gd name="connsiteY122" fmla="*/ 1142524 h 1520187"/>
                    <a:gd name="connsiteX123" fmla="*/ 40324 w 1984332"/>
                    <a:gd name="connsiteY123" fmla="*/ 1142524 h 1520187"/>
                    <a:gd name="connsiteX124" fmla="*/ 40324 w 1984332"/>
                    <a:gd name="connsiteY124" fmla="*/ 833371 h 1520187"/>
                    <a:gd name="connsiteX125" fmla="*/ 80649 w 1984332"/>
                    <a:gd name="connsiteY125" fmla="*/ 833371 h 1520187"/>
                    <a:gd name="connsiteX126" fmla="*/ 221785 w 1984332"/>
                    <a:gd name="connsiteY126" fmla="*/ 920740 h 1520187"/>
                    <a:gd name="connsiteX127" fmla="*/ 221785 w 1984332"/>
                    <a:gd name="connsiteY127" fmla="*/ 920740 h 1520187"/>
                    <a:gd name="connsiteX128" fmla="*/ 376362 w 1984332"/>
                    <a:gd name="connsiteY128" fmla="*/ 766163 h 1520187"/>
                    <a:gd name="connsiteX129" fmla="*/ 221785 w 1984332"/>
                    <a:gd name="connsiteY129" fmla="*/ 604866 h 1520187"/>
                    <a:gd name="connsiteX130" fmla="*/ 221785 w 1984332"/>
                    <a:gd name="connsiteY130" fmla="*/ 604866 h 1520187"/>
                    <a:gd name="connsiteX131" fmla="*/ 87370 w 1984332"/>
                    <a:gd name="connsiteY131" fmla="*/ 678794 h 1520187"/>
                    <a:gd name="connsiteX132" fmla="*/ 40324 w 1984332"/>
                    <a:gd name="connsiteY132" fmla="*/ 678794 h 1520187"/>
                    <a:gd name="connsiteX133" fmla="*/ 40324 w 1984332"/>
                    <a:gd name="connsiteY133" fmla="*/ 376361 h 1520187"/>
                    <a:gd name="connsiteX134" fmla="*/ 369641 w 1984332"/>
                    <a:gd name="connsiteY134" fmla="*/ 376361 h 1520187"/>
                    <a:gd name="connsiteX135" fmla="*/ 383083 w 1984332"/>
                    <a:gd name="connsiteY135" fmla="*/ 369640 h 1520187"/>
                    <a:gd name="connsiteX136" fmla="*/ 389803 w 1984332"/>
                    <a:gd name="connsiteY136" fmla="*/ 356199 h 1520187"/>
                    <a:gd name="connsiteX137" fmla="*/ 389803 w 1984332"/>
                    <a:gd name="connsiteY137" fmla="*/ 275550 h 1520187"/>
                    <a:gd name="connsiteX138" fmla="*/ 376362 w 1984332"/>
                    <a:gd name="connsiteY138" fmla="*/ 255388 h 1520187"/>
                    <a:gd name="connsiteX139" fmla="*/ 309154 w 1984332"/>
                    <a:gd name="connsiteY139" fmla="*/ 154577 h 1520187"/>
                    <a:gd name="connsiteX140" fmla="*/ 423407 w 1984332"/>
                    <a:gd name="connsiteY140" fmla="*/ 40324 h 1520187"/>
                    <a:gd name="connsiteX141" fmla="*/ 504056 w 1984332"/>
                    <a:gd name="connsiteY141" fmla="*/ 73928 h 1520187"/>
                    <a:gd name="connsiteX142" fmla="*/ 537660 w 1984332"/>
                    <a:gd name="connsiteY142" fmla="*/ 154577 h 1520187"/>
                    <a:gd name="connsiteX143" fmla="*/ 470452 w 1984332"/>
                    <a:gd name="connsiteY143" fmla="*/ 262109 h 1520187"/>
                    <a:gd name="connsiteX144" fmla="*/ 457011 w 1984332"/>
                    <a:gd name="connsiteY144" fmla="*/ 282271 h 1520187"/>
                    <a:gd name="connsiteX145" fmla="*/ 457011 w 1984332"/>
                    <a:gd name="connsiteY145" fmla="*/ 362919 h 1520187"/>
                    <a:gd name="connsiteX146" fmla="*/ 477173 w 1984332"/>
                    <a:gd name="connsiteY146" fmla="*/ 383082 h 1520187"/>
                    <a:gd name="connsiteX147" fmla="*/ 477173 w 1984332"/>
                    <a:gd name="connsiteY147" fmla="*/ 383082 h 1520187"/>
                    <a:gd name="connsiteX148" fmla="*/ 806490 w 1984332"/>
                    <a:gd name="connsiteY148" fmla="*/ 383082 h 1520187"/>
                    <a:gd name="connsiteX149" fmla="*/ 806490 w 1984332"/>
                    <a:gd name="connsiteY149" fmla="*/ 631749 h 1520187"/>
                    <a:gd name="connsiteX150" fmla="*/ 806490 w 1984332"/>
                    <a:gd name="connsiteY150" fmla="*/ 685515 h 1520187"/>
                    <a:gd name="connsiteX151" fmla="*/ 766165 w 1984332"/>
                    <a:gd name="connsiteY151" fmla="*/ 685515 h 1520187"/>
                    <a:gd name="connsiteX152" fmla="*/ 631750 w 1984332"/>
                    <a:gd name="connsiteY152" fmla="*/ 604866 h 1520187"/>
                    <a:gd name="connsiteX153" fmla="*/ 631750 w 1984332"/>
                    <a:gd name="connsiteY153" fmla="*/ 604866 h 1520187"/>
                    <a:gd name="connsiteX154" fmla="*/ 517497 w 1984332"/>
                    <a:gd name="connsiteY154" fmla="*/ 651911 h 1520187"/>
                    <a:gd name="connsiteX155" fmla="*/ 470452 w 1984332"/>
                    <a:gd name="connsiteY155" fmla="*/ 759443 h 1520187"/>
                    <a:gd name="connsiteX156" fmla="*/ 517497 w 1984332"/>
                    <a:gd name="connsiteY156" fmla="*/ 866974 h 1520187"/>
                    <a:gd name="connsiteX157" fmla="*/ 625029 w 1984332"/>
                    <a:gd name="connsiteY157" fmla="*/ 914019 h 1520187"/>
                    <a:gd name="connsiteX158" fmla="*/ 625029 w 1984332"/>
                    <a:gd name="connsiteY158" fmla="*/ 914019 h 1520187"/>
                    <a:gd name="connsiteX159" fmla="*/ 766165 w 1984332"/>
                    <a:gd name="connsiteY159" fmla="*/ 826650 h 1520187"/>
                    <a:gd name="connsiteX160" fmla="*/ 799769 w 1984332"/>
                    <a:gd name="connsiteY160" fmla="*/ 826650 h 1520187"/>
                    <a:gd name="connsiteX161" fmla="*/ 799769 w 1984332"/>
                    <a:gd name="connsiteY161" fmla="*/ 1135803 h 1520187"/>
                    <a:gd name="connsiteX162" fmla="*/ 483894 w 1984332"/>
                    <a:gd name="connsiteY162" fmla="*/ 1142524 h 1520187"/>
                    <a:gd name="connsiteX163" fmla="*/ 1915413 w 1984332"/>
                    <a:gd name="connsiteY163" fmla="*/ 840091 h 1520187"/>
                    <a:gd name="connsiteX164" fmla="*/ 1834764 w 1984332"/>
                    <a:gd name="connsiteY164" fmla="*/ 873695 h 1520187"/>
                    <a:gd name="connsiteX165" fmla="*/ 1834764 w 1984332"/>
                    <a:gd name="connsiteY165" fmla="*/ 873695 h 1520187"/>
                    <a:gd name="connsiteX166" fmla="*/ 1733953 w 1984332"/>
                    <a:gd name="connsiteY166" fmla="*/ 806488 h 1520187"/>
                    <a:gd name="connsiteX167" fmla="*/ 1713790 w 1984332"/>
                    <a:gd name="connsiteY167" fmla="*/ 793046 h 1520187"/>
                    <a:gd name="connsiteX168" fmla="*/ 1713790 w 1984332"/>
                    <a:gd name="connsiteY168" fmla="*/ 793046 h 1520187"/>
                    <a:gd name="connsiteX169" fmla="*/ 1633141 w 1984332"/>
                    <a:gd name="connsiteY169" fmla="*/ 793046 h 1520187"/>
                    <a:gd name="connsiteX170" fmla="*/ 1612979 w 1984332"/>
                    <a:gd name="connsiteY170" fmla="*/ 813208 h 1520187"/>
                    <a:gd name="connsiteX171" fmla="*/ 1612979 w 1984332"/>
                    <a:gd name="connsiteY171" fmla="*/ 1142524 h 1520187"/>
                    <a:gd name="connsiteX172" fmla="*/ 1310546 w 1984332"/>
                    <a:gd name="connsiteY172" fmla="*/ 1142524 h 1520187"/>
                    <a:gd name="connsiteX173" fmla="*/ 1310546 w 1984332"/>
                    <a:gd name="connsiteY173" fmla="*/ 1102200 h 1520187"/>
                    <a:gd name="connsiteX174" fmla="*/ 1384474 w 1984332"/>
                    <a:gd name="connsiteY174" fmla="*/ 967785 h 1520187"/>
                    <a:gd name="connsiteX175" fmla="*/ 1337429 w 1984332"/>
                    <a:gd name="connsiteY175" fmla="*/ 860254 h 1520187"/>
                    <a:gd name="connsiteX176" fmla="*/ 1229897 w 1984332"/>
                    <a:gd name="connsiteY176" fmla="*/ 813208 h 1520187"/>
                    <a:gd name="connsiteX177" fmla="*/ 1229897 w 1984332"/>
                    <a:gd name="connsiteY177" fmla="*/ 813208 h 1520187"/>
                    <a:gd name="connsiteX178" fmla="*/ 1122365 w 1984332"/>
                    <a:gd name="connsiteY178" fmla="*/ 860254 h 1520187"/>
                    <a:gd name="connsiteX179" fmla="*/ 1075320 w 1984332"/>
                    <a:gd name="connsiteY179" fmla="*/ 967785 h 1520187"/>
                    <a:gd name="connsiteX180" fmla="*/ 1162689 w 1984332"/>
                    <a:gd name="connsiteY180" fmla="*/ 1108921 h 1520187"/>
                    <a:gd name="connsiteX181" fmla="*/ 1162689 w 1984332"/>
                    <a:gd name="connsiteY181" fmla="*/ 1142524 h 1520187"/>
                    <a:gd name="connsiteX182" fmla="*/ 853535 w 1984332"/>
                    <a:gd name="connsiteY182" fmla="*/ 1142524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19929 h 1520187"/>
                    <a:gd name="connsiteX185" fmla="*/ 853535 w 1984332"/>
                    <a:gd name="connsiteY185" fmla="*/ 806488 h 1520187"/>
                    <a:gd name="connsiteX186" fmla="*/ 846814 w 1984332"/>
                    <a:gd name="connsiteY186" fmla="*/ 793046 h 1520187"/>
                    <a:gd name="connsiteX187" fmla="*/ 833373 w 1984332"/>
                    <a:gd name="connsiteY187" fmla="*/ 786325 h 1520187"/>
                    <a:gd name="connsiteX188" fmla="*/ 833373 w 1984332"/>
                    <a:gd name="connsiteY188" fmla="*/ 786325 h 1520187"/>
                    <a:gd name="connsiteX189" fmla="*/ 759444 w 1984332"/>
                    <a:gd name="connsiteY189" fmla="*/ 786325 h 1520187"/>
                    <a:gd name="connsiteX190" fmla="*/ 739282 w 1984332"/>
                    <a:gd name="connsiteY190" fmla="*/ 799767 h 1520187"/>
                    <a:gd name="connsiteX191" fmla="*/ 631750 w 1984332"/>
                    <a:gd name="connsiteY191" fmla="*/ 873695 h 1520187"/>
                    <a:gd name="connsiteX192" fmla="*/ 631750 w 1984332"/>
                    <a:gd name="connsiteY192" fmla="*/ 873695 h 1520187"/>
                    <a:gd name="connsiteX193" fmla="*/ 551101 w 1984332"/>
                    <a:gd name="connsiteY193" fmla="*/ 840091 h 1520187"/>
                    <a:gd name="connsiteX194" fmla="*/ 517497 w 1984332"/>
                    <a:gd name="connsiteY194" fmla="*/ 759443 h 1520187"/>
                    <a:gd name="connsiteX195" fmla="*/ 551101 w 1984332"/>
                    <a:gd name="connsiteY195" fmla="*/ 678794 h 1520187"/>
                    <a:gd name="connsiteX196" fmla="*/ 631750 w 1984332"/>
                    <a:gd name="connsiteY196" fmla="*/ 645190 h 1520187"/>
                    <a:gd name="connsiteX197" fmla="*/ 631750 w 1984332"/>
                    <a:gd name="connsiteY197" fmla="*/ 645190 h 1520187"/>
                    <a:gd name="connsiteX198" fmla="*/ 732561 w 1984332"/>
                    <a:gd name="connsiteY198" fmla="*/ 712397 h 1520187"/>
                    <a:gd name="connsiteX199" fmla="*/ 752724 w 1984332"/>
                    <a:gd name="connsiteY199" fmla="*/ 725839 h 1520187"/>
                    <a:gd name="connsiteX200" fmla="*/ 752724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26652 w 1984332"/>
                    <a:gd name="connsiteY202" fmla="*/ 725839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0093 w 1984332"/>
                    <a:gd name="connsiteY205" fmla="*/ 719118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705677 h 1520187"/>
                    <a:gd name="connsiteX210" fmla="*/ 846814 w 1984332"/>
                    <a:gd name="connsiteY210" fmla="*/ 383082 h 1520187"/>
                    <a:gd name="connsiteX211" fmla="*/ 1155969 w 1984332"/>
                    <a:gd name="connsiteY211" fmla="*/ 383082 h 1520187"/>
                    <a:gd name="connsiteX212" fmla="*/ 1155969 w 1984332"/>
                    <a:gd name="connsiteY212" fmla="*/ 423406 h 1520187"/>
                    <a:gd name="connsiteX213" fmla="*/ 1084846 w 1984332"/>
                    <a:gd name="connsiteY213" fmla="*/ 555440 h 1520187"/>
                    <a:gd name="connsiteX214" fmla="*/ 1139409 w 1984332"/>
                    <a:gd name="connsiteY214" fmla="*/ 664773 h 1520187"/>
                    <a:gd name="connsiteX215" fmla="*/ 1241803 w 1984332"/>
                    <a:gd name="connsiteY215" fmla="*/ 712400 h 1520187"/>
                    <a:gd name="connsiteX216" fmla="*/ 1354098 w 1984332"/>
                    <a:gd name="connsiteY216" fmla="*/ 670115 h 1520187"/>
                    <a:gd name="connsiteX217" fmla="*/ 1396380 w 1984332"/>
                    <a:gd name="connsiteY217" fmla="*/ 553058 h 1520187"/>
                    <a:gd name="connsiteX218" fmla="*/ 1310546 w 1984332"/>
                    <a:gd name="connsiteY218" fmla="*/ 423406 h 1520187"/>
                    <a:gd name="connsiteX219" fmla="*/ 1310546 w 1984332"/>
                    <a:gd name="connsiteY219" fmla="*/ 376361 h 1520187"/>
                    <a:gd name="connsiteX220" fmla="*/ 1612979 w 1984332"/>
                    <a:gd name="connsiteY220" fmla="*/ 376361 h 1520187"/>
                    <a:gd name="connsiteX221" fmla="*/ 1612979 w 1984332"/>
                    <a:gd name="connsiteY221" fmla="*/ 705677 h 1520187"/>
                    <a:gd name="connsiteX222" fmla="*/ 1633141 w 1984332"/>
                    <a:gd name="connsiteY222" fmla="*/ 725839 h 1520187"/>
                    <a:gd name="connsiteX223" fmla="*/ 1633141 w 1984332"/>
                    <a:gd name="connsiteY223" fmla="*/ 725839 h 1520187"/>
                    <a:gd name="connsiteX224" fmla="*/ 1713790 w 1984332"/>
                    <a:gd name="connsiteY224" fmla="*/ 725839 h 1520187"/>
                    <a:gd name="connsiteX225" fmla="*/ 1733953 w 1984332"/>
                    <a:gd name="connsiteY225" fmla="*/ 712397 h 1520187"/>
                    <a:gd name="connsiteX226" fmla="*/ 1834764 w 1984332"/>
                    <a:gd name="connsiteY226" fmla="*/ 645190 h 1520187"/>
                    <a:gd name="connsiteX227" fmla="*/ 1834764 w 1984332"/>
                    <a:gd name="connsiteY227" fmla="*/ 645190 h 1520187"/>
                    <a:gd name="connsiteX228" fmla="*/ 1915413 w 1984332"/>
                    <a:gd name="connsiteY228" fmla="*/ 678794 h 1520187"/>
                    <a:gd name="connsiteX229" fmla="*/ 1949017 w 1984332"/>
                    <a:gd name="connsiteY229" fmla="*/ 759443 h 1520187"/>
                    <a:gd name="connsiteX230" fmla="*/ 1915413 w 1984332"/>
                    <a:gd name="connsiteY230" fmla="*/ 840091 h 1520187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83663 w 1984332"/>
                    <a:gd name="connsiteY13" fmla="*/ 423406 h 1520187"/>
                    <a:gd name="connsiteX14" fmla="*/ 1294723 w 1984332"/>
                    <a:gd name="connsiteY14" fmla="*/ 450289 h 1520187"/>
                    <a:gd name="connsiteX15" fmla="*/ 1357168 w 1984332"/>
                    <a:gd name="connsiteY15" fmla="*/ 551100 h 1520187"/>
                    <a:gd name="connsiteX16" fmla="*/ 1330708 w 1984332"/>
                    <a:gd name="connsiteY16" fmla="*/ 631749 h 1520187"/>
                    <a:gd name="connsiteX17" fmla="*/ 1250059 w 1984332"/>
                    <a:gd name="connsiteY17" fmla="*/ 665352 h 1520187"/>
                    <a:gd name="connsiteX18" fmla="*/ 1135806 w 1984332"/>
                    <a:gd name="connsiteY18" fmla="*/ 551100 h 1520187"/>
                    <a:gd name="connsiteX19" fmla="*/ 1209734 w 1984332"/>
                    <a:gd name="connsiteY19" fmla="*/ 443568 h 1520187"/>
                    <a:gd name="connsiteX20" fmla="*/ 1223176 w 1984332"/>
                    <a:gd name="connsiteY20" fmla="*/ 423406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223176 w 1984332"/>
                    <a:gd name="connsiteY23" fmla="*/ 349478 h 1520187"/>
                    <a:gd name="connsiteX24" fmla="*/ 1182852 w 1984332"/>
                    <a:gd name="connsiteY24" fmla="*/ 336037 h 1520187"/>
                    <a:gd name="connsiteX25" fmla="*/ 11828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826652 w 1984332"/>
                    <a:gd name="connsiteY28" fmla="*/ 336037 h 1520187"/>
                    <a:gd name="connsiteX29" fmla="*/ 497335 w 1984332"/>
                    <a:gd name="connsiteY29" fmla="*/ 336037 h 1520187"/>
                    <a:gd name="connsiteX30" fmla="*/ 497335 w 1984332"/>
                    <a:gd name="connsiteY30" fmla="*/ 295712 h 1520187"/>
                    <a:gd name="connsiteX31" fmla="*/ 584705 w 1984332"/>
                    <a:gd name="connsiteY31" fmla="*/ 154577 h 1520187"/>
                    <a:gd name="connsiteX32" fmla="*/ 537660 w 1984332"/>
                    <a:gd name="connsiteY32" fmla="*/ 47045 h 1520187"/>
                    <a:gd name="connsiteX33" fmla="*/ 423407 w 1984332"/>
                    <a:gd name="connsiteY33" fmla="*/ 0 h 1520187"/>
                    <a:gd name="connsiteX34" fmla="*/ 423407 w 1984332"/>
                    <a:gd name="connsiteY34" fmla="*/ 0 h 1520187"/>
                    <a:gd name="connsiteX35" fmla="*/ 268830 w 1984332"/>
                    <a:gd name="connsiteY35" fmla="*/ 154577 h 1520187"/>
                    <a:gd name="connsiteX36" fmla="*/ 349479 w 1984332"/>
                    <a:gd name="connsiteY36" fmla="*/ 288991 h 1520187"/>
                    <a:gd name="connsiteX37" fmla="*/ 349479 w 1984332"/>
                    <a:gd name="connsiteY37" fmla="*/ 329316 h 1520187"/>
                    <a:gd name="connsiteX38" fmla="*/ 20162 w 1984332"/>
                    <a:gd name="connsiteY38" fmla="*/ 336037 h 1520187"/>
                    <a:gd name="connsiteX39" fmla="*/ 0 w 1984332"/>
                    <a:gd name="connsiteY39" fmla="*/ 356199 h 1520187"/>
                    <a:gd name="connsiteX40" fmla="*/ 0 w 1984332"/>
                    <a:gd name="connsiteY40" fmla="*/ 698956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20162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94090 w 1984332"/>
                    <a:gd name="connsiteY46" fmla="*/ 719118 h 1520187"/>
                    <a:gd name="connsiteX47" fmla="*/ 120973 w 1984332"/>
                    <a:gd name="connsiteY47" fmla="*/ 705677 h 1520187"/>
                    <a:gd name="connsiteX48" fmla="*/ 221785 w 1984332"/>
                    <a:gd name="connsiteY48" fmla="*/ 638469 h 1520187"/>
                    <a:gd name="connsiteX49" fmla="*/ 221785 w 1984332"/>
                    <a:gd name="connsiteY49" fmla="*/ 638469 h 1520187"/>
                    <a:gd name="connsiteX50" fmla="*/ 336037 w 1984332"/>
                    <a:gd name="connsiteY50" fmla="*/ 752722 h 1520187"/>
                    <a:gd name="connsiteX51" fmla="*/ 221785 w 1984332"/>
                    <a:gd name="connsiteY51" fmla="*/ 873695 h 1520187"/>
                    <a:gd name="connsiteX52" fmla="*/ 221785 w 1984332"/>
                    <a:gd name="connsiteY52" fmla="*/ 873695 h 1520187"/>
                    <a:gd name="connsiteX53" fmla="*/ 114253 w 1984332"/>
                    <a:gd name="connsiteY53" fmla="*/ 799767 h 1520187"/>
                    <a:gd name="connsiteX54" fmla="*/ 94090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20162 w 1984332"/>
                    <a:gd name="connsiteY59" fmla="*/ 786325 h 1520187"/>
                    <a:gd name="connsiteX60" fmla="*/ 0 w 1984332"/>
                    <a:gd name="connsiteY60" fmla="*/ 806488 h 1520187"/>
                    <a:gd name="connsiteX61" fmla="*/ 0 w 1984332"/>
                    <a:gd name="connsiteY61" fmla="*/ 1162686 h 1520187"/>
                    <a:gd name="connsiteX62" fmla="*/ 20162 w 1984332"/>
                    <a:gd name="connsiteY62" fmla="*/ 1182849 h 1520187"/>
                    <a:gd name="connsiteX63" fmla="*/ 20162 w 1984332"/>
                    <a:gd name="connsiteY63" fmla="*/ 1182849 h 1520187"/>
                    <a:gd name="connsiteX64" fmla="*/ 356200 w 1984332"/>
                    <a:gd name="connsiteY64" fmla="*/ 1182849 h 1520187"/>
                    <a:gd name="connsiteX65" fmla="*/ 356200 w 1984332"/>
                    <a:gd name="connsiteY65" fmla="*/ 1223173 h 1520187"/>
                    <a:gd name="connsiteX66" fmla="*/ 268830 w 1984332"/>
                    <a:gd name="connsiteY66" fmla="*/ 1364308 h 1520187"/>
                    <a:gd name="connsiteX67" fmla="*/ 315875 w 1984332"/>
                    <a:gd name="connsiteY67" fmla="*/ 1471840 h 1520187"/>
                    <a:gd name="connsiteX68" fmla="*/ 423407 w 1984332"/>
                    <a:gd name="connsiteY68" fmla="*/ 1518885 h 1520187"/>
                    <a:gd name="connsiteX69" fmla="*/ 423407 w 1984332"/>
                    <a:gd name="connsiteY69" fmla="*/ 1518885 h 1520187"/>
                    <a:gd name="connsiteX70" fmla="*/ 537660 w 1984332"/>
                    <a:gd name="connsiteY70" fmla="*/ 1478561 h 1520187"/>
                    <a:gd name="connsiteX71" fmla="*/ 584705 w 1984332"/>
                    <a:gd name="connsiteY71" fmla="*/ 1371029 h 1520187"/>
                    <a:gd name="connsiteX72" fmla="*/ 510777 w 1984332"/>
                    <a:gd name="connsiteY72" fmla="*/ 1236614 h 1520187"/>
                    <a:gd name="connsiteX73" fmla="*/ 510777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833373 w 1984332"/>
                    <a:gd name="connsiteY76" fmla="*/ 1189569 h 1520187"/>
                    <a:gd name="connsiteX77" fmla="*/ 1189572 w 1984332"/>
                    <a:gd name="connsiteY77" fmla="*/ 1189569 h 1520187"/>
                    <a:gd name="connsiteX78" fmla="*/ 1203014 w 1984332"/>
                    <a:gd name="connsiteY78" fmla="*/ 1182849 h 1520187"/>
                    <a:gd name="connsiteX79" fmla="*/ 1209734 w 1984332"/>
                    <a:gd name="connsiteY79" fmla="*/ 1169407 h 1520187"/>
                    <a:gd name="connsiteX80" fmla="*/ 1209734 w 1984332"/>
                    <a:gd name="connsiteY80" fmla="*/ 1095479 h 1520187"/>
                    <a:gd name="connsiteX81" fmla="*/ 1196293 w 1984332"/>
                    <a:gd name="connsiteY81" fmla="*/ 1075317 h 1520187"/>
                    <a:gd name="connsiteX82" fmla="*/ 1122365 w 1984332"/>
                    <a:gd name="connsiteY82" fmla="*/ 967785 h 1520187"/>
                    <a:gd name="connsiteX83" fmla="*/ 1155969 w 1984332"/>
                    <a:gd name="connsiteY83" fmla="*/ 887136 h 1520187"/>
                    <a:gd name="connsiteX84" fmla="*/ 1236617 w 1984332"/>
                    <a:gd name="connsiteY84" fmla="*/ 853533 h 1520187"/>
                    <a:gd name="connsiteX85" fmla="*/ 1236617 w 1984332"/>
                    <a:gd name="connsiteY85" fmla="*/ 853533 h 1520187"/>
                    <a:gd name="connsiteX86" fmla="*/ 1317266 w 1984332"/>
                    <a:gd name="connsiteY86" fmla="*/ 887136 h 1520187"/>
                    <a:gd name="connsiteX87" fmla="*/ 1350870 w 1984332"/>
                    <a:gd name="connsiteY87" fmla="*/ 967785 h 1520187"/>
                    <a:gd name="connsiteX88" fmla="*/ 1283663 w 1984332"/>
                    <a:gd name="connsiteY88" fmla="*/ 1068596 h 1520187"/>
                    <a:gd name="connsiteX89" fmla="*/ 1270221 w 1984332"/>
                    <a:gd name="connsiteY89" fmla="*/ 1088758 h 1520187"/>
                    <a:gd name="connsiteX90" fmla="*/ 1270221 w 1984332"/>
                    <a:gd name="connsiteY90" fmla="*/ 1162686 h 1520187"/>
                    <a:gd name="connsiteX91" fmla="*/ 1276942 w 1984332"/>
                    <a:gd name="connsiteY91" fmla="*/ 1176128 h 1520187"/>
                    <a:gd name="connsiteX92" fmla="*/ 1290383 w 1984332"/>
                    <a:gd name="connsiteY92" fmla="*/ 1182849 h 1520187"/>
                    <a:gd name="connsiteX93" fmla="*/ 1290383 w 1984332"/>
                    <a:gd name="connsiteY93" fmla="*/ 1182849 h 1520187"/>
                    <a:gd name="connsiteX94" fmla="*/ 1633141 w 1984332"/>
                    <a:gd name="connsiteY94" fmla="*/ 1182849 h 1520187"/>
                    <a:gd name="connsiteX95" fmla="*/ 1653304 w 1984332"/>
                    <a:gd name="connsiteY95" fmla="*/ 1162686 h 1520187"/>
                    <a:gd name="connsiteX96" fmla="*/ 1653304 w 1984332"/>
                    <a:gd name="connsiteY96" fmla="*/ 833371 h 1520187"/>
                    <a:gd name="connsiteX97" fmla="*/ 1693628 w 1984332"/>
                    <a:gd name="connsiteY97" fmla="*/ 833371 h 1520187"/>
                    <a:gd name="connsiteX98" fmla="*/ 1828043 w 1984332"/>
                    <a:gd name="connsiteY98" fmla="*/ 914019 h 1520187"/>
                    <a:gd name="connsiteX99" fmla="*/ 1828043 w 1984332"/>
                    <a:gd name="connsiteY99" fmla="*/ 914019 h 1520187"/>
                    <a:gd name="connsiteX100" fmla="*/ 1935575 w 1984332"/>
                    <a:gd name="connsiteY100" fmla="*/ 866974 h 1520187"/>
                    <a:gd name="connsiteX101" fmla="*/ 1982620 w 1984332"/>
                    <a:gd name="connsiteY101" fmla="*/ 759443 h 1520187"/>
                    <a:gd name="connsiteX102" fmla="*/ 1949017 w 1984332"/>
                    <a:gd name="connsiteY102" fmla="*/ 645190 h 1520187"/>
                    <a:gd name="connsiteX103" fmla="*/ 483894 w 1984332"/>
                    <a:gd name="connsiteY103" fmla="*/ 1142524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162686 h 1520187"/>
                    <a:gd name="connsiteX107" fmla="*/ 463732 w 1984332"/>
                    <a:gd name="connsiteY107" fmla="*/ 1236614 h 1520187"/>
                    <a:gd name="connsiteX108" fmla="*/ 463732 w 1984332"/>
                    <a:gd name="connsiteY108" fmla="*/ 1236614 h 1520187"/>
                    <a:gd name="connsiteX109" fmla="*/ 477173 w 1984332"/>
                    <a:gd name="connsiteY109" fmla="*/ 1263497 h 1520187"/>
                    <a:gd name="connsiteX110" fmla="*/ 544381 w 1984332"/>
                    <a:gd name="connsiteY110" fmla="*/ 1364308 h 1520187"/>
                    <a:gd name="connsiteX111" fmla="*/ 510777 w 1984332"/>
                    <a:gd name="connsiteY111" fmla="*/ 1444957 h 1520187"/>
                    <a:gd name="connsiteX112" fmla="*/ 423407 w 1984332"/>
                    <a:gd name="connsiteY112" fmla="*/ 1478561 h 1520187"/>
                    <a:gd name="connsiteX113" fmla="*/ 423407 w 1984332"/>
                    <a:gd name="connsiteY113" fmla="*/ 1478561 h 1520187"/>
                    <a:gd name="connsiteX114" fmla="*/ 342758 w 1984332"/>
                    <a:gd name="connsiteY114" fmla="*/ 1444957 h 1520187"/>
                    <a:gd name="connsiteX115" fmla="*/ 309154 w 1984332"/>
                    <a:gd name="connsiteY115" fmla="*/ 1364308 h 1520187"/>
                    <a:gd name="connsiteX116" fmla="*/ 383083 w 1984332"/>
                    <a:gd name="connsiteY116" fmla="*/ 1256777 h 1520187"/>
                    <a:gd name="connsiteX117" fmla="*/ 396524 w 1984332"/>
                    <a:gd name="connsiteY117" fmla="*/ 1236614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96524 w 1984332"/>
                    <a:gd name="connsiteY120" fmla="*/ 1162686 h 1520187"/>
                    <a:gd name="connsiteX121" fmla="*/ 376362 w 1984332"/>
                    <a:gd name="connsiteY121" fmla="*/ 1142524 h 1520187"/>
                    <a:gd name="connsiteX122" fmla="*/ 376362 w 1984332"/>
                    <a:gd name="connsiteY122" fmla="*/ 1142524 h 1520187"/>
                    <a:gd name="connsiteX123" fmla="*/ 40324 w 1984332"/>
                    <a:gd name="connsiteY123" fmla="*/ 1142524 h 1520187"/>
                    <a:gd name="connsiteX124" fmla="*/ 40324 w 1984332"/>
                    <a:gd name="connsiteY124" fmla="*/ 833371 h 1520187"/>
                    <a:gd name="connsiteX125" fmla="*/ 80649 w 1984332"/>
                    <a:gd name="connsiteY125" fmla="*/ 833371 h 1520187"/>
                    <a:gd name="connsiteX126" fmla="*/ 221785 w 1984332"/>
                    <a:gd name="connsiteY126" fmla="*/ 920740 h 1520187"/>
                    <a:gd name="connsiteX127" fmla="*/ 221785 w 1984332"/>
                    <a:gd name="connsiteY127" fmla="*/ 920740 h 1520187"/>
                    <a:gd name="connsiteX128" fmla="*/ 376362 w 1984332"/>
                    <a:gd name="connsiteY128" fmla="*/ 766163 h 1520187"/>
                    <a:gd name="connsiteX129" fmla="*/ 221785 w 1984332"/>
                    <a:gd name="connsiteY129" fmla="*/ 604866 h 1520187"/>
                    <a:gd name="connsiteX130" fmla="*/ 221785 w 1984332"/>
                    <a:gd name="connsiteY130" fmla="*/ 604866 h 1520187"/>
                    <a:gd name="connsiteX131" fmla="*/ 87370 w 1984332"/>
                    <a:gd name="connsiteY131" fmla="*/ 678794 h 1520187"/>
                    <a:gd name="connsiteX132" fmla="*/ 40324 w 1984332"/>
                    <a:gd name="connsiteY132" fmla="*/ 678794 h 1520187"/>
                    <a:gd name="connsiteX133" fmla="*/ 40324 w 1984332"/>
                    <a:gd name="connsiteY133" fmla="*/ 376361 h 1520187"/>
                    <a:gd name="connsiteX134" fmla="*/ 369641 w 1984332"/>
                    <a:gd name="connsiteY134" fmla="*/ 376361 h 1520187"/>
                    <a:gd name="connsiteX135" fmla="*/ 383083 w 1984332"/>
                    <a:gd name="connsiteY135" fmla="*/ 369640 h 1520187"/>
                    <a:gd name="connsiteX136" fmla="*/ 389803 w 1984332"/>
                    <a:gd name="connsiteY136" fmla="*/ 356199 h 1520187"/>
                    <a:gd name="connsiteX137" fmla="*/ 389803 w 1984332"/>
                    <a:gd name="connsiteY137" fmla="*/ 275550 h 1520187"/>
                    <a:gd name="connsiteX138" fmla="*/ 376362 w 1984332"/>
                    <a:gd name="connsiteY138" fmla="*/ 255388 h 1520187"/>
                    <a:gd name="connsiteX139" fmla="*/ 309154 w 1984332"/>
                    <a:gd name="connsiteY139" fmla="*/ 154577 h 1520187"/>
                    <a:gd name="connsiteX140" fmla="*/ 423407 w 1984332"/>
                    <a:gd name="connsiteY140" fmla="*/ 40324 h 1520187"/>
                    <a:gd name="connsiteX141" fmla="*/ 504056 w 1984332"/>
                    <a:gd name="connsiteY141" fmla="*/ 73928 h 1520187"/>
                    <a:gd name="connsiteX142" fmla="*/ 537660 w 1984332"/>
                    <a:gd name="connsiteY142" fmla="*/ 154577 h 1520187"/>
                    <a:gd name="connsiteX143" fmla="*/ 470452 w 1984332"/>
                    <a:gd name="connsiteY143" fmla="*/ 262109 h 1520187"/>
                    <a:gd name="connsiteX144" fmla="*/ 457011 w 1984332"/>
                    <a:gd name="connsiteY144" fmla="*/ 282271 h 1520187"/>
                    <a:gd name="connsiteX145" fmla="*/ 457011 w 1984332"/>
                    <a:gd name="connsiteY145" fmla="*/ 362919 h 1520187"/>
                    <a:gd name="connsiteX146" fmla="*/ 477173 w 1984332"/>
                    <a:gd name="connsiteY146" fmla="*/ 383082 h 1520187"/>
                    <a:gd name="connsiteX147" fmla="*/ 477173 w 1984332"/>
                    <a:gd name="connsiteY147" fmla="*/ 383082 h 1520187"/>
                    <a:gd name="connsiteX148" fmla="*/ 806490 w 1984332"/>
                    <a:gd name="connsiteY148" fmla="*/ 383082 h 1520187"/>
                    <a:gd name="connsiteX149" fmla="*/ 806490 w 1984332"/>
                    <a:gd name="connsiteY149" fmla="*/ 631749 h 1520187"/>
                    <a:gd name="connsiteX150" fmla="*/ 806490 w 1984332"/>
                    <a:gd name="connsiteY150" fmla="*/ 685515 h 1520187"/>
                    <a:gd name="connsiteX151" fmla="*/ 766165 w 1984332"/>
                    <a:gd name="connsiteY151" fmla="*/ 685515 h 1520187"/>
                    <a:gd name="connsiteX152" fmla="*/ 631750 w 1984332"/>
                    <a:gd name="connsiteY152" fmla="*/ 604866 h 1520187"/>
                    <a:gd name="connsiteX153" fmla="*/ 631750 w 1984332"/>
                    <a:gd name="connsiteY153" fmla="*/ 604866 h 1520187"/>
                    <a:gd name="connsiteX154" fmla="*/ 517497 w 1984332"/>
                    <a:gd name="connsiteY154" fmla="*/ 651911 h 1520187"/>
                    <a:gd name="connsiteX155" fmla="*/ 470452 w 1984332"/>
                    <a:gd name="connsiteY155" fmla="*/ 759443 h 1520187"/>
                    <a:gd name="connsiteX156" fmla="*/ 517497 w 1984332"/>
                    <a:gd name="connsiteY156" fmla="*/ 866974 h 1520187"/>
                    <a:gd name="connsiteX157" fmla="*/ 625029 w 1984332"/>
                    <a:gd name="connsiteY157" fmla="*/ 914019 h 1520187"/>
                    <a:gd name="connsiteX158" fmla="*/ 625029 w 1984332"/>
                    <a:gd name="connsiteY158" fmla="*/ 914019 h 1520187"/>
                    <a:gd name="connsiteX159" fmla="*/ 766165 w 1984332"/>
                    <a:gd name="connsiteY159" fmla="*/ 826650 h 1520187"/>
                    <a:gd name="connsiteX160" fmla="*/ 799769 w 1984332"/>
                    <a:gd name="connsiteY160" fmla="*/ 826650 h 1520187"/>
                    <a:gd name="connsiteX161" fmla="*/ 799769 w 1984332"/>
                    <a:gd name="connsiteY161" fmla="*/ 1135803 h 1520187"/>
                    <a:gd name="connsiteX162" fmla="*/ 483894 w 1984332"/>
                    <a:gd name="connsiteY162" fmla="*/ 1142524 h 1520187"/>
                    <a:gd name="connsiteX163" fmla="*/ 1915413 w 1984332"/>
                    <a:gd name="connsiteY163" fmla="*/ 840091 h 1520187"/>
                    <a:gd name="connsiteX164" fmla="*/ 1834764 w 1984332"/>
                    <a:gd name="connsiteY164" fmla="*/ 873695 h 1520187"/>
                    <a:gd name="connsiteX165" fmla="*/ 1834764 w 1984332"/>
                    <a:gd name="connsiteY165" fmla="*/ 873695 h 1520187"/>
                    <a:gd name="connsiteX166" fmla="*/ 1733953 w 1984332"/>
                    <a:gd name="connsiteY166" fmla="*/ 806488 h 1520187"/>
                    <a:gd name="connsiteX167" fmla="*/ 1713790 w 1984332"/>
                    <a:gd name="connsiteY167" fmla="*/ 793046 h 1520187"/>
                    <a:gd name="connsiteX168" fmla="*/ 1713790 w 1984332"/>
                    <a:gd name="connsiteY168" fmla="*/ 793046 h 1520187"/>
                    <a:gd name="connsiteX169" fmla="*/ 1633141 w 1984332"/>
                    <a:gd name="connsiteY169" fmla="*/ 793046 h 1520187"/>
                    <a:gd name="connsiteX170" fmla="*/ 1612979 w 1984332"/>
                    <a:gd name="connsiteY170" fmla="*/ 813208 h 1520187"/>
                    <a:gd name="connsiteX171" fmla="*/ 1612979 w 1984332"/>
                    <a:gd name="connsiteY171" fmla="*/ 1142524 h 1520187"/>
                    <a:gd name="connsiteX172" fmla="*/ 1310546 w 1984332"/>
                    <a:gd name="connsiteY172" fmla="*/ 1142524 h 1520187"/>
                    <a:gd name="connsiteX173" fmla="*/ 1310546 w 1984332"/>
                    <a:gd name="connsiteY173" fmla="*/ 1102200 h 1520187"/>
                    <a:gd name="connsiteX174" fmla="*/ 1384474 w 1984332"/>
                    <a:gd name="connsiteY174" fmla="*/ 967785 h 1520187"/>
                    <a:gd name="connsiteX175" fmla="*/ 1337429 w 1984332"/>
                    <a:gd name="connsiteY175" fmla="*/ 860254 h 1520187"/>
                    <a:gd name="connsiteX176" fmla="*/ 1229897 w 1984332"/>
                    <a:gd name="connsiteY176" fmla="*/ 813208 h 1520187"/>
                    <a:gd name="connsiteX177" fmla="*/ 1229897 w 1984332"/>
                    <a:gd name="connsiteY177" fmla="*/ 813208 h 1520187"/>
                    <a:gd name="connsiteX178" fmla="*/ 1122365 w 1984332"/>
                    <a:gd name="connsiteY178" fmla="*/ 860254 h 1520187"/>
                    <a:gd name="connsiteX179" fmla="*/ 1075320 w 1984332"/>
                    <a:gd name="connsiteY179" fmla="*/ 967785 h 1520187"/>
                    <a:gd name="connsiteX180" fmla="*/ 1162689 w 1984332"/>
                    <a:gd name="connsiteY180" fmla="*/ 1108921 h 1520187"/>
                    <a:gd name="connsiteX181" fmla="*/ 1162689 w 1984332"/>
                    <a:gd name="connsiteY181" fmla="*/ 1142524 h 1520187"/>
                    <a:gd name="connsiteX182" fmla="*/ 853535 w 1984332"/>
                    <a:gd name="connsiteY182" fmla="*/ 1142524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19929 h 1520187"/>
                    <a:gd name="connsiteX185" fmla="*/ 853535 w 1984332"/>
                    <a:gd name="connsiteY185" fmla="*/ 806488 h 1520187"/>
                    <a:gd name="connsiteX186" fmla="*/ 846814 w 1984332"/>
                    <a:gd name="connsiteY186" fmla="*/ 793046 h 1520187"/>
                    <a:gd name="connsiteX187" fmla="*/ 833373 w 1984332"/>
                    <a:gd name="connsiteY187" fmla="*/ 786325 h 1520187"/>
                    <a:gd name="connsiteX188" fmla="*/ 833373 w 1984332"/>
                    <a:gd name="connsiteY188" fmla="*/ 786325 h 1520187"/>
                    <a:gd name="connsiteX189" fmla="*/ 759444 w 1984332"/>
                    <a:gd name="connsiteY189" fmla="*/ 786325 h 1520187"/>
                    <a:gd name="connsiteX190" fmla="*/ 739282 w 1984332"/>
                    <a:gd name="connsiteY190" fmla="*/ 799767 h 1520187"/>
                    <a:gd name="connsiteX191" fmla="*/ 631750 w 1984332"/>
                    <a:gd name="connsiteY191" fmla="*/ 873695 h 1520187"/>
                    <a:gd name="connsiteX192" fmla="*/ 631750 w 1984332"/>
                    <a:gd name="connsiteY192" fmla="*/ 873695 h 1520187"/>
                    <a:gd name="connsiteX193" fmla="*/ 551101 w 1984332"/>
                    <a:gd name="connsiteY193" fmla="*/ 840091 h 1520187"/>
                    <a:gd name="connsiteX194" fmla="*/ 517497 w 1984332"/>
                    <a:gd name="connsiteY194" fmla="*/ 759443 h 1520187"/>
                    <a:gd name="connsiteX195" fmla="*/ 551101 w 1984332"/>
                    <a:gd name="connsiteY195" fmla="*/ 678794 h 1520187"/>
                    <a:gd name="connsiteX196" fmla="*/ 631750 w 1984332"/>
                    <a:gd name="connsiteY196" fmla="*/ 645190 h 1520187"/>
                    <a:gd name="connsiteX197" fmla="*/ 631750 w 1984332"/>
                    <a:gd name="connsiteY197" fmla="*/ 645190 h 1520187"/>
                    <a:gd name="connsiteX198" fmla="*/ 732561 w 1984332"/>
                    <a:gd name="connsiteY198" fmla="*/ 712397 h 1520187"/>
                    <a:gd name="connsiteX199" fmla="*/ 752724 w 1984332"/>
                    <a:gd name="connsiteY199" fmla="*/ 725839 h 1520187"/>
                    <a:gd name="connsiteX200" fmla="*/ 752724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26652 w 1984332"/>
                    <a:gd name="connsiteY202" fmla="*/ 725839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0093 w 1984332"/>
                    <a:gd name="connsiteY205" fmla="*/ 719118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705677 h 1520187"/>
                    <a:gd name="connsiteX210" fmla="*/ 846814 w 1984332"/>
                    <a:gd name="connsiteY210" fmla="*/ 383082 h 1520187"/>
                    <a:gd name="connsiteX211" fmla="*/ 1155969 w 1984332"/>
                    <a:gd name="connsiteY211" fmla="*/ 383082 h 1520187"/>
                    <a:gd name="connsiteX212" fmla="*/ 1155969 w 1984332"/>
                    <a:gd name="connsiteY212" fmla="*/ 423406 h 1520187"/>
                    <a:gd name="connsiteX213" fmla="*/ 1084846 w 1984332"/>
                    <a:gd name="connsiteY213" fmla="*/ 555440 h 1520187"/>
                    <a:gd name="connsiteX214" fmla="*/ 1139409 w 1984332"/>
                    <a:gd name="connsiteY214" fmla="*/ 664773 h 1520187"/>
                    <a:gd name="connsiteX215" fmla="*/ 1241803 w 1984332"/>
                    <a:gd name="connsiteY215" fmla="*/ 712400 h 1520187"/>
                    <a:gd name="connsiteX216" fmla="*/ 1354098 w 1984332"/>
                    <a:gd name="connsiteY216" fmla="*/ 670115 h 1520187"/>
                    <a:gd name="connsiteX217" fmla="*/ 1396380 w 1984332"/>
                    <a:gd name="connsiteY217" fmla="*/ 553058 h 1520187"/>
                    <a:gd name="connsiteX218" fmla="*/ 1310546 w 1984332"/>
                    <a:gd name="connsiteY218" fmla="*/ 423406 h 1520187"/>
                    <a:gd name="connsiteX219" fmla="*/ 1310546 w 1984332"/>
                    <a:gd name="connsiteY219" fmla="*/ 376361 h 1520187"/>
                    <a:gd name="connsiteX220" fmla="*/ 1612979 w 1984332"/>
                    <a:gd name="connsiteY220" fmla="*/ 376361 h 1520187"/>
                    <a:gd name="connsiteX221" fmla="*/ 1612979 w 1984332"/>
                    <a:gd name="connsiteY221" fmla="*/ 705677 h 1520187"/>
                    <a:gd name="connsiteX222" fmla="*/ 1633141 w 1984332"/>
                    <a:gd name="connsiteY222" fmla="*/ 725839 h 1520187"/>
                    <a:gd name="connsiteX223" fmla="*/ 1633141 w 1984332"/>
                    <a:gd name="connsiteY223" fmla="*/ 725839 h 1520187"/>
                    <a:gd name="connsiteX224" fmla="*/ 1713790 w 1984332"/>
                    <a:gd name="connsiteY224" fmla="*/ 725839 h 1520187"/>
                    <a:gd name="connsiteX225" fmla="*/ 1733953 w 1984332"/>
                    <a:gd name="connsiteY225" fmla="*/ 712397 h 1520187"/>
                    <a:gd name="connsiteX226" fmla="*/ 1834764 w 1984332"/>
                    <a:gd name="connsiteY226" fmla="*/ 645190 h 1520187"/>
                    <a:gd name="connsiteX227" fmla="*/ 1834764 w 1984332"/>
                    <a:gd name="connsiteY227" fmla="*/ 645190 h 1520187"/>
                    <a:gd name="connsiteX228" fmla="*/ 1915413 w 1984332"/>
                    <a:gd name="connsiteY228" fmla="*/ 678794 h 1520187"/>
                    <a:gd name="connsiteX229" fmla="*/ 1949017 w 1984332"/>
                    <a:gd name="connsiteY229" fmla="*/ 759443 h 1520187"/>
                    <a:gd name="connsiteX230" fmla="*/ 1915413 w 1984332"/>
                    <a:gd name="connsiteY230" fmla="*/ 840091 h 1520187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83663 w 1984332"/>
                    <a:gd name="connsiteY13" fmla="*/ 423406 h 1520187"/>
                    <a:gd name="connsiteX14" fmla="*/ 1294723 w 1984332"/>
                    <a:gd name="connsiteY14" fmla="*/ 450289 h 1520187"/>
                    <a:gd name="connsiteX15" fmla="*/ 1357168 w 1984332"/>
                    <a:gd name="connsiteY15" fmla="*/ 551100 h 1520187"/>
                    <a:gd name="connsiteX16" fmla="*/ 1330708 w 1984332"/>
                    <a:gd name="connsiteY16" fmla="*/ 631749 h 1520187"/>
                    <a:gd name="connsiteX17" fmla="*/ 1250059 w 1984332"/>
                    <a:gd name="connsiteY17" fmla="*/ 665352 h 1520187"/>
                    <a:gd name="connsiteX18" fmla="*/ 1135806 w 1984332"/>
                    <a:gd name="connsiteY18" fmla="*/ 551100 h 1520187"/>
                    <a:gd name="connsiteX19" fmla="*/ 1209734 w 1984332"/>
                    <a:gd name="connsiteY19" fmla="*/ 443568 h 1520187"/>
                    <a:gd name="connsiteX20" fmla="*/ 1223176 w 1984332"/>
                    <a:gd name="connsiteY20" fmla="*/ 423406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223176 w 1984332"/>
                    <a:gd name="connsiteY23" fmla="*/ 349478 h 1520187"/>
                    <a:gd name="connsiteX24" fmla="*/ 1182852 w 1984332"/>
                    <a:gd name="connsiteY24" fmla="*/ 336037 h 1520187"/>
                    <a:gd name="connsiteX25" fmla="*/ 11828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826652 w 1984332"/>
                    <a:gd name="connsiteY28" fmla="*/ 336037 h 1520187"/>
                    <a:gd name="connsiteX29" fmla="*/ 497335 w 1984332"/>
                    <a:gd name="connsiteY29" fmla="*/ 336037 h 1520187"/>
                    <a:gd name="connsiteX30" fmla="*/ 497335 w 1984332"/>
                    <a:gd name="connsiteY30" fmla="*/ 295712 h 1520187"/>
                    <a:gd name="connsiteX31" fmla="*/ 584705 w 1984332"/>
                    <a:gd name="connsiteY31" fmla="*/ 154577 h 1520187"/>
                    <a:gd name="connsiteX32" fmla="*/ 537660 w 1984332"/>
                    <a:gd name="connsiteY32" fmla="*/ 47045 h 1520187"/>
                    <a:gd name="connsiteX33" fmla="*/ 423407 w 1984332"/>
                    <a:gd name="connsiteY33" fmla="*/ 0 h 1520187"/>
                    <a:gd name="connsiteX34" fmla="*/ 423407 w 1984332"/>
                    <a:gd name="connsiteY34" fmla="*/ 0 h 1520187"/>
                    <a:gd name="connsiteX35" fmla="*/ 268830 w 1984332"/>
                    <a:gd name="connsiteY35" fmla="*/ 154577 h 1520187"/>
                    <a:gd name="connsiteX36" fmla="*/ 349479 w 1984332"/>
                    <a:gd name="connsiteY36" fmla="*/ 288991 h 1520187"/>
                    <a:gd name="connsiteX37" fmla="*/ 349479 w 1984332"/>
                    <a:gd name="connsiteY37" fmla="*/ 329316 h 1520187"/>
                    <a:gd name="connsiteX38" fmla="*/ 20162 w 1984332"/>
                    <a:gd name="connsiteY38" fmla="*/ 336037 h 1520187"/>
                    <a:gd name="connsiteX39" fmla="*/ 0 w 1984332"/>
                    <a:gd name="connsiteY39" fmla="*/ 356199 h 1520187"/>
                    <a:gd name="connsiteX40" fmla="*/ 0 w 1984332"/>
                    <a:gd name="connsiteY40" fmla="*/ 698956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20162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94090 w 1984332"/>
                    <a:gd name="connsiteY46" fmla="*/ 719118 h 1520187"/>
                    <a:gd name="connsiteX47" fmla="*/ 120973 w 1984332"/>
                    <a:gd name="connsiteY47" fmla="*/ 705677 h 1520187"/>
                    <a:gd name="connsiteX48" fmla="*/ 221785 w 1984332"/>
                    <a:gd name="connsiteY48" fmla="*/ 638469 h 1520187"/>
                    <a:gd name="connsiteX49" fmla="*/ 221785 w 1984332"/>
                    <a:gd name="connsiteY49" fmla="*/ 638469 h 1520187"/>
                    <a:gd name="connsiteX50" fmla="*/ 336037 w 1984332"/>
                    <a:gd name="connsiteY50" fmla="*/ 752722 h 1520187"/>
                    <a:gd name="connsiteX51" fmla="*/ 221785 w 1984332"/>
                    <a:gd name="connsiteY51" fmla="*/ 873695 h 1520187"/>
                    <a:gd name="connsiteX52" fmla="*/ 221785 w 1984332"/>
                    <a:gd name="connsiteY52" fmla="*/ 873695 h 1520187"/>
                    <a:gd name="connsiteX53" fmla="*/ 114253 w 1984332"/>
                    <a:gd name="connsiteY53" fmla="*/ 799767 h 1520187"/>
                    <a:gd name="connsiteX54" fmla="*/ 94090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20162 w 1984332"/>
                    <a:gd name="connsiteY59" fmla="*/ 786325 h 1520187"/>
                    <a:gd name="connsiteX60" fmla="*/ 0 w 1984332"/>
                    <a:gd name="connsiteY60" fmla="*/ 806488 h 1520187"/>
                    <a:gd name="connsiteX61" fmla="*/ 0 w 1984332"/>
                    <a:gd name="connsiteY61" fmla="*/ 1162686 h 1520187"/>
                    <a:gd name="connsiteX62" fmla="*/ 20162 w 1984332"/>
                    <a:gd name="connsiteY62" fmla="*/ 1182849 h 1520187"/>
                    <a:gd name="connsiteX63" fmla="*/ 20162 w 1984332"/>
                    <a:gd name="connsiteY63" fmla="*/ 1182849 h 1520187"/>
                    <a:gd name="connsiteX64" fmla="*/ 356200 w 1984332"/>
                    <a:gd name="connsiteY64" fmla="*/ 1182849 h 1520187"/>
                    <a:gd name="connsiteX65" fmla="*/ 356200 w 1984332"/>
                    <a:gd name="connsiteY65" fmla="*/ 1223173 h 1520187"/>
                    <a:gd name="connsiteX66" fmla="*/ 268830 w 1984332"/>
                    <a:gd name="connsiteY66" fmla="*/ 1364308 h 1520187"/>
                    <a:gd name="connsiteX67" fmla="*/ 315875 w 1984332"/>
                    <a:gd name="connsiteY67" fmla="*/ 1471840 h 1520187"/>
                    <a:gd name="connsiteX68" fmla="*/ 423407 w 1984332"/>
                    <a:gd name="connsiteY68" fmla="*/ 1518885 h 1520187"/>
                    <a:gd name="connsiteX69" fmla="*/ 423407 w 1984332"/>
                    <a:gd name="connsiteY69" fmla="*/ 1518885 h 1520187"/>
                    <a:gd name="connsiteX70" fmla="*/ 537660 w 1984332"/>
                    <a:gd name="connsiteY70" fmla="*/ 1478561 h 1520187"/>
                    <a:gd name="connsiteX71" fmla="*/ 584705 w 1984332"/>
                    <a:gd name="connsiteY71" fmla="*/ 1371029 h 1520187"/>
                    <a:gd name="connsiteX72" fmla="*/ 510777 w 1984332"/>
                    <a:gd name="connsiteY72" fmla="*/ 1236614 h 1520187"/>
                    <a:gd name="connsiteX73" fmla="*/ 510777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833373 w 1984332"/>
                    <a:gd name="connsiteY76" fmla="*/ 1189569 h 1520187"/>
                    <a:gd name="connsiteX77" fmla="*/ 1189572 w 1984332"/>
                    <a:gd name="connsiteY77" fmla="*/ 1189569 h 1520187"/>
                    <a:gd name="connsiteX78" fmla="*/ 1203014 w 1984332"/>
                    <a:gd name="connsiteY78" fmla="*/ 1182849 h 1520187"/>
                    <a:gd name="connsiteX79" fmla="*/ 1209734 w 1984332"/>
                    <a:gd name="connsiteY79" fmla="*/ 1169407 h 1520187"/>
                    <a:gd name="connsiteX80" fmla="*/ 1209734 w 1984332"/>
                    <a:gd name="connsiteY80" fmla="*/ 1095479 h 1520187"/>
                    <a:gd name="connsiteX81" fmla="*/ 1196293 w 1984332"/>
                    <a:gd name="connsiteY81" fmla="*/ 1075317 h 1520187"/>
                    <a:gd name="connsiteX82" fmla="*/ 1122365 w 1984332"/>
                    <a:gd name="connsiteY82" fmla="*/ 967785 h 1520187"/>
                    <a:gd name="connsiteX83" fmla="*/ 1155969 w 1984332"/>
                    <a:gd name="connsiteY83" fmla="*/ 887136 h 1520187"/>
                    <a:gd name="connsiteX84" fmla="*/ 1236617 w 1984332"/>
                    <a:gd name="connsiteY84" fmla="*/ 853533 h 1520187"/>
                    <a:gd name="connsiteX85" fmla="*/ 1236617 w 1984332"/>
                    <a:gd name="connsiteY85" fmla="*/ 853533 h 1520187"/>
                    <a:gd name="connsiteX86" fmla="*/ 1317266 w 1984332"/>
                    <a:gd name="connsiteY86" fmla="*/ 887136 h 1520187"/>
                    <a:gd name="connsiteX87" fmla="*/ 1350870 w 1984332"/>
                    <a:gd name="connsiteY87" fmla="*/ 967785 h 1520187"/>
                    <a:gd name="connsiteX88" fmla="*/ 1283663 w 1984332"/>
                    <a:gd name="connsiteY88" fmla="*/ 1068596 h 1520187"/>
                    <a:gd name="connsiteX89" fmla="*/ 1270221 w 1984332"/>
                    <a:gd name="connsiteY89" fmla="*/ 1088758 h 1520187"/>
                    <a:gd name="connsiteX90" fmla="*/ 1270221 w 1984332"/>
                    <a:gd name="connsiteY90" fmla="*/ 1162686 h 1520187"/>
                    <a:gd name="connsiteX91" fmla="*/ 1276942 w 1984332"/>
                    <a:gd name="connsiteY91" fmla="*/ 1176128 h 1520187"/>
                    <a:gd name="connsiteX92" fmla="*/ 1290383 w 1984332"/>
                    <a:gd name="connsiteY92" fmla="*/ 1182849 h 1520187"/>
                    <a:gd name="connsiteX93" fmla="*/ 1290383 w 1984332"/>
                    <a:gd name="connsiteY93" fmla="*/ 1182849 h 1520187"/>
                    <a:gd name="connsiteX94" fmla="*/ 1633141 w 1984332"/>
                    <a:gd name="connsiteY94" fmla="*/ 1182849 h 1520187"/>
                    <a:gd name="connsiteX95" fmla="*/ 1653304 w 1984332"/>
                    <a:gd name="connsiteY95" fmla="*/ 1162686 h 1520187"/>
                    <a:gd name="connsiteX96" fmla="*/ 1653304 w 1984332"/>
                    <a:gd name="connsiteY96" fmla="*/ 833371 h 1520187"/>
                    <a:gd name="connsiteX97" fmla="*/ 1693628 w 1984332"/>
                    <a:gd name="connsiteY97" fmla="*/ 833371 h 1520187"/>
                    <a:gd name="connsiteX98" fmla="*/ 1828043 w 1984332"/>
                    <a:gd name="connsiteY98" fmla="*/ 914019 h 1520187"/>
                    <a:gd name="connsiteX99" fmla="*/ 1828043 w 1984332"/>
                    <a:gd name="connsiteY99" fmla="*/ 914019 h 1520187"/>
                    <a:gd name="connsiteX100" fmla="*/ 1935575 w 1984332"/>
                    <a:gd name="connsiteY100" fmla="*/ 866974 h 1520187"/>
                    <a:gd name="connsiteX101" fmla="*/ 1982620 w 1984332"/>
                    <a:gd name="connsiteY101" fmla="*/ 759443 h 1520187"/>
                    <a:gd name="connsiteX102" fmla="*/ 1949017 w 1984332"/>
                    <a:gd name="connsiteY102" fmla="*/ 645190 h 1520187"/>
                    <a:gd name="connsiteX103" fmla="*/ 483894 w 1984332"/>
                    <a:gd name="connsiteY103" fmla="*/ 1142524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162686 h 1520187"/>
                    <a:gd name="connsiteX107" fmla="*/ 463732 w 1984332"/>
                    <a:gd name="connsiteY107" fmla="*/ 1236614 h 1520187"/>
                    <a:gd name="connsiteX108" fmla="*/ 463732 w 1984332"/>
                    <a:gd name="connsiteY108" fmla="*/ 1236614 h 1520187"/>
                    <a:gd name="connsiteX109" fmla="*/ 477173 w 1984332"/>
                    <a:gd name="connsiteY109" fmla="*/ 1263497 h 1520187"/>
                    <a:gd name="connsiteX110" fmla="*/ 544381 w 1984332"/>
                    <a:gd name="connsiteY110" fmla="*/ 1364308 h 1520187"/>
                    <a:gd name="connsiteX111" fmla="*/ 510777 w 1984332"/>
                    <a:gd name="connsiteY111" fmla="*/ 1444957 h 1520187"/>
                    <a:gd name="connsiteX112" fmla="*/ 423407 w 1984332"/>
                    <a:gd name="connsiteY112" fmla="*/ 1478561 h 1520187"/>
                    <a:gd name="connsiteX113" fmla="*/ 423407 w 1984332"/>
                    <a:gd name="connsiteY113" fmla="*/ 1478561 h 1520187"/>
                    <a:gd name="connsiteX114" fmla="*/ 342758 w 1984332"/>
                    <a:gd name="connsiteY114" fmla="*/ 1444957 h 1520187"/>
                    <a:gd name="connsiteX115" fmla="*/ 309154 w 1984332"/>
                    <a:gd name="connsiteY115" fmla="*/ 1364308 h 1520187"/>
                    <a:gd name="connsiteX116" fmla="*/ 383083 w 1984332"/>
                    <a:gd name="connsiteY116" fmla="*/ 1256777 h 1520187"/>
                    <a:gd name="connsiteX117" fmla="*/ 396524 w 1984332"/>
                    <a:gd name="connsiteY117" fmla="*/ 1236614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96524 w 1984332"/>
                    <a:gd name="connsiteY120" fmla="*/ 1162686 h 1520187"/>
                    <a:gd name="connsiteX121" fmla="*/ 376362 w 1984332"/>
                    <a:gd name="connsiteY121" fmla="*/ 1142524 h 1520187"/>
                    <a:gd name="connsiteX122" fmla="*/ 376362 w 1984332"/>
                    <a:gd name="connsiteY122" fmla="*/ 1142524 h 1520187"/>
                    <a:gd name="connsiteX123" fmla="*/ 40324 w 1984332"/>
                    <a:gd name="connsiteY123" fmla="*/ 1142524 h 1520187"/>
                    <a:gd name="connsiteX124" fmla="*/ 40324 w 1984332"/>
                    <a:gd name="connsiteY124" fmla="*/ 833371 h 1520187"/>
                    <a:gd name="connsiteX125" fmla="*/ 80649 w 1984332"/>
                    <a:gd name="connsiteY125" fmla="*/ 833371 h 1520187"/>
                    <a:gd name="connsiteX126" fmla="*/ 221785 w 1984332"/>
                    <a:gd name="connsiteY126" fmla="*/ 920740 h 1520187"/>
                    <a:gd name="connsiteX127" fmla="*/ 221785 w 1984332"/>
                    <a:gd name="connsiteY127" fmla="*/ 920740 h 1520187"/>
                    <a:gd name="connsiteX128" fmla="*/ 376362 w 1984332"/>
                    <a:gd name="connsiteY128" fmla="*/ 766163 h 1520187"/>
                    <a:gd name="connsiteX129" fmla="*/ 221785 w 1984332"/>
                    <a:gd name="connsiteY129" fmla="*/ 604866 h 1520187"/>
                    <a:gd name="connsiteX130" fmla="*/ 221785 w 1984332"/>
                    <a:gd name="connsiteY130" fmla="*/ 604866 h 1520187"/>
                    <a:gd name="connsiteX131" fmla="*/ 87370 w 1984332"/>
                    <a:gd name="connsiteY131" fmla="*/ 678794 h 1520187"/>
                    <a:gd name="connsiteX132" fmla="*/ 40324 w 1984332"/>
                    <a:gd name="connsiteY132" fmla="*/ 678794 h 1520187"/>
                    <a:gd name="connsiteX133" fmla="*/ 40324 w 1984332"/>
                    <a:gd name="connsiteY133" fmla="*/ 376361 h 1520187"/>
                    <a:gd name="connsiteX134" fmla="*/ 369641 w 1984332"/>
                    <a:gd name="connsiteY134" fmla="*/ 376361 h 1520187"/>
                    <a:gd name="connsiteX135" fmla="*/ 383083 w 1984332"/>
                    <a:gd name="connsiteY135" fmla="*/ 369640 h 1520187"/>
                    <a:gd name="connsiteX136" fmla="*/ 389803 w 1984332"/>
                    <a:gd name="connsiteY136" fmla="*/ 356199 h 1520187"/>
                    <a:gd name="connsiteX137" fmla="*/ 389803 w 1984332"/>
                    <a:gd name="connsiteY137" fmla="*/ 275550 h 1520187"/>
                    <a:gd name="connsiteX138" fmla="*/ 376362 w 1984332"/>
                    <a:gd name="connsiteY138" fmla="*/ 255388 h 1520187"/>
                    <a:gd name="connsiteX139" fmla="*/ 309154 w 1984332"/>
                    <a:gd name="connsiteY139" fmla="*/ 154577 h 1520187"/>
                    <a:gd name="connsiteX140" fmla="*/ 423407 w 1984332"/>
                    <a:gd name="connsiteY140" fmla="*/ 40324 h 1520187"/>
                    <a:gd name="connsiteX141" fmla="*/ 504056 w 1984332"/>
                    <a:gd name="connsiteY141" fmla="*/ 73928 h 1520187"/>
                    <a:gd name="connsiteX142" fmla="*/ 537660 w 1984332"/>
                    <a:gd name="connsiteY142" fmla="*/ 154577 h 1520187"/>
                    <a:gd name="connsiteX143" fmla="*/ 470452 w 1984332"/>
                    <a:gd name="connsiteY143" fmla="*/ 262109 h 1520187"/>
                    <a:gd name="connsiteX144" fmla="*/ 457011 w 1984332"/>
                    <a:gd name="connsiteY144" fmla="*/ 282271 h 1520187"/>
                    <a:gd name="connsiteX145" fmla="*/ 457011 w 1984332"/>
                    <a:gd name="connsiteY145" fmla="*/ 362919 h 1520187"/>
                    <a:gd name="connsiteX146" fmla="*/ 477173 w 1984332"/>
                    <a:gd name="connsiteY146" fmla="*/ 383082 h 1520187"/>
                    <a:gd name="connsiteX147" fmla="*/ 477173 w 1984332"/>
                    <a:gd name="connsiteY147" fmla="*/ 383082 h 1520187"/>
                    <a:gd name="connsiteX148" fmla="*/ 806490 w 1984332"/>
                    <a:gd name="connsiteY148" fmla="*/ 383082 h 1520187"/>
                    <a:gd name="connsiteX149" fmla="*/ 806490 w 1984332"/>
                    <a:gd name="connsiteY149" fmla="*/ 631749 h 1520187"/>
                    <a:gd name="connsiteX150" fmla="*/ 806490 w 1984332"/>
                    <a:gd name="connsiteY150" fmla="*/ 685515 h 1520187"/>
                    <a:gd name="connsiteX151" fmla="*/ 766165 w 1984332"/>
                    <a:gd name="connsiteY151" fmla="*/ 685515 h 1520187"/>
                    <a:gd name="connsiteX152" fmla="*/ 631750 w 1984332"/>
                    <a:gd name="connsiteY152" fmla="*/ 604866 h 1520187"/>
                    <a:gd name="connsiteX153" fmla="*/ 631750 w 1984332"/>
                    <a:gd name="connsiteY153" fmla="*/ 604866 h 1520187"/>
                    <a:gd name="connsiteX154" fmla="*/ 517497 w 1984332"/>
                    <a:gd name="connsiteY154" fmla="*/ 651911 h 1520187"/>
                    <a:gd name="connsiteX155" fmla="*/ 470452 w 1984332"/>
                    <a:gd name="connsiteY155" fmla="*/ 759443 h 1520187"/>
                    <a:gd name="connsiteX156" fmla="*/ 517497 w 1984332"/>
                    <a:gd name="connsiteY156" fmla="*/ 866974 h 1520187"/>
                    <a:gd name="connsiteX157" fmla="*/ 625029 w 1984332"/>
                    <a:gd name="connsiteY157" fmla="*/ 914019 h 1520187"/>
                    <a:gd name="connsiteX158" fmla="*/ 625029 w 1984332"/>
                    <a:gd name="connsiteY158" fmla="*/ 914019 h 1520187"/>
                    <a:gd name="connsiteX159" fmla="*/ 766165 w 1984332"/>
                    <a:gd name="connsiteY159" fmla="*/ 826650 h 1520187"/>
                    <a:gd name="connsiteX160" fmla="*/ 799769 w 1984332"/>
                    <a:gd name="connsiteY160" fmla="*/ 826650 h 1520187"/>
                    <a:gd name="connsiteX161" fmla="*/ 799769 w 1984332"/>
                    <a:gd name="connsiteY161" fmla="*/ 1135803 h 1520187"/>
                    <a:gd name="connsiteX162" fmla="*/ 483894 w 1984332"/>
                    <a:gd name="connsiteY162" fmla="*/ 1142524 h 1520187"/>
                    <a:gd name="connsiteX163" fmla="*/ 1915413 w 1984332"/>
                    <a:gd name="connsiteY163" fmla="*/ 840091 h 1520187"/>
                    <a:gd name="connsiteX164" fmla="*/ 1834764 w 1984332"/>
                    <a:gd name="connsiteY164" fmla="*/ 873695 h 1520187"/>
                    <a:gd name="connsiteX165" fmla="*/ 1834764 w 1984332"/>
                    <a:gd name="connsiteY165" fmla="*/ 873695 h 1520187"/>
                    <a:gd name="connsiteX166" fmla="*/ 1733953 w 1984332"/>
                    <a:gd name="connsiteY166" fmla="*/ 806488 h 1520187"/>
                    <a:gd name="connsiteX167" fmla="*/ 1713790 w 1984332"/>
                    <a:gd name="connsiteY167" fmla="*/ 793046 h 1520187"/>
                    <a:gd name="connsiteX168" fmla="*/ 1713790 w 1984332"/>
                    <a:gd name="connsiteY168" fmla="*/ 793046 h 1520187"/>
                    <a:gd name="connsiteX169" fmla="*/ 1633141 w 1984332"/>
                    <a:gd name="connsiteY169" fmla="*/ 793046 h 1520187"/>
                    <a:gd name="connsiteX170" fmla="*/ 1612979 w 1984332"/>
                    <a:gd name="connsiteY170" fmla="*/ 813208 h 1520187"/>
                    <a:gd name="connsiteX171" fmla="*/ 1612979 w 1984332"/>
                    <a:gd name="connsiteY171" fmla="*/ 1142524 h 1520187"/>
                    <a:gd name="connsiteX172" fmla="*/ 1310546 w 1984332"/>
                    <a:gd name="connsiteY172" fmla="*/ 1142524 h 1520187"/>
                    <a:gd name="connsiteX173" fmla="*/ 1310546 w 1984332"/>
                    <a:gd name="connsiteY173" fmla="*/ 1102200 h 1520187"/>
                    <a:gd name="connsiteX174" fmla="*/ 1384474 w 1984332"/>
                    <a:gd name="connsiteY174" fmla="*/ 967785 h 1520187"/>
                    <a:gd name="connsiteX175" fmla="*/ 1337429 w 1984332"/>
                    <a:gd name="connsiteY175" fmla="*/ 860254 h 1520187"/>
                    <a:gd name="connsiteX176" fmla="*/ 1229897 w 1984332"/>
                    <a:gd name="connsiteY176" fmla="*/ 813208 h 1520187"/>
                    <a:gd name="connsiteX177" fmla="*/ 1229897 w 1984332"/>
                    <a:gd name="connsiteY177" fmla="*/ 813208 h 1520187"/>
                    <a:gd name="connsiteX178" fmla="*/ 1122365 w 1984332"/>
                    <a:gd name="connsiteY178" fmla="*/ 860254 h 1520187"/>
                    <a:gd name="connsiteX179" fmla="*/ 1075320 w 1984332"/>
                    <a:gd name="connsiteY179" fmla="*/ 967785 h 1520187"/>
                    <a:gd name="connsiteX180" fmla="*/ 1162689 w 1984332"/>
                    <a:gd name="connsiteY180" fmla="*/ 1108921 h 1520187"/>
                    <a:gd name="connsiteX181" fmla="*/ 1162689 w 1984332"/>
                    <a:gd name="connsiteY181" fmla="*/ 1142524 h 1520187"/>
                    <a:gd name="connsiteX182" fmla="*/ 853535 w 1984332"/>
                    <a:gd name="connsiteY182" fmla="*/ 1142524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19929 h 1520187"/>
                    <a:gd name="connsiteX185" fmla="*/ 853535 w 1984332"/>
                    <a:gd name="connsiteY185" fmla="*/ 806488 h 1520187"/>
                    <a:gd name="connsiteX186" fmla="*/ 846814 w 1984332"/>
                    <a:gd name="connsiteY186" fmla="*/ 793046 h 1520187"/>
                    <a:gd name="connsiteX187" fmla="*/ 833373 w 1984332"/>
                    <a:gd name="connsiteY187" fmla="*/ 786325 h 1520187"/>
                    <a:gd name="connsiteX188" fmla="*/ 833373 w 1984332"/>
                    <a:gd name="connsiteY188" fmla="*/ 786325 h 1520187"/>
                    <a:gd name="connsiteX189" fmla="*/ 759444 w 1984332"/>
                    <a:gd name="connsiteY189" fmla="*/ 786325 h 1520187"/>
                    <a:gd name="connsiteX190" fmla="*/ 739282 w 1984332"/>
                    <a:gd name="connsiteY190" fmla="*/ 799767 h 1520187"/>
                    <a:gd name="connsiteX191" fmla="*/ 631750 w 1984332"/>
                    <a:gd name="connsiteY191" fmla="*/ 873695 h 1520187"/>
                    <a:gd name="connsiteX192" fmla="*/ 631750 w 1984332"/>
                    <a:gd name="connsiteY192" fmla="*/ 873695 h 1520187"/>
                    <a:gd name="connsiteX193" fmla="*/ 551101 w 1984332"/>
                    <a:gd name="connsiteY193" fmla="*/ 840091 h 1520187"/>
                    <a:gd name="connsiteX194" fmla="*/ 517497 w 1984332"/>
                    <a:gd name="connsiteY194" fmla="*/ 759443 h 1520187"/>
                    <a:gd name="connsiteX195" fmla="*/ 551101 w 1984332"/>
                    <a:gd name="connsiteY195" fmla="*/ 678794 h 1520187"/>
                    <a:gd name="connsiteX196" fmla="*/ 631750 w 1984332"/>
                    <a:gd name="connsiteY196" fmla="*/ 645190 h 1520187"/>
                    <a:gd name="connsiteX197" fmla="*/ 631750 w 1984332"/>
                    <a:gd name="connsiteY197" fmla="*/ 645190 h 1520187"/>
                    <a:gd name="connsiteX198" fmla="*/ 732561 w 1984332"/>
                    <a:gd name="connsiteY198" fmla="*/ 712397 h 1520187"/>
                    <a:gd name="connsiteX199" fmla="*/ 752724 w 1984332"/>
                    <a:gd name="connsiteY199" fmla="*/ 725839 h 1520187"/>
                    <a:gd name="connsiteX200" fmla="*/ 752724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26652 w 1984332"/>
                    <a:gd name="connsiteY202" fmla="*/ 725839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0093 w 1984332"/>
                    <a:gd name="connsiteY205" fmla="*/ 719118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705677 h 1520187"/>
                    <a:gd name="connsiteX210" fmla="*/ 846814 w 1984332"/>
                    <a:gd name="connsiteY210" fmla="*/ 383082 h 1520187"/>
                    <a:gd name="connsiteX211" fmla="*/ 1155969 w 1984332"/>
                    <a:gd name="connsiteY211" fmla="*/ 383082 h 1520187"/>
                    <a:gd name="connsiteX212" fmla="*/ 1155969 w 1984332"/>
                    <a:gd name="connsiteY212" fmla="*/ 423406 h 1520187"/>
                    <a:gd name="connsiteX213" fmla="*/ 1084846 w 1984332"/>
                    <a:gd name="connsiteY213" fmla="*/ 555440 h 1520187"/>
                    <a:gd name="connsiteX214" fmla="*/ 1139409 w 1984332"/>
                    <a:gd name="connsiteY214" fmla="*/ 664773 h 1520187"/>
                    <a:gd name="connsiteX215" fmla="*/ 1241803 w 1984332"/>
                    <a:gd name="connsiteY215" fmla="*/ 712400 h 1520187"/>
                    <a:gd name="connsiteX216" fmla="*/ 1354098 w 1984332"/>
                    <a:gd name="connsiteY216" fmla="*/ 670115 h 1520187"/>
                    <a:gd name="connsiteX217" fmla="*/ 1396380 w 1984332"/>
                    <a:gd name="connsiteY217" fmla="*/ 553058 h 1520187"/>
                    <a:gd name="connsiteX218" fmla="*/ 1310546 w 1984332"/>
                    <a:gd name="connsiteY218" fmla="*/ 423406 h 1520187"/>
                    <a:gd name="connsiteX219" fmla="*/ 1310546 w 1984332"/>
                    <a:gd name="connsiteY219" fmla="*/ 376361 h 1520187"/>
                    <a:gd name="connsiteX220" fmla="*/ 1612979 w 1984332"/>
                    <a:gd name="connsiteY220" fmla="*/ 376361 h 1520187"/>
                    <a:gd name="connsiteX221" fmla="*/ 1612979 w 1984332"/>
                    <a:gd name="connsiteY221" fmla="*/ 705677 h 1520187"/>
                    <a:gd name="connsiteX222" fmla="*/ 1633141 w 1984332"/>
                    <a:gd name="connsiteY222" fmla="*/ 725839 h 1520187"/>
                    <a:gd name="connsiteX223" fmla="*/ 1633141 w 1984332"/>
                    <a:gd name="connsiteY223" fmla="*/ 725839 h 1520187"/>
                    <a:gd name="connsiteX224" fmla="*/ 1713790 w 1984332"/>
                    <a:gd name="connsiteY224" fmla="*/ 725839 h 1520187"/>
                    <a:gd name="connsiteX225" fmla="*/ 1733953 w 1984332"/>
                    <a:gd name="connsiteY225" fmla="*/ 712397 h 1520187"/>
                    <a:gd name="connsiteX226" fmla="*/ 1834764 w 1984332"/>
                    <a:gd name="connsiteY226" fmla="*/ 645190 h 1520187"/>
                    <a:gd name="connsiteX227" fmla="*/ 1834764 w 1984332"/>
                    <a:gd name="connsiteY227" fmla="*/ 645190 h 1520187"/>
                    <a:gd name="connsiteX228" fmla="*/ 1915413 w 1984332"/>
                    <a:gd name="connsiteY228" fmla="*/ 678794 h 1520187"/>
                    <a:gd name="connsiteX229" fmla="*/ 1949017 w 1984332"/>
                    <a:gd name="connsiteY229" fmla="*/ 759443 h 1520187"/>
                    <a:gd name="connsiteX230" fmla="*/ 1915413 w 1984332"/>
                    <a:gd name="connsiteY230" fmla="*/ 840091 h 1520187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76520 w 1984332"/>
                    <a:gd name="connsiteY13" fmla="*/ 437694 h 1520187"/>
                    <a:gd name="connsiteX14" fmla="*/ 1294723 w 1984332"/>
                    <a:gd name="connsiteY14" fmla="*/ 450289 h 1520187"/>
                    <a:gd name="connsiteX15" fmla="*/ 1357168 w 1984332"/>
                    <a:gd name="connsiteY15" fmla="*/ 551100 h 1520187"/>
                    <a:gd name="connsiteX16" fmla="*/ 1330708 w 1984332"/>
                    <a:gd name="connsiteY16" fmla="*/ 631749 h 1520187"/>
                    <a:gd name="connsiteX17" fmla="*/ 1250059 w 1984332"/>
                    <a:gd name="connsiteY17" fmla="*/ 665352 h 1520187"/>
                    <a:gd name="connsiteX18" fmla="*/ 1135806 w 1984332"/>
                    <a:gd name="connsiteY18" fmla="*/ 551100 h 1520187"/>
                    <a:gd name="connsiteX19" fmla="*/ 1209734 w 1984332"/>
                    <a:gd name="connsiteY19" fmla="*/ 443568 h 1520187"/>
                    <a:gd name="connsiteX20" fmla="*/ 1223176 w 1984332"/>
                    <a:gd name="connsiteY20" fmla="*/ 423406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223176 w 1984332"/>
                    <a:gd name="connsiteY23" fmla="*/ 349478 h 1520187"/>
                    <a:gd name="connsiteX24" fmla="*/ 1182852 w 1984332"/>
                    <a:gd name="connsiteY24" fmla="*/ 336037 h 1520187"/>
                    <a:gd name="connsiteX25" fmla="*/ 11828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826652 w 1984332"/>
                    <a:gd name="connsiteY28" fmla="*/ 336037 h 1520187"/>
                    <a:gd name="connsiteX29" fmla="*/ 497335 w 1984332"/>
                    <a:gd name="connsiteY29" fmla="*/ 336037 h 1520187"/>
                    <a:gd name="connsiteX30" fmla="*/ 497335 w 1984332"/>
                    <a:gd name="connsiteY30" fmla="*/ 295712 h 1520187"/>
                    <a:gd name="connsiteX31" fmla="*/ 584705 w 1984332"/>
                    <a:gd name="connsiteY31" fmla="*/ 154577 h 1520187"/>
                    <a:gd name="connsiteX32" fmla="*/ 537660 w 1984332"/>
                    <a:gd name="connsiteY32" fmla="*/ 47045 h 1520187"/>
                    <a:gd name="connsiteX33" fmla="*/ 423407 w 1984332"/>
                    <a:gd name="connsiteY33" fmla="*/ 0 h 1520187"/>
                    <a:gd name="connsiteX34" fmla="*/ 423407 w 1984332"/>
                    <a:gd name="connsiteY34" fmla="*/ 0 h 1520187"/>
                    <a:gd name="connsiteX35" fmla="*/ 268830 w 1984332"/>
                    <a:gd name="connsiteY35" fmla="*/ 154577 h 1520187"/>
                    <a:gd name="connsiteX36" fmla="*/ 349479 w 1984332"/>
                    <a:gd name="connsiteY36" fmla="*/ 288991 h 1520187"/>
                    <a:gd name="connsiteX37" fmla="*/ 349479 w 1984332"/>
                    <a:gd name="connsiteY37" fmla="*/ 329316 h 1520187"/>
                    <a:gd name="connsiteX38" fmla="*/ 20162 w 1984332"/>
                    <a:gd name="connsiteY38" fmla="*/ 336037 h 1520187"/>
                    <a:gd name="connsiteX39" fmla="*/ 0 w 1984332"/>
                    <a:gd name="connsiteY39" fmla="*/ 356199 h 1520187"/>
                    <a:gd name="connsiteX40" fmla="*/ 0 w 1984332"/>
                    <a:gd name="connsiteY40" fmla="*/ 698956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20162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94090 w 1984332"/>
                    <a:gd name="connsiteY46" fmla="*/ 719118 h 1520187"/>
                    <a:gd name="connsiteX47" fmla="*/ 120973 w 1984332"/>
                    <a:gd name="connsiteY47" fmla="*/ 705677 h 1520187"/>
                    <a:gd name="connsiteX48" fmla="*/ 221785 w 1984332"/>
                    <a:gd name="connsiteY48" fmla="*/ 638469 h 1520187"/>
                    <a:gd name="connsiteX49" fmla="*/ 221785 w 1984332"/>
                    <a:gd name="connsiteY49" fmla="*/ 638469 h 1520187"/>
                    <a:gd name="connsiteX50" fmla="*/ 336037 w 1984332"/>
                    <a:gd name="connsiteY50" fmla="*/ 752722 h 1520187"/>
                    <a:gd name="connsiteX51" fmla="*/ 221785 w 1984332"/>
                    <a:gd name="connsiteY51" fmla="*/ 873695 h 1520187"/>
                    <a:gd name="connsiteX52" fmla="*/ 221785 w 1984332"/>
                    <a:gd name="connsiteY52" fmla="*/ 873695 h 1520187"/>
                    <a:gd name="connsiteX53" fmla="*/ 114253 w 1984332"/>
                    <a:gd name="connsiteY53" fmla="*/ 799767 h 1520187"/>
                    <a:gd name="connsiteX54" fmla="*/ 94090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20162 w 1984332"/>
                    <a:gd name="connsiteY59" fmla="*/ 786325 h 1520187"/>
                    <a:gd name="connsiteX60" fmla="*/ 0 w 1984332"/>
                    <a:gd name="connsiteY60" fmla="*/ 806488 h 1520187"/>
                    <a:gd name="connsiteX61" fmla="*/ 0 w 1984332"/>
                    <a:gd name="connsiteY61" fmla="*/ 1162686 h 1520187"/>
                    <a:gd name="connsiteX62" fmla="*/ 20162 w 1984332"/>
                    <a:gd name="connsiteY62" fmla="*/ 1182849 h 1520187"/>
                    <a:gd name="connsiteX63" fmla="*/ 20162 w 1984332"/>
                    <a:gd name="connsiteY63" fmla="*/ 1182849 h 1520187"/>
                    <a:gd name="connsiteX64" fmla="*/ 356200 w 1984332"/>
                    <a:gd name="connsiteY64" fmla="*/ 1182849 h 1520187"/>
                    <a:gd name="connsiteX65" fmla="*/ 356200 w 1984332"/>
                    <a:gd name="connsiteY65" fmla="*/ 1223173 h 1520187"/>
                    <a:gd name="connsiteX66" fmla="*/ 268830 w 1984332"/>
                    <a:gd name="connsiteY66" fmla="*/ 1364308 h 1520187"/>
                    <a:gd name="connsiteX67" fmla="*/ 315875 w 1984332"/>
                    <a:gd name="connsiteY67" fmla="*/ 1471840 h 1520187"/>
                    <a:gd name="connsiteX68" fmla="*/ 423407 w 1984332"/>
                    <a:gd name="connsiteY68" fmla="*/ 1518885 h 1520187"/>
                    <a:gd name="connsiteX69" fmla="*/ 423407 w 1984332"/>
                    <a:gd name="connsiteY69" fmla="*/ 1518885 h 1520187"/>
                    <a:gd name="connsiteX70" fmla="*/ 537660 w 1984332"/>
                    <a:gd name="connsiteY70" fmla="*/ 1478561 h 1520187"/>
                    <a:gd name="connsiteX71" fmla="*/ 584705 w 1984332"/>
                    <a:gd name="connsiteY71" fmla="*/ 1371029 h 1520187"/>
                    <a:gd name="connsiteX72" fmla="*/ 510777 w 1984332"/>
                    <a:gd name="connsiteY72" fmla="*/ 1236614 h 1520187"/>
                    <a:gd name="connsiteX73" fmla="*/ 510777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833373 w 1984332"/>
                    <a:gd name="connsiteY76" fmla="*/ 1189569 h 1520187"/>
                    <a:gd name="connsiteX77" fmla="*/ 1189572 w 1984332"/>
                    <a:gd name="connsiteY77" fmla="*/ 1189569 h 1520187"/>
                    <a:gd name="connsiteX78" fmla="*/ 1203014 w 1984332"/>
                    <a:gd name="connsiteY78" fmla="*/ 1182849 h 1520187"/>
                    <a:gd name="connsiteX79" fmla="*/ 1209734 w 1984332"/>
                    <a:gd name="connsiteY79" fmla="*/ 1169407 h 1520187"/>
                    <a:gd name="connsiteX80" fmla="*/ 1209734 w 1984332"/>
                    <a:gd name="connsiteY80" fmla="*/ 1095479 h 1520187"/>
                    <a:gd name="connsiteX81" fmla="*/ 1196293 w 1984332"/>
                    <a:gd name="connsiteY81" fmla="*/ 1075317 h 1520187"/>
                    <a:gd name="connsiteX82" fmla="*/ 1122365 w 1984332"/>
                    <a:gd name="connsiteY82" fmla="*/ 967785 h 1520187"/>
                    <a:gd name="connsiteX83" fmla="*/ 1155969 w 1984332"/>
                    <a:gd name="connsiteY83" fmla="*/ 887136 h 1520187"/>
                    <a:gd name="connsiteX84" fmla="*/ 1236617 w 1984332"/>
                    <a:gd name="connsiteY84" fmla="*/ 853533 h 1520187"/>
                    <a:gd name="connsiteX85" fmla="*/ 1236617 w 1984332"/>
                    <a:gd name="connsiteY85" fmla="*/ 853533 h 1520187"/>
                    <a:gd name="connsiteX86" fmla="*/ 1317266 w 1984332"/>
                    <a:gd name="connsiteY86" fmla="*/ 887136 h 1520187"/>
                    <a:gd name="connsiteX87" fmla="*/ 1350870 w 1984332"/>
                    <a:gd name="connsiteY87" fmla="*/ 967785 h 1520187"/>
                    <a:gd name="connsiteX88" fmla="*/ 1283663 w 1984332"/>
                    <a:gd name="connsiteY88" fmla="*/ 1068596 h 1520187"/>
                    <a:gd name="connsiteX89" fmla="*/ 1270221 w 1984332"/>
                    <a:gd name="connsiteY89" fmla="*/ 1088758 h 1520187"/>
                    <a:gd name="connsiteX90" fmla="*/ 1270221 w 1984332"/>
                    <a:gd name="connsiteY90" fmla="*/ 1162686 h 1520187"/>
                    <a:gd name="connsiteX91" fmla="*/ 1276942 w 1984332"/>
                    <a:gd name="connsiteY91" fmla="*/ 1176128 h 1520187"/>
                    <a:gd name="connsiteX92" fmla="*/ 1290383 w 1984332"/>
                    <a:gd name="connsiteY92" fmla="*/ 1182849 h 1520187"/>
                    <a:gd name="connsiteX93" fmla="*/ 1290383 w 1984332"/>
                    <a:gd name="connsiteY93" fmla="*/ 1182849 h 1520187"/>
                    <a:gd name="connsiteX94" fmla="*/ 1633141 w 1984332"/>
                    <a:gd name="connsiteY94" fmla="*/ 1182849 h 1520187"/>
                    <a:gd name="connsiteX95" fmla="*/ 1653304 w 1984332"/>
                    <a:gd name="connsiteY95" fmla="*/ 1162686 h 1520187"/>
                    <a:gd name="connsiteX96" fmla="*/ 1653304 w 1984332"/>
                    <a:gd name="connsiteY96" fmla="*/ 833371 h 1520187"/>
                    <a:gd name="connsiteX97" fmla="*/ 1693628 w 1984332"/>
                    <a:gd name="connsiteY97" fmla="*/ 833371 h 1520187"/>
                    <a:gd name="connsiteX98" fmla="*/ 1828043 w 1984332"/>
                    <a:gd name="connsiteY98" fmla="*/ 914019 h 1520187"/>
                    <a:gd name="connsiteX99" fmla="*/ 1828043 w 1984332"/>
                    <a:gd name="connsiteY99" fmla="*/ 914019 h 1520187"/>
                    <a:gd name="connsiteX100" fmla="*/ 1935575 w 1984332"/>
                    <a:gd name="connsiteY100" fmla="*/ 866974 h 1520187"/>
                    <a:gd name="connsiteX101" fmla="*/ 1982620 w 1984332"/>
                    <a:gd name="connsiteY101" fmla="*/ 759443 h 1520187"/>
                    <a:gd name="connsiteX102" fmla="*/ 1949017 w 1984332"/>
                    <a:gd name="connsiteY102" fmla="*/ 645190 h 1520187"/>
                    <a:gd name="connsiteX103" fmla="*/ 483894 w 1984332"/>
                    <a:gd name="connsiteY103" fmla="*/ 1142524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162686 h 1520187"/>
                    <a:gd name="connsiteX107" fmla="*/ 463732 w 1984332"/>
                    <a:gd name="connsiteY107" fmla="*/ 1236614 h 1520187"/>
                    <a:gd name="connsiteX108" fmla="*/ 463732 w 1984332"/>
                    <a:gd name="connsiteY108" fmla="*/ 1236614 h 1520187"/>
                    <a:gd name="connsiteX109" fmla="*/ 477173 w 1984332"/>
                    <a:gd name="connsiteY109" fmla="*/ 1263497 h 1520187"/>
                    <a:gd name="connsiteX110" fmla="*/ 544381 w 1984332"/>
                    <a:gd name="connsiteY110" fmla="*/ 1364308 h 1520187"/>
                    <a:gd name="connsiteX111" fmla="*/ 510777 w 1984332"/>
                    <a:gd name="connsiteY111" fmla="*/ 1444957 h 1520187"/>
                    <a:gd name="connsiteX112" fmla="*/ 423407 w 1984332"/>
                    <a:gd name="connsiteY112" fmla="*/ 1478561 h 1520187"/>
                    <a:gd name="connsiteX113" fmla="*/ 423407 w 1984332"/>
                    <a:gd name="connsiteY113" fmla="*/ 1478561 h 1520187"/>
                    <a:gd name="connsiteX114" fmla="*/ 342758 w 1984332"/>
                    <a:gd name="connsiteY114" fmla="*/ 1444957 h 1520187"/>
                    <a:gd name="connsiteX115" fmla="*/ 309154 w 1984332"/>
                    <a:gd name="connsiteY115" fmla="*/ 1364308 h 1520187"/>
                    <a:gd name="connsiteX116" fmla="*/ 383083 w 1984332"/>
                    <a:gd name="connsiteY116" fmla="*/ 1256777 h 1520187"/>
                    <a:gd name="connsiteX117" fmla="*/ 396524 w 1984332"/>
                    <a:gd name="connsiteY117" fmla="*/ 1236614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96524 w 1984332"/>
                    <a:gd name="connsiteY120" fmla="*/ 1162686 h 1520187"/>
                    <a:gd name="connsiteX121" fmla="*/ 376362 w 1984332"/>
                    <a:gd name="connsiteY121" fmla="*/ 1142524 h 1520187"/>
                    <a:gd name="connsiteX122" fmla="*/ 376362 w 1984332"/>
                    <a:gd name="connsiteY122" fmla="*/ 1142524 h 1520187"/>
                    <a:gd name="connsiteX123" fmla="*/ 40324 w 1984332"/>
                    <a:gd name="connsiteY123" fmla="*/ 1142524 h 1520187"/>
                    <a:gd name="connsiteX124" fmla="*/ 40324 w 1984332"/>
                    <a:gd name="connsiteY124" fmla="*/ 833371 h 1520187"/>
                    <a:gd name="connsiteX125" fmla="*/ 80649 w 1984332"/>
                    <a:gd name="connsiteY125" fmla="*/ 833371 h 1520187"/>
                    <a:gd name="connsiteX126" fmla="*/ 221785 w 1984332"/>
                    <a:gd name="connsiteY126" fmla="*/ 920740 h 1520187"/>
                    <a:gd name="connsiteX127" fmla="*/ 221785 w 1984332"/>
                    <a:gd name="connsiteY127" fmla="*/ 920740 h 1520187"/>
                    <a:gd name="connsiteX128" fmla="*/ 376362 w 1984332"/>
                    <a:gd name="connsiteY128" fmla="*/ 766163 h 1520187"/>
                    <a:gd name="connsiteX129" fmla="*/ 221785 w 1984332"/>
                    <a:gd name="connsiteY129" fmla="*/ 604866 h 1520187"/>
                    <a:gd name="connsiteX130" fmla="*/ 221785 w 1984332"/>
                    <a:gd name="connsiteY130" fmla="*/ 604866 h 1520187"/>
                    <a:gd name="connsiteX131" fmla="*/ 87370 w 1984332"/>
                    <a:gd name="connsiteY131" fmla="*/ 678794 h 1520187"/>
                    <a:gd name="connsiteX132" fmla="*/ 40324 w 1984332"/>
                    <a:gd name="connsiteY132" fmla="*/ 678794 h 1520187"/>
                    <a:gd name="connsiteX133" fmla="*/ 40324 w 1984332"/>
                    <a:gd name="connsiteY133" fmla="*/ 376361 h 1520187"/>
                    <a:gd name="connsiteX134" fmla="*/ 369641 w 1984332"/>
                    <a:gd name="connsiteY134" fmla="*/ 376361 h 1520187"/>
                    <a:gd name="connsiteX135" fmla="*/ 383083 w 1984332"/>
                    <a:gd name="connsiteY135" fmla="*/ 369640 h 1520187"/>
                    <a:gd name="connsiteX136" fmla="*/ 389803 w 1984332"/>
                    <a:gd name="connsiteY136" fmla="*/ 356199 h 1520187"/>
                    <a:gd name="connsiteX137" fmla="*/ 389803 w 1984332"/>
                    <a:gd name="connsiteY137" fmla="*/ 275550 h 1520187"/>
                    <a:gd name="connsiteX138" fmla="*/ 376362 w 1984332"/>
                    <a:gd name="connsiteY138" fmla="*/ 255388 h 1520187"/>
                    <a:gd name="connsiteX139" fmla="*/ 309154 w 1984332"/>
                    <a:gd name="connsiteY139" fmla="*/ 154577 h 1520187"/>
                    <a:gd name="connsiteX140" fmla="*/ 423407 w 1984332"/>
                    <a:gd name="connsiteY140" fmla="*/ 40324 h 1520187"/>
                    <a:gd name="connsiteX141" fmla="*/ 504056 w 1984332"/>
                    <a:gd name="connsiteY141" fmla="*/ 73928 h 1520187"/>
                    <a:gd name="connsiteX142" fmla="*/ 537660 w 1984332"/>
                    <a:gd name="connsiteY142" fmla="*/ 154577 h 1520187"/>
                    <a:gd name="connsiteX143" fmla="*/ 470452 w 1984332"/>
                    <a:gd name="connsiteY143" fmla="*/ 262109 h 1520187"/>
                    <a:gd name="connsiteX144" fmla="*/ 457011 w 1984332"/>
                    <a:gd name="connsiteY144" fmla="*/ 282271 h 1520187"/>
                    <a:gd name="connsiteX145" fmla="*/ 457011 w 1984332"/>
                    <a:gd name="connsiteY145" fmla="*/ 362919 h 1520187"/>
                    <a:gd name="connsiteX146" fmla="*/ 477173 w 1984332"/>
                    <a:gd name="connsiteY146" fmla="*/ 383082 h 1520187"/>
                    <a:gd name="connsiteX147" fmla="*/ 477173 w 1984332"/>
                    <a:gd name="connsiteY147" fmla="*/ 383082 h 1520187"/>
                    <a:gd name="connsiteX148" fmla="*/ 806490 w 1984332"/>
                    <a:gd name="connsiteY148" fmla="*/ 383082 h 1520187"/>
                    <a:gd name="connsiteX149" fmla="*/ 806490 w 1984332"/>
                    <a:gd name="connsiteY149" fmla="*/ 631749 h 1520187"/>
                    <a:gd name="connsiteX150" fmla="*/ 806490 w 1984332"/>
                    <a:gd name="connsiteY150" fmla="*/ 685515 h 1520187"/>
                    <a:gd name="connsiteX151" fmla="*/ 766165 w 1984332"/>
                    <a:gd name="connsiteY151" fmla="*/ 685515 h 1520187"/>
                    <a:gd name="connsiteX152" fmla="*/ 631750 w 1984332"/>
                    <a:gd name="connsiteY152" fmla="*/ 604866 h 1520187"/>
                    <a:gd name="connsiteX153" fmla="*/ 631750 w 1984332"/>
                    <a:gd name="connsiteY153" fmla="*/ 604866 h 1520187"/>
                    <a:gd name="connsiteX154" fmla="*/ 517497 w 1984332"/>
                    <a:gd name="connsiteY154" fmla="*/ 651911 h 1520187"/>
                    <a:gd name="connsiteX155" fmla="*/ 470452 w 1984332"/>
                    <a:gd name="connsiteY155" fmla="*/ 759443 h 1520187"/>
                    <a:gd name="connsiteX156" fmla="*/ 517497 w 1984332"/>
                    <a:gd name="connsiteY156" fmla="*/ 866974 h 1520187"/>
                    <a:gd name="connsiteX157" fmla="*/ 625029 w 1984332"/>
                    <a:gd name="connsiteY157" fmla="*/ 914019 h 1520187"/>
                    <a:gd name="connsiteX158" fmla="*/ 625029 w 1984332"/>
                    <a:gd name="connsiteY158" fmla="*/ 914019 h 1520187"/>
                    <a:gd name="connsiteX159" fmla="*/ 766165 w 1984332"/>
                    <a:gd name="connsiteY159" fmla="*/ 826650 h 1520187"/>
                    <a:gd name="connsiteX160" fmla="*/ 799769 w 1984332"/>
                    <a:gd name="connsiteY160" fmla="*/ 826650 h 1520187"/>
                    <a:gd name="connsiteX161" fmla="*/ 799769 w 1984332"/>
                    <a:gd name="connsiteY161" fmla="*/ 1135803 h 1520187"/>
                    <a:gd name="connsiteX162" fmla="*/ 483894 w 1984332"/>
                    <a:gd name="connsiteY162" fmla="*/ 1142524 h 1520187"/>
                    <a:gd name="connsiteX163" fmla="*/ 1915413 w 1984332"/>
                    <a:gd name="connsiteY163" fmla="*/ 840091 h 1520187"/>
                    <a:gd name="connsiteX164" fmla="*/ 1834764 w 1984332"/>
                    <a:gd name="connsiteY164" fmla="*/ 873695 h 1520187"/>
                    <a:gd name="connsiteX165" fmla="*/ 1834764 w 1984332"/>
                    <a:gd name="connsiteY165" fmla="*/ 873695 h 1520187"/>
                    <a:gd name="connsiteX166" fmla="*/ 1733953 w 1984332"/>
                    <a:gd name="connsiteY166" fmla="*/ 806488 h 1520187"/>
                    <a:gd name="connsiteX167" fmla="*/ 1713790 w 1984332"/>
                    <a:gd name="connsiteY167" fmla="*/ 793046 h 1520187"/>
                    <a:gd name="connsiteX168" fmla="*/ 1713790 w 1984332"/>
                    <a:gd name="connsiteY168" fmla="*/ 793046 h 1520187"/>
                    <a:gd name="connsiteX169" fmla="*/ 1633141 w 1984332"/>
                    <a:gd name="connsiteY169" fmla="*/ 793046 h 1520187"/>
                    <a:gd name="connsiteX170" fmla="*/ 1612979 w 1984332"/>
                    <a:gd name="connsiteY170" fmla="*/ 813208 h 1520187"/>
                    <a:gd name="connsiteX171" fmla="*/ 1612979 w 1984332"/>
                    <a:gd name="connsiteY171" fmla="*/ 1142524 h 1520187"/>
                    <a:gd name="connsiteX172" fmla="*/ 1310546 w 1984332"/>
                    <a:gd name="connsiteY172" fmla="*/ 1142524 h 1520187"/>
                    <a:gd name="connsiteX173" fmla="*/ 1310546 w 1984332"/>
                    <a:gd name="connsiteY173" fmla="*/ 1102200 h 1520187"/>
                    <a:gd name="connsiteX174" fmla="*/ 1384474 w 1984332"/>
                    <a:gd name="connsiteY174" fmla="*/ 967785 h 1520187"/>
                    <a:gd name="connsiteX175" fmla="*/ 1337429 w 1984332"/>
                    <a:gd name="connsiteY175" fmla="*/ 860254 h 1520187"/>
                    <a:gd name="connsiteX176" fmla="*/ 1229897 w 1984332"/>
                    <a:gd name="connsiteY176" fmla="*/ 813208 h 1520187"/>
                    <a:gd name="connsiteX177" fmla="*/ 1229897 w 1984332"/>
                    <a:gd name="connsiteY177" fmla="*/ 813208 h 1520187"/>
                    <a:gd name="connsiteX178" fmla="*/ 1122365 w 1984332"/>
                    <a:gd name="connsiteY178" fmla="*/ 860254 h 1520187"/>
                    <a:gd name="connsiteX179" fmla="*/ 1075320 w 1984332"/>
                    <a:gd name="connsiteY179" fmla="*/ 967785 h 1520187"/>
                    <a:gd name="connsiteX180" fmla="*/ 1162689 w 1984332"/>
                    <a:gd name="connsiteY180" fmla="*/ 1108921 h 1520187"/>
                    <a:gd name="connsiteX181" fmla="*/ 1162689 w 1984332"/>
                    <a:gd name="connsiteY181" fmla="*/ 1142524 h 1520187"/>
                    <a:gd name="connsiteX182" fmla="*/ 853535 w 1984332"/>
                    <a:gd name="connsiteY182" fmla="*/ 1142524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19929 h 1520187"/>
                    <a:gd name="connsiteX185" fmla="*/ 853535 w 1984332"/>
                    <a:gd name="connsiteY185" fmla="*/ 806488 h 1520187"/>
                    <a:gd name="connsiteX186" fmla="*/ 846814 w 1984332"/>
                    <a:gd name="connsiteY186" fmla="*/ 793046 h 1520187"/>
                    <a:gd name="connsiteX187" fmla="*/ 833373 w 1984332"/>
                    <a:gd name="connsiteY187" fmla="*/ 786325 h 1520187"/>
                    <a:gd name="connsiteX188" fmla="*/ 833373 w 1984332"/>
                    <a:gd name="connsiteY188" fmla="*/ 786325 h 1520187"/>
                    <a:gd name="connsiteX189" fmla="*/ 759444 w 1984332"/>
                    <a:gd name="connsiteY189" fmla="*/ 786325 h 1520187"/>
                    <a:gd name="connsiteX190" fmla="*/ 739282 w 1984332"/>
                    <a:gd name="connsiteY190" fmla="*/ 799767 h 1520187"/>
                    <a:gd name="connsiteX191" fmla="*/ 631750 w 1984332"/>
                    <a:gd name="connsiteY191" fmla="*/ 873695 h 1520187"/>
                    <a:gd name="connsiteX192" fmla="*/ 631750 w 1984332"/>
                    <a:gd name="connsiteY192" fmla="*/ 873695 h 1520187"/>
                    <a:gd name="connsiteX193" fmla="*/ 551101 w 1984332"/>
                    <a:gd name="connsiteY193" fmla="*/ 840091 h 1520187"/>
                    <a:gd name="connsiteX194" fmla="*/ 517497 w 1984332"/>
                    <a:gd name="connsiteY194" fmla="*/ 759443 h 1520187"/>
                    <a:gd name="connsiteX195" fmla="*/ 551101 w 1984332"/>
                    <a:gd name="connsiteY195" fmla="*/ 678794 h 1520187"/>
                    <a:gd name="connsiteX196" fmla="*/ 631750 w 1984332"/>
                    <a:gd name="connsiteY196" fmla="*/ 645190 h 1520187"/>
                    <a:gd name="connsiteX197" fmla="*/ 631750 w 1984332"/>
                    <a:gd name="connsiteY197" fmla="*/ 645190 h 1520187"/>
                    <a:gd name="connsiteX198" fmla="*/ 732561 w 1984332"/>
                    <a:gd name="connsiteY198" fmla="*/ 712397 h 1520187"/>
                    <a:gd name="connsiteX199" fmla="*/ 752724 w 1984332"/>
                    <a:gd name="connsiteY199" fmla="*/ 725839 h 1520187"/>
                    <a:gd name="connsiteX200" fmla="*/ 752724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26652 w 1984332"/>
                    <a:gd name="connsiteY202" fmla="*/ 725839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0093 w 1984332"/>
                    <a:gd name="connsiteY205" fmla="*/ 719118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705677 h 1520187"/>
                    <a:gd name="connsiteX210" fmla="*/ 846814 w 1984332"/>
                    <a:gd name="connsiteY210" fmla="*/ 383082 h 1520187"/>
                    <a:gd name="connsiteX211" fmla="*/ 1155969 w 1984332"/>
                    <a:gd name="connsiteY211" fmla="*/ 383082 h 1520187"/>
                    <a:gd name="connsiteX212" fmla="*/ 1155969 w 1984332"/>
                    <a:gd name="connsiteY212" fmla="*/ 423406 h 1520187"/>
                    <a:gd name="connsiteX213" fmla="*/ 1084846 w 1984332"/>
                    <a:gd name="connsiteY213" fmla="*/ 555440 h 1520187"/>
                    <a:gd name="connsiteX214" fmla="*/ 1139409 w 1984332"/>
                    <a:gd name="connsiteY214" fmla="*/ 664773 h 1520187"/>
                    <a:gd name="connsiteX215" fmla="*/ 1241803 w 1984332"/>
                    <a:gd name="connsiteY215" fmla="*/ 712400 h 1520187"/>
                    <a:gd name="connsiteX216" fmla="*/ 1354098 w 1984332"/>
                    <a:gd name="connsiteY216" fmla="*/ 670115 h 1520187"/>
                    <a:gd name="connsiteX217" fmla="*/ 1396380 w 1984332"/>
                    <a:gd name="connsiteY217" fmla="*/ 553058 h 1520187"/>
                    <a:gd name="connsiteX218" fmla="*/ 1310546 w 1984332"/>
                    <a:gd name="connsiteY218" fmla="*/ 423406 h 1520187"/>
                    <a:gd name="connsiteX219" fmla="*/ 1310546 w 1984332"/>
                    <a:gd name="connsiteY219" fmla="*/ 376361 h 1520187"/>
                    <a:gd name="connsiteX220" fmla="*/ 1612979 w 1984332"/>
                    <a:gd name="connsiteY220" fmla="*/ 376361 h 1520187"/>
                    <a:gd name="connsiteX221" fmla="*/ 1612979 w 1984332"/>
                    <a:gd name="connsiteY221" fmla="*/ 705677 h 1520187"/>
                    <a:gd name="connsiteX222" fmla="*/ 1633141 w 1984332"/>
                    <a:gd name="connsiteY222" fmla="*/ 725839 h 1520187"/>
                    <a:gd name="connsiteX223" fmla="*/ 1633141 w 1984332"/>
                    <a:gd name="connsiteY223" fmla="*/ 725839 h 1520187"/>
                    <a:gd name="connsiteX224" fmla="*/ 1713790 w 1984332"/>
                    <a:gd name="connsiteY224" fmla="*/ 725839 h 1520187"/>
                    <a:gd name="connsiteX225" fmla="*/ 1733953 w 1984332"/>
                    <a:gd name="connsiteY225" fmla="*/ 712397 h 1520187"/>
                    <a:gd name="connsiteX226" fmla="*/ 1834764 w 1984332"/>
                    <a:gd name="connsiteY226" fmla="*/ 645190 h 1520187"/>
                    <a:gd name="connsiteX227" fmla="*/ 1834764 w 1984332"/>
                    <a:gd name="connsiteY227" fmla="*/ 645190 h 1520187"/>
                    <a:gd name="connsiteX228" fmla="*/ 1915413 w 1984332"/>
                    <a:gd name="connsiteY228" fmla="*/ 678794 h 1520187"/>
                    <a:gd name="connsiteX229" fmla="*/ 1949017 w 1984332"/>
                    <a:gd name="connsiteY229" fmla="*/ 759443 h 1520187"/>
                    <a:gd name="connsiteX230" fmla="*/ 1915413 w 1984332"/>
                    <a:gd name="connsiteY230" fmla="*/ 840091 h 1520187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81282 w 1984332"/>
                    <a:gd name="connsiteY13" fmla="*/ 442456 h 1520187"/>
                    <a:gd name="connsiteX14" fmla="*/ 1294723 w 1984332"/>
                    <a:gd name="connsiteY14" fmla="*/ 450289 h 1520187"/>
                    <a:gd name="connsiteX15" fmla="*/ 1357168 w 1984332"/>
                    <a:gd name="connsiteY15" fmla="*/ 551100 h 1520187"/>
                    <a:gd name="connsiteX16" fmla="*/ 1330708 w 1984332"/>
                    <a:gd name="connsiteY16" fmla="*/ 631749 h 1520187"/>
                    <a:gd name="connsiteX17" fmla="*/ 1250059 w 1984332"/>
                    <a:gd name="connsiteY17" fmla="*/ 665352 h 1520187"/>
                    <a:gd name="connsiteX18" fmla="*/ 1135806 w 1984332"/>
                    <a:gd name="connsiteY18" fmla="*/ 551100 h 1520187"/>
                    <a:gd name="connsiteX19" fmla="*/ 1209734 w 1984332"/>
                    <a:gd name="connsiteY19" fmla="*/ 443568 h 1520187"/>
                    <a:gd name="connsiteX20" fmla="*/ 1223176 w 1984332"/>
                    <a:gd name="connsiteY20" fmla="*/ 423406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223176 w 1984332"/>
                    <a:gd name="connsiteY23" fmla="*/ 349478 h 1520187"/>
                    <a:gd name="connsiteX24" fmla="*/ 1182852 w 1984332"/>
                    <a:gd name="connsiteY24" fmla="*/ 336037 h 1520187"/>
                    <a:gd name="connsiteX25" fmla="*/ 11828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826652 w 1984332"/>
                    <a:gd name="connsiteY28" fmla="*/ 336037 h 1520187"/>
                    <a:gd name="connsiteX29" fmla="*/ 497335 w 1984332"/>
                    <a:gd name="connsiteY29" fmla="*/ 336037 h 1520187"/>
                    <a:gd name="connsiteX30" fmla="*/ 497335 w 1984332"/>
                    <a:gd name="connsiteY30" fmla="*/ 295712 h 1520187"/>
                    <a:gd name="connsiteX31" fmla="*/ 584705 w 1984332"/>
                    <a:gd name="connsiteY31" fmla="*/ 154577 h 1520187"/>
                    <a:gd name="connsiteX32" fmla="*/ 537660 w 1984332"/>
                    <a:gd name="connsiteY32" fmla="*/ 47045 h 1520187"/>
                    <a:gd name="connsiteX33" fmla="*/ 423407 w 1984332"/>
                    <a:gd name="connsiteY33" fmla="*/ 0 h 1520187"/>
                    <a:gd name="connsiteX34" fmla="*/ 423407 w 1984332"/>
                    <a:gd name="connsiteY34" fmla="*/ 0 h 1520187"/>
                    <a:gd name="connsiteX35" fmla="*/ 268830 w 1984332"/>
                    <a:gd name="connsiteY35" fmla="*/ 154577 h 1520187"/>
                    <a:gd name="connsiteX36" fmla="*/ 349479 w 1984332"/>
                    <a:gd name="connsiteY36" fmla="*/ 288991 h 1520187"/>
                    <a:gd name="connsiteX37" fmla="*/ 349479 w 1984332"/>
                    <a:gd name="connsiteY37" fmla="*/ 329316 h 1520187"/>
                    <a:gd name="connsiteX38" fmla="*/ 20162 w 1984332"/>
                    <a:gd name="connsiteY38" fmla="*/ 336037 h 1520187"/>
                    <a:gd name="connsiteX39" fmla="*/ 0 w 1984332"/>
                    <a:gd name="connsiteY39" fmla="*/ 356199 h 1520187"/>
                    <a:gd name="connsiteX40" fmla="*/ 0 w 1984332"/>
                    <a:gd name="connsiteY40" fmla="*/ 698956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20162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94090 w 1984332"/>
                    <a:gd name="connsiteY46" fmla="*/ 719118 h 1520187"/>
                    <a:gd name="connsiteX47" fmla="*/ 120973 w 1984332"/>
                    <a:gd name="connsiteY47" fmla="*/ 705677 h 1520187"/>
                    <a:gd name="connsiteX48" fmla="*/ 221785 w 1984332"/>
                    <a:gd name="connsiteY48" fmla="*/ 638469 h 1520187"/>
                    <a:gd name="connsiteX49" fmla="*/ 221785 w 1984332"/>
                    <a:gd name="connsiteY49" fmla="*/ 638469 h 1520187"/>
                    <a:gd name="connsiteX50" fmla="*/ 336037 w 1984332"/>
                    <a:gd name="connsiteY50" fmla="*/ 752722 h 1520187"/>
                    <a:gd name="connsiteX51" fmla="*/ 221785 w 1984332"/>
                    <a:gd name="connsiteY51" fmla="*/ 873695 h 1520187"/>
                    <a:gd name="connsiteX52" fmla="*/ 221785 w 1984332"/>
                    <a:gd name="connsiteY52" fmla="*/ 873695 h 1520187"/>
                    <a:gd name="connsiteX53" fmla="*/ 114253 w 1984332"/>
                    <a:gd name="connsiteY53" fmla="*/ 799767 h 1520187"/>
                    <a:gd name="connsiteX54" fmla="*/ 94090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20162 w 1984332"/>
                    <a:gd name="connsiteY59" fmla="*/ 786325 h 1520187"/>
                    <a:gd name="connsiteX60" fmla="*/ 0 w 1984332"/>
                    <a:gd name="connsiteY60" fmla="*/ 806488 h 1520187"/>
                    <a:gd name="connsiteX61" fmla="*/ 0 w 1984332"/>
                    <a:gd name="connsiteY61" fmla="*/ 1162686 h 1520187"/>
                    <a:gd name="connsiteX62" fmla="*/ 20162 w 1984332"/>
                    <a:gd name="connsiteY62" fmla="*/ 1182849 h 1520187"/>
                    <a:gd name="connsiteX63" fmla="*/ 20162 w 1984332"/>
                    <a:gd name="connsiteY63" fmla="*/ 1182849 h 1520187"/>
                    <a:gd name="connsiteX64" fmla="*/ 356200 w 1984332"/>
                    <a:gd name="connsiteY64" fmla="*/ 1182849 h 1520187"/>
                    <a:gd name="connsiteX65" fmla="*/ 356200 w 1984332"/>
                    <a:gd name="connsiteY65" fmla="*/ 1223173 h 1520187"/>
                    <a:gd name="connsiteX66" fmla="*/ 268830 w 1984332"/>
                    <a:gd name="connsiteY66" fmla="*/ 1364308 h 1520187"/>
                    <a:gd name="connsiteX67" fmla="*/ 315875 w 1984332"/>
                    <a:gd name="connsiteY67" fmla="*/ 1471840 h 1520187"/>
                    <a:gd name="connsiteX68" fmla="*/ 423407 w 1984332"/>
                    <a:gd name="connsiteY68" fmla="*/ 1518885 h 1520187"/>
                    <a:gd name="connsiteX69" fmla="*/ 423407 w 1984332"/>
                    <a:gd name="connsiteY69" fmla="*/ 1518885 h 1520187"/>
                    <a:gd name="connsiteX70" fmla="*/ 537660 w 1984332"/>
                    <a:gd name="connsiteY70" fmla="*/ 1478561 h 1520187"/>
                    <a:gd name="connsiteX71" fmla="*/ 584705 w 1984332"/>
                    <a:gd name="connsiteY71" fmla="*/ 1371029 h 1520187"/>
                    <a:gd name="connsiteX72" fmla="*/ 510777 w 1984332"/>
                    <a:gd name="connsiteY72" fmla="*/ 1236614 h 1520187"/>
                    <a:gd name="connsiteX73" fmla="*/ 510777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833373 w 1984332"/>
                    <a:gd name="connsiteY76" fmla="*/ 1189569 h 1520187"/>
                    <a:gd name="connsiteX77" fmla="*/ 1189572 w 1984332"/>
                    <a:gd name="connsiteY77" fmla="*/ 1189569 h 1520187"/>
                    <a:gd name="connsiteX78" fmla="*/ 1203014 w 1984332"/>
                    <a:gd name="connsiteY78" fmla="*/ 1182849 h 1520187"/>
                    <a:gd name="connsiteX79" fmla="*/ 1209734 w 1984332"/>
                    <a:gd name="connsiteY79" fmla="*/ 1169407 h 1520187"/>
                    <a:gd name="connsiteX80" fmla="*/ 1209734 w 1984332"/>
                    <a:gd name="connsiteY80" fmla="*/ 1095479 h 1520187"/>
                    <a:gd name="connsiteX81" fmla="*/ 1196293 w 1984332"/>
                    <a:gd name="connsiteY81" fmla="*/ 1075317 h 1520187"/>
                    <a:gd name="connsiteX82" fmla="*/ 1122365 w 1984332"/>
                    <a:gd name="connsiteY82" fmla="*/ 967785 h 1520187"/>
                    <a:gd name="connsiteX83" fmla="*/ 1155969 w 1984332"/>
                    <a:gd name="connsiteY83" fmla="*/ 887136 h 1520187"/>
                    <a:gd name="connsiteX84" fmla="*/ 1236617 w 1984332"/>
                    <a:gd name="connsiteY84" fmla="*/ 853533 h 1520187"/>
                    <a:gd name="connsiteX85" fmla="*/ 1236617 w 1984332"/>
                    <a:gd name="connsiteY85" fmla="*/ 853533 h 1520187"/>
                    <a:gd name="connsiteX86" fmla="*/ 1317266 w 1984332"/>
                    <a:gd name="connsiteY86" fmla="*/ 887136 h 1520187"/>
                    <a:gd name="connsiteX87" fmla="*/ 1350870 w 1984332"/>
                    <a:gd name="connsiteY87" fmla="*/ 967785 h 1520187"/>
                    <a:gd name="connsiteX88" fmla="*/ 1283663 w 1984332"/>
                    <a:gd name="connsiteY88" fmla="*/ 1068596 h 1520187"/>
                    <a:gd name="connsiteX89" fmla="*/ 1270221 w 1984332"/>
                    <a:gd name="connsiteY89" fmla="*/ 1088758 h 1520187"/>
                    <a:gd name="connsiteX90" fmla="*/ 1270221 w 1984332"/>
                    <a:gd name="connsiteY90" fmla="*/ 1162686 h 1520187"/>
                    <a:gd name="connsiteX91" fmla="*/ 1276942 w 1984332"/>
                    <a:gd name="connsiteY91" fmla="*/ 1176128 h 1520187"/>
                    <a:gd name="connsiteX92" fmla="*/ 1290383 w 1984332"/>
                    <a:gd name="connsiteY92" fmla="*/ 1182849 h 1520187"/>
                    <a:gd name="connsiteX93" fmla="*/ 1290383 w 1984332"/>
                    <a:gd name="connsiteY93" fmla="*/ 1182849 h 1520187"/>
                    <a:gd name="connsiteX94" fmla="*/ 1633141 w 1984332"/>
                    <a:gd name="connsiteY94" fmla="*/ 1182849 h 1520187"/>
                    <a:gd name="connsiteX95" fmla="*/ 1653304 w 1984332"/>
                    <a:gd name="connsiteY95" fmla="*/ 1162686 h 1520187"/>
                    <a:gd name="connsiteX96" fmla="*/ 1653304 w 1984332"/>
                    <a:gd name="connsiteY96" fmla="*/ 833371 h 1520187"/>
                    <a:gd name="connsiteX97" fmla="*/ 1693628 w 1984332"/>
                    <a:gd name="connsiteY97" fmla="*/ 833371 h 1520187"/>
                    <a:gd name="connsiteX98" fmla="*/ 1828043 w 1984332"/>
                    <a:gd name="connsiteY98" fmla="*/ 914019 h 1520187"/>
                    <a:gd name="connsiteX99" fmla="*/ 1828043 w 1984332"/>
                    <a:gd name="connsiteY99" fmla="*/ 914019 h 1520187"/>
                    <a:gd name="connsiteX100" fmla="*/ 1935575 w 1984332"/>
                    <a:gd name="connsiteY100" fmla="*/ 866974 h 1520187"/>
                    <a:gd name="connsiteX101" fmla="*/ 1982620 w 1984332"/>
                    <a:gd name="connsiteY101" fmla="*/ 759443 h 1520187"/>
                    <a:gd name="connsiteX102" fmla="*/ 1949017 w 1984332"/>
                    <a:gd name="connsiteY102" fmla="*/ 645190 h 1520187"/>
                    <a:gd name="connsiteX103" fmla="*/ 483894 w 1984332"/>
                    <a:gd name="connsiteY103" fmla="*/ 1142524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162686 h 1520187"/>
                    <a:gd name="connsiteX107" fmla="*/ 463732 w 1984332"/>
                    <a:gd name="connsiteY107" fmla="*/ 1236614 h 1520187"/>
                    <a:gd name="connsiteX108" fmla="*/ 463732 w 1984332"/>
                    <a:gd name="connsiteY108" fmla="*/ 1236614 h 1520187"/>
                    <a:gd name="connsiteX109" fmla="*/ 477173 w 1984332"/>
                    <a:gd name="connsiteY109" fmla="*/ 1263497 h 1520187"/>
                    <a:gd name="connsiteX110" fmla="*/ 544381 w 1984332"/>
                    <a:gd name="connsiteY110" fmla="*/ 1364308 h 1520187"/>
                    <a:gd name="connsiteX111" fmla="*/ 510777 w 1984332"/>
                    <a:gd name="connsiteY111" fmla="*/ 1444957 h 1520187"/>
                    <a:gd name="connsiteX112" fmla="*/ 423407 w 1984332"/>
                    <a:gd name="connsiteY112" fmla="*/ 1478561 h 1520187"/>
                    <a:gd name="connsiteX113" fmla="*/ 423407 w 1984332"/>
                    <a:gd name="connsiteY113" fmla="*/ 1478561 h 1520187"/>
                    <a:gd name="connsiteX114" fmla="*/ 342758 w 1984332"/>
                    <a:gd name="connsiteY114" fmla="*/ 1444957 h 1520187"/>
                    <a:gd name="connsiteX115" fmla="*/ 309154 w 1984332"/>
                    <a:gd name="connsiteY115" fmla="*/ 1364308 h 1520187"/>
                    <a:gd name="connsiteX116" fmla="*/ 383083 w 1984332"/>
                    <a:gd name="connsiteY116" fmla="*/ 1256777 h 1520187"/>
                    <a:gd name="connsiteX117" fmla="*/ 396524 w 1984332"/>
                    <a:gd name="connsiteY117" fmla="*/ 1236614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96524 w 1984332"/>
                    <a:gd name="connsiteY120" fmla="*/ 1162686 h 1520187"/>
                    <a:gd name="connsiteX121" fmla="*/ 376362 w 1984332"/>
                    <a:gd name="connsiteY121" fmla="*/ 1142524 h 1520187"/>
                    <a:gd name="connsiteX122" fmla="*/ 376362 w 1984332"/>
                    <a:gd name="connsiteY122" fmla="*/ 1142524 h 1520187"/>
                    <a:gd name="connsiteX123" fmla="*/ 40324 w 1984332"/>
                    <a:gd name="connsiteY123" fmla="*/ 1142524 h 1520187"/>
                    <a:gd name="connsiteX124" fmla="*/ 40324 w 1984332"/>
                    <a:gd name="connsiteY124" fmla="*/ 833371 h 1520187"/>
                    <a:gd name="connsiteX125" fmla="*/ 80649 w 1984332"/>
                    <a:gd name="connsiteY125" fmla="*/ 833371 h 1520187"/>
                    <a:gd name="connsiteX126" fmla="*/ 221785 w 1984332"/>
                    <a:gd name="connsiteY126" fmla="*/ 920740 h 1520187"/>
                    <a:gd name="connsiteX127" fmla="*/ 221785 w 1984332"/>
                    <a:gd name="connsiteY127" fmla="*/ 920740 h 1520187"/>
                    <a:gd name="connsiteX128" fmla="*/ 376362 w 1984332"/>
                    <a:gd name="connsiteY128" fmla="*/ 766163 h 1520187"/>
                    <a:gd name="connsiteX129" fmla="*/ 221785 w 1984332"/>
                    <a:gd name="connsiteY129" fmla="*/ 604866 h 1520187"/>
                    <a:gd name="connsiteX130" fmla="*/ 221785 w 1984332"/>
                    <a:gd name="connsiteY130" fmla="*/ 604866 h 1520187"/>
                    <a:gd name="connsiteX131" fmla="*/ 87370 w 1984332"/>
                    <a:gd name="connsiteY131" fmla="*/ 678794 h 1520187"/>
                    <a:gd name="connsiteX132" fmla="*/ 40324 w 1984332"/>
                    <a:gd name="connsiteY132" fmla="*/ 678794 h 1520187"/>
                    <a:gd name="connsiteX133" fmla="*/ 40324 w 1984332"/>
                    <a:gd name="connsiteY133" fmla="*/ 376361 h 1520187"/>
                    <a:gd name="connsiteX134" fmla="*/ 369641 w 1984332"/>
                    <a:gd name="connsiteY134" fmla="*/ 376361 h 1520187"/>
                    <a:gd name="connsiteX135" fmla="*/ 383083 w 1984332"/>
                    <a:gd name="connsiteY135" fmla="*/ 369640 h 1520187"/>
                    <a:gd name="connsiteX136" fmla="*/ 389803 w 1984332"/>
                    <a:gd name="connsiteY136" fmla="*/ 356199 h 1520187"/>
                    <a:gd name="connsiteX137" fmla="*/ 389803 w 1984332"/>
                    <a:gd name="connsiteY137" fmla="*/ 275550 h 1520187"/>
                    <a:gd name="connsiteX138" fmla="*/ 376362 w 1984332"/>
                    <a:gd name="connsiteY138" fmla="*/ 255388 h 1520187"/>
                    <a:gd name="connsiteX139" fmla="*/ 309154 w 1984332"/>
                    <a:gd name="connsiteY139" fmla="*/ 154577 h 1520187"/>
                    <a:gd name="connsiteX140" fmla="*/ 423407 w 1984332"/>
                    <a:gd name="connsiteY140" fmla="*/ 40324 h 1520187"/>
                    <a:gd name="connsiteX141" fmla="*/ 504056 w 1984332"/>
                    <a:gd name="connsiteY141" fmla="*/ 73928 h 1520187"/>
                    <a:gd name="connsiteX142" fmla="*/ 537660 w 1984332"/>
                    <a:gd name="connsiteY142" fmla="*/ 154577 h 1520187"/>
                    <a:gd name="connsiteX143" fmla="*/ 470452 w 1984332"/>
                    <a:gd name="connsiteY143" fmla="*/ 262109 h 1520187"/>
                    <a:gd name="connsiteX144" fmla="*/ 457011 w 1984332"/>
                    <a:gd name="connsiteY144" fmla="*/ 282271 h 1520187"/>
                    <a:gd name="connsiteX145" fmla="*/ 457011 w 1984332"/>
                    <a:gd name="connsiteY145" fmla="*/ 362919 h 1520187"/>
                    <a:gd name="connsiteX146" fmla="*/ 477173 w 1984332"/>
                    <a:gd name="connsiteY146" fmla="*/ 383082 h 1520187"/>
                    <a:gd name="connsiteX147" fmla="*/ 477173 w 1984332"/>
                    <a:gd name="connsiteY147" fmla="*/ 383082 h 1520187"/>
                    <a:gd name="connsiteX148" fmla="*/ 806490 w 1984332"/>
                    <a:gd name="connsiteY148" fmla="*/ 383082 h 1520187"/>
                    <a:gd name="connsiteX149" fmla="*/ 806490 w 1984332"/>
                    <a:gd name="connsiteY149" fmla="*/ 631749 h 1520187"/>
                    <a:gd name="connsiteX150" fmla="*/ 806490 w 1984332"/>
                    <a:gd name="connsiteY150" fmla="*/ 685515 h 1520187"/>
                    <a:gd name="connsiteX151" fmla="*/ 766165 w 1984332"/>
                    <a:gd name="connsiteY151" fmla="*/ 685515 h 1520187"/>
                    <a:gd name="connsiteX152" fmla="*/ 631750 w 1984332"/>
                    <a:gd name="connsiteY152" fmla="*/ 604866 h 1520187"/>
                    <a:gd name="connsiteX153" fmla="*/ 631750 w 1984332"/>
                    <a:gd name="connsiteY153" fmla="*/ 604866 h 1520187"/>
                    <a:gd name="connsiteX154" fmla="*/ 517497 w 1984332"/>
                    <a:gd name="connsiteY154" fmla="*/ 651911 h 1520187"/>
                    <a:gd name="connsiteX155" fmla="*/ 470452 w 1984332"/>
                    <a:gd name="connsiteY155" fmla="*/ 759443 h 1520187"/>
                    <a:gd name="connsiteX156" fmla="*/ 517497 w 1984332"/>
                    <a:gd name="connsiteY156" fmla="*/ 866974 h 1520187"/>
                    <a:gd name="connsiteX157" fmla="*/ 625029 w 1984332"/>
                    <a:gd name="connsiteY157" fmla="*/ 914019 h 1520187"/>
                    <a:gd name="connsiteX158" fmla="*/ 625029 w 1984332"/>
                    <a:gd name="connsiteY158" fmla="*/ 914019 h 1520187"/>
                    <a:gd name="connsiteX159" fmla="*/ 766165 w 1984332"/>
                    <a:gd name="connsiteY159" fmla="*/ 826650 h 1520187"/>
                    <a:gd name="connsiteX160" fmla="*/ 799769 w 1984332"/>
                    <a:gd name="connsiteY160" fmla="*/ 826650 h 1520187"/>
                    <a:gd name="connsiteX161" fmla="*/ 799769 w 1984332"/>
                    <a:gd name="connsiteY161" fmla="*/ 1135803 h 1520187"/>
                    <a:gd name="connsiteX162" fmla="*/ 483894 w 1984332"/>
                    <a:gd name="connsiteY162" fmla="*/ 1142524 h 1520187"/>
                    <a:gd name="connsiteX163" fmla="*/ 1915413 w 1984332"/>
                    <a:gd name="connsiteY163" fmla="*/ 840091 h 1520187"/>
                    <a:gd name="connsiteX164" fmla="*/ 1834764 w 1984332"/>
                    <a:gd name="connsiteY164" fmla="*/ 873695 h 1520187"/>
                    <a:gd name="connsiteX165" fmla="*/ 1834764 w 1984332"/>
                    <a:gd name="connsiteY165" fmla="*/ 873695 h 1520187"/>
                    <a:gd name="connsiteX166" fmla="*/ 1733953 w 1984332"/>
                    <a:gd name="connsiteY166" fmla="*/ 806488 h 1520187"/>
                    <a:gd name="connsiteX167" fmla="*/ 1713790 w 1984332"/>
                    <a:gd name="connsiteY167" fmla="*/ 793046 h 1520187"/>
                    <a:gd name="connsiteX168" fmla="*/ 1713790 w 1984332"/>
                    <a:gd name="connsiteY168" fmla="*/ 793046 h 1520187"/>
                    <a:gd name="connsiteX169" fmla="*/ 1633141 w 1984332"/>
                    <a:gd name="connsiteY169" fmla="*/ 793046 h 1520187"/>
                    <a:gd name="connsiteX170" fmla="*/ 1612979 w 1984332"/>
                    <a:gd name="connsiteY170" fmla="*/ 813208 h 1520187"/>
                    <a:gd name="connsiteX171" fmla="*/ 1612979 w 1984332"/>
                    <a:gd name="connsiteY171" fmla="*/ 1142524 h 1520187"/>
                    <a:gd name="connsiteX172" fmla="*/ 1310546 w 1984332"/>
                    <a:gd name="connsiteY172" fmla="*/ 1142524 h 1520187"/>
                    <a:gd name="connsiteX173" fmla="*/ 1310546 w 1984332"/>
                    <a:gd name="connsiteY173" fmla="*/ 1102200 h 1520187"/>
                    <a:gd name="connsiteX174" fmla="*/ 1384474 w 1984332"/>
                    <a:gd name="connsiteY174" fmla="*/ 967785 h 1520187"/>
                    <a:gd name="connsiteX175" fmla="*/ 1337429 w 1984332"/>
                    <a:gd name="connsiteY175" fmla="*/ 860254 h 1520187"/>
                    <a:gd name="connsiteX176" fmla="*/ 1229897 w 1984332"/>
                    <a:gd name="connsiteY176" fmla="*/ 813208 h 1520187"/>
                    <a:gd name="connsiteX177" fmla="*/ 1229897 w 1984332"/>
                    <a:gd name="connsiteY177" fmla="*/ 813208 h 1520187"/>
                    <a:gd name="connsiteX178" fmla="*/ 1122365 w 1984332"/>
                    <a:gd name="connsiteY178" fmla="*/ 860254 h 1520187"/>
                    <a:gd name="connsiteX179" fmla="*/ 1075320 w 1984332"/>
                    <a:gd name="connsiteY179" fmla="*/ 967785 h 1520187"/>
                    <a:gd name="connsiteX180" fmla="*/ 1162689 w 1984332"/>
                    <a:gd name="connsiteY180" fmla="*/ 1108921 h 1520187"/>
                    <a:gd name="connsiteX181" fmla="*/ 1162689 w 1984332"/>
                    <a:gd name="connsiteY181" fmla="*/ 1142524 h 1520187"/>
                    <a:gd name="connsiteX182" fmla="*/ 853535 w 1984332"/>
                    <a:gd name="connsiteY182" fmla="*/ 1142524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19929 h 1520187"/>
                    <a:gd name="connsiteX185" fmla="*/ 853535 w 1984332"/>
                    <a:gd name="connsiteY185" fmla="*/ 806488 h 1520187"/>
                    <a:gd name="connsiteX186" fmla="*/ 846814 w 1984332"/>
                    <a:gd name="connsiteY186" fmla="*/ 793046 h 1520187"/>
                    <a:gd name="connsiteX187" fmla="*/ 833373 w 1984332"/>
                    <a:gd name="connsiteY187" fmla="*/ 786325 h 1520187"/>
                    <a:gd name="connsiteX188" fmla="*/ 833373 w 1984332"/>
                    <a:gd name="connsiteY188" fmla="*/ 786325 h 1520187"/>
                    <a:gd name="connsiteX189" fmla="*/ 759444 w 1984332"/>
                    <a:gd name="connsiteY189" fmla="*/ 786325 h 1520187"/>
                    <a:gd name="connsiteX190" fmla="*/ 739282 w 1984332"/>
                    <a:gd name="connsiteY190" fmla="*/ 799767 h 1520187"/>
                    <a:gd name="connsiteX191" fmla="*/ 631750 w 1984332"/>
                    <a:gd name="connsiteY191" fmla="*/ 873695 h 1520187"/>
                    <a:gd name="connsiteX192" fmla="*/ 631750 w 1984332"/>
                    <a:gd name="connsiteY192" fmla="*/ 873695 h 1520187"/>
                    <a:gd name="connsiteX193" fmla="*/ 551101 w 1984332"/>
                    <a:gd name="connsiteY193" fmla="*/ 840091 h 1520187"/>
                    <a:gd name="connsiteX194" fmla="*/ 517497 w 1984332"/>
                    <a:gd name="connsiteY194" fmla="*/ 759443 h 1520187"/>
                    <a:gd name="connsiteX195" fmla="*/ 551101 w 1984332"/>
                    <a:gd name="connsiteY195" fmla="*/ 678794 h 1520187"/>
                    <a:gd name="connsiteX196" fmla="*/ 631750 w 1984332"/>
                    <a:gd name="connsiteY196" fmla="*/ 645190 h 1520187"/>
                    <a:gd name="connsiteX197" fmla="*/ 631750 w 1984332"/>
                    <a:gd name="connsiteY197" fmla="*/ 645190 h 1520187"/>
                    <a:gd name="connsiteX198" fmla="*/ 732561 w 1984332"/>
                    <a:gd name="connsiteY198" fmla="*/ 712397 h 1520187"/>
                    <a:gd name="connsiteX199" fmla="*/ 752724 w 1984332"/>
                    <a:gd name="connsiteY199" fmla="*/ 725839 h 1520187"/>
                    <a:gd name="connsiteX200" fmla="*/ 752724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26652 w 1984332"/>
                    <a:gd name="connsiteY202" fmla="*/ 725839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0093 w 1984332"/>
                    <a:gd name="connsiteY205" fmla="*/ 719118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705677 h 1520187"/>
                    <a:gd name="connsiteX210" fmla="*/ 846814 w 1984332"/>
                    <a:gd name="connsiteY210" fmla="*/ 383082 h 1520187"/>
                    <a:gd name="connsiteX211" fmla="*/ 1155969 w 1984332"/>
                    <a:gd name="connsiteY211" fmla="*/ 383082 h 1520187"/>
                    <a:gd name="connsiteX212" fmla="*/ 1155969 w 1984332"/>
                    <a:gd name="connsiteY212" fmla="*/ 423406 h 1520187"/>
                    <a:gd name="connsiteX213" fmla="*/ 1084846 w 1984332"/>
                    <a:gd name="connsiteY213" fmla="*/ 555440 h 1520187"/>
                    <a:gd name="connsiteX214" fmla="*/ 1139409 w 1984332"/>
                    <a:gd name="connsiteY214" fmla="*/ 664773 h 1520187"/>
                    <a:gd name="connsiteX215" fmla="*/ 1241803 w 1984332"/>
                    <a:gd name="connsiteY215" fmla="*/ 712400 h 1520187"/>
                    <a:gd name="connsiteX216" fmla="*/ 1354098 w 1984332"/>
                    <a:gd name="connsiteY216" fmla="*/ 670115 h 1520187"/>
                    <a:gd name="connsiteX217" fmla="*/ 1396380 w 1984332"/>
                    <a:gd name="connsiteY217" fmla="*/ 553058 h 1520187"/>
                    <a:gd name="connsiteX218" fmla="*/ 1310546 w 1984332"/>
                    <a:gd name="connsiteY218" fmla="*/ 423406 h 1520187"/>
                    <a:gd name="connsiteX219" fmla="*/ 1310546 w 1984332"/>
                    <a:gd name="connsiteY219" fmla="*/ 376361 h 1520187"/>
                    <a:gd name="connsiteX220" fmla="*/ 1612979 w 1984332"/>
                    <a:gd name="connsiteY220" fmla="*/ 376361 h 1520187"/>
                    <a:gd name="connsiteX221" fmla="*/ 1612979 w 1984332"/>
                    <a:gd name="connsiteY221" fmla="*/ 705677 h 1520187"/>
                    <a:gd name="connsiteX222" fmla="*/ 1633141 w 1984332"/>
                    <a:gd name="connsiteY222" fmla="*/ 725839 h 1520187"/>
                    <a:gd name="connsiteX223" fmla="*/ 1633141 w 1984332"/>
                    <a:gd name="connsiteY223" fmla="*/ 725839 h 1520187"/>
                    <a:gd name="connsiteX224" fmla="*/ 1713790 w 1984332"/>
                    <a:gd name="connsiteY224" fmla="*/ 725839 h 1520187"/>
                    <a:gd name="connsiteX225" fmla="*/ 1733953 w 1984332"/>
                    <a:gd name="connsiteY225" fmla="*/ 712397 h 1520187"/>
                    <a:gd name="connsiteX226" fmla="*/ 1834764 w 1984332"/>
                    <a:gd name="connsiteY226" fmla="*/ 645190 h 1520187"/>
                    <a:gd name="connsiteX227" fmla="*/ 1834764 w 1984332"/>
                    <a:gd name="connsiteY227" fmla="*/ 645190 h 1520187"/>
                    <a:gd name="connsiteX228" fmla="*/ 1915413 w 1984332"/>
                    <a:gd name="connsiteY228" fmla="*/ 678794 h 1520187"/>
                    <a:gd name="connsiteX229" fmla="*/ 1949017 w 1984332"/>
                    <a:gd name="connsiteY229" fmla="*/ 759443 h 1520187"/>
                    <a:gd name="connsiteX230" fmla="*/ 1915413 w 1984332"/>
                    <a:gd name="connsiteY230" fmla="*/ 840091 h 1520187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81282 w 1984332"/>
                    <a:gd name="connsiteY13" fmla="*/ 442456 h 1520187"/>
                    <a:gd name="connsiteX14" fmla="*/ 1309010 w 1984332"/>
                    <a:gd name="connsiteY14" fmla="*/ 471720 h 1520187"/>
                    <a:gd name="connsiteX15" fmla="*/ 1357168 w 1984332"/>
                    <a:gd name="connsiteY15" fmla="*/ 551100 h 1520187"/>
                    <a:gd name="connsiteX16" fmla="*/ 1330708 w 1984332"/>
                    <a:gd name="connsiteY16" fmla="*/ 631749 h 1520187"/>
                    <a:gd name="connsiteX17" fmla="*/ 1250059 w 1984332"/>
                    <a:gd name="connsiteY17" fmla="*/ 665352 h 1520187"/>
                    <a:gd name="connsiteX18" fmla="*/ 1135806 w 1984332"/>
                    <a:gd name="connsiteY18" fmla="*/ 551100 h 1520187"/>
                    <a:gd name="connsiteX19" fmla="*/ 1209734 w 1984332"/>
                    <a:gd name="connsiteY19" fmla="*/ 443568 h 1520187"/>
                    <a:gd name="connsiteX20" fmla="*/ 1223176 w 1984332"/>
                    <a:gd name="connsiteY20" fmla="*/ 423406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223176 w 1984332"/>
                    <a:gd name="connsiteY23" fmla="*/ 349478 h 1520187"/>
                    <a:gd name="connsiteX24" fmla="*/ 1182852 w 1984332"/>
                    <a:gd name="connsiteY24" fmla="*/ 336037 h 1520187"/>
                    <a:gd name="connsiteX25" fmla="*/ 11828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826652 w 1984332"/>
                    <a:gd name="connsiteY28" fmla="*/ 336037 h 1520187"/>
                    <a:gd name="connsiteX29" fmla="*/ 497335 w 1984332"/>
                    <a:gd name="connsiteY29" fmla="*/ 336037 h 1520187"/>
                    <a:gd name="connsiteX30" fmla="*/ 497335 w 1984332"/>
                    <a:gd name="connsiteY30" fmla="*/ 295712 h 1520187"/>
                    <a:gd name="connsiteX31" fmla="*/ 584705 w 1984332"/>
                    <a:gd name="connsiteY31" fmla="*/ 154577 h 1520187"/>
                    <a:gd name="connsiteX32" fmla="*/ 537660 w 1984332"/>
                    <a:gd name="connsiteY32" fmla="*/ 47045 h 1520187"/>
                    <a:gd name="connsiteX33" fmla="*/ 423407 w 1984332"/>
                    <a:gd name="connsiteY33" fmla="*/ 0 h 1520187"/>
                    <a:gd name="connsiteX34" fmla="*/ 423407 w 1984332"/>
                    <a:gd name="connsiteY34" fmla="*/ 0 h 1520187"/>
                    <a:gd name="connsiteX35" fmla="*/ 268830 w 1984332"/>
                    <a:gd name="connsiteY35" fmla="*/ 154577 h 1520187"/>
                    <a:gd name="connsiteX36" fmla="*/ 349479 w 1984332"/>
                    <a:gd name="connsiteY36" fmla="*/ 288991 h 1520187"/>
                    <a:gd name="connsiteX37" fmla="*/ 349479 w 1984332"/>
                    <a:gd name="connsiteY37" fmla="*/ 329316 h 1520187"/>
                    <a:gd name="connsiteX38" fmla="*/ 20162 w 1984332"/>
                    <a:gd name="connsiteY38" fmla="*/ 336037 h 1520187"/>
                    <a:gd name="connsiteX39" fmla="*/ 0 w 1984332"/>
                    <a:gd name="connsiteY39" fmla="*/ 356199 h 1520187"/>
                    <a:gd name="connsiteX40" fmla="*/ 0 w 1984332"/>
                    <a:gd name="connsiteY40" fmla="*/ 698956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20162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94090 w 1984332"/>
                    <a:gd name="connsiteY46" fmla="*/ 719118 h 1520187"/>
                    <a:gd name="connsiteX47" fmla="*/ 120973 w 1984332"/>
                    <a:gd name="connsiteY47" fmla="*/ 705677 h 1520187"/>
                    <a:gd name="connsiteX48" fmla="*/ 221785 w 1984332"/>
                    <a:gd name="connsiteY48" fmla="*/ 638469 h 1520187"/>
                    <a:gd name="connsiteX49" fmla="*/ 221785 w 1984332"/>
                    <a:gd name="connsiteY49" fmla="*/ 638469 h 1520187"/>
                    <a:gd name="connsiteX50" fmla="*/ 336037 w 1984332"/>
                    <a:gd name="connsiteY50" fmla="*/ 752722 h 1520187"/>
                    <a:gd name="connsiteX51" fmla="*/ 221785 w 1984332"/>
                    <a:gd name="connsiteY51" fmla="*/ 873695 h 1520187"/>
                    <a:gd name="connsiteX52" fmla="*/ 221785 w 1984332"/>
                    <a:gd name="connsiteY52" fmla="*/ 873695 h 1520187"/>
                    <a:gd name="connsiteX53" fmla="*/ 114253 w 1984332"/>
                    <a:gd name="connsiteY53" fmla="*/ 799767 h 1520187"/>
                    <a:gd name="connsiteX54" fmla="*/ 94090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20162 w 1984332"/>
                    <a:gd name="connsiteY59" fmla="*/ 786325 h 1520187"/>
                    <a:gd name="connsiteX60" fmla="*/ 0 w 1984332"/>
                    <a:gd name="connsiteY60" fmla="*/ 806488 h 1520187"/>
                    <a:gd name="connsiteX61" fmla="*/ 0 w 1984332"/>
                    <a:gd name="connsiteY61" fmla="*/ 1162686 h 1520187"/>
                    <a:gd name="connsiteX62" fmla="*/ 20162 w 1984332"/>
                    <a:gd name="connsiteY62" fmla="*/ 1182849 h 1520187"/>
                    <a:gd name="connsiteX63" fmla="*/ 20162 w 1984332"/>
                    <a:gd name="connsiteY63" fmla="*/ 1182849 h 1520187"/>
                    <a:gd name="connsiteX64" fmla="*/ 356200 w 1984332"/>
                    <a:gd name="connsiteY64" fmla="*/ 1182849 h 1520187"/>
                    <a:gd name="connsiteX65" fmla="*/ 356200 w 1984332"/>
                    <a:gd name="connsiteY65" fmla="*/ 1223173 h 1520187"/>
                    <a:gd name="connsiteX66" fmla="*/ 268830 w 1984332"/>
                    <a:gd name="connsiteY66" fmla="*/ 1364308 h 1520187"/>
                    <a:gd name="connsiteX67" fmla="*/ 315875 w 1984332"/>
                    <a:gd name="connsiteY67" fmla="*/ 1471840 h 1520187"/>
                    <a:gd name="connsiteX68" fmla="*/ 423407 w 1984332"/>
                    <a:gd name="connsiteY68" fmla="*/ 1518885 h 1520187"/>
                    <a:gd name="connsiteX69" fmla="*/ 423407 w 1984332"/>
                    <a:gd name="connsiteY69" fmla="*/ 1518885 h 1520187"/>
                    <a:gd name="connsiteX70" fmla="*/ 537660 w 1984332"/>
                    <a:gd name="connsiteY70" fmla="*/ 1478561 h 1520187"/>
                    <a:gd name="connsiteX71" fmla="*/ 584705 w 1984332"/>
                    <a:gd name="connsiteY71" fmla="*/ 1371029 h 1520187"/>
                    <a:gd name="connsiteX72" fmla="*/ 510777 w 1984332"/>
                    <a:gd name="connsiteY72" fmla="*/ 1236614 h 1520187"/>
                    <a:gd name="connsiteX73" fmla="*/ 510777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833373 w 1984332"/>
                    <a:gd name="connsiteY76" fmla="*/ 1189569 h 1520187"/>
                    <a:gd name="connsiteX77" fmla="*/ 1189572 w 1984332"/>
                    <a:gd name="connsiteY77" fmla="*/ 1189569 h 1520187"/>
                    <a:gd name="connsiteX78" fmla="*/ 1203014 w 1984332"/>
                    <a:gd name="connsiteY78" fmla="*/ 1182849 h 1520187"/>
                    <a:gd name="connsiteX79" fmla="*/ 1209734 w 1984332"/>
                    <a:gd name="connsiteY79" fmla="*/ 1169407 h 1520187"/>
                    <a:gd name="connsiteX80" fmla="*/ 1209734 w 1984332"/>
                    <a:gd name="connsiteY80" fmla="*/ 1095479 h 1520187"/>
                    <a:gd name="connsiteX81" fmla="*/ 1196293 w 1984332"/>
                    <a:gd name="connsiteY81" fmla="*/ 1075317 h 1520187"/>
                    <a:gd name="connsiteX82" fmla="*/ 1122365 w 1984332"/>
                    <a:gd name="connsiteY82" fmla="*/ 967785 h 1520187"/>
                    <a:gd name="connsiteX83" fmla="*/ 1155969 w 1984332"/>
                    <a:gd name="connsiteY83" fmla="*/ 887136 h 1520187"/>
                    <a:gd name="connsiteX84" fmla="*/ 1236617 w 1984332"/>
                    <a:gd name="connsiteY84" fmla="*/ 853533 h 1520187"/>
                    <a:gd name="connsiteX85" fmla="*/ 1236617 w 1984332"/>
                    <a:gd name="connsiteY85" fmla="*/ 853533 h 1520187"/>
                    <a:gd name="connsiteX86" fmla="*/ 1317266 w 1984332"/>
                    <a:gd name="connsiteY86" fmla="*/ 887136 h 1520187"/>
                    <a:gd name="connsiteX87" fmla="*/ 1350870 w 1984332"/>
                    <a:gd name="connsiteY87" fmla="*/ 967785 h 1520187"/>
                    <a:gd name="connsiteX88" fmla="*/ 1283663 w 1984332"/>
                    <a:gd name="connsiteY88" fmla="*/ 1068596 h 1520187"/>
                    <a:gd name="connsiteX89" fmla="*/ 1270221 w 1984332"/>
                    <a:gd name="connsiteY89" fmla="*/ 1088758 h 1520187"/>
                    <a:gd name="connsiteX90" fmla="*/ 1270221 w 1984332"/>
                    <a:gd name="connsiteY90" fmla="*/ 1162686 h 1520187"/>
                    <a:gd name="connsiteX91" fmla="*/ 1276942 w 1984332"/>
                    <a:gd name="connsiteY91" fmla="*/ 1176128 h 1520187"/>
                    <a:gd name="connsiteX92" fmla="*/ 1290383 w 1984332"/>
                    <a:gd name="connsiteY92" fmla="*/ 1182849 h 1520187"/>
                    <a:gd name="connsiteX93" fmla="*/ 1290383 w 1984332"/>
                    <a:gd name="connsiteY93" fmla="*/ 1182849 h 1520187"/>
                    <a:gd name="connsiteX94" fmla="*/ 1633141 w 1984332"/>
                    <a:gd name="connsiteY94" fmla="*/ 1182849 h 1520187"/>
                    <a:gd name="connsiteX95" fmla="*/ 1653304 w 1984332"/>
                    <a:gd name="connsiteY95" fmla="*/ 1162686 h 1520187"/>
                    <a:gd name="connsiteX96" fmla="*/ 1653304 w 1984332"/>
                    <a:gd name="connsiteY96" fmla="*/ 833371 h 1520187"/>
                    <a:gd name="connsiteX97" fmla="*/ 1693628 w 1984332"/>
                    <a:gd name="connsiteY97" fmla="*/ 833371 h 1520187"/>
                    <a:gd name="connsiteX98" fmla="*/ 1828043 w 1984332"/>
                    <a:gd name="connsiteY98" fmla="*/ 914019 h 1520187"/>
                    <a:gd name="connsiteX99" fmla="*/ 1828043 w 1984332"/>
                    <a:gd name="connsiteY99" fmla="*/ 914019 h 1520187"/>
                    <a:gd name="connsiteX100" fmla="*/ 1935575 w 1984332"/>
                    <a:gd name="connsiteY100" fmla="*/ 866974 h 1520187"/>
                    <a:gd name="connsiteX101" fmla="*/ 1982620 w 1984332"/>
                    <a:gd name="connsiteY101" fmla="*/ 759443 h 1520187"/>
                    <a:gd name="connsiteX102" fmla="*/ 1949017 w 1984332"/>
                    <a:gd name="connsiteY102" fmla="*/ 645190 h 1520187"/>
                    <a:gd name="connsiteX103" fmla="*/ 483894 w 1984332"/>
                    <a:gd name="connsiteY103" fmla="*/ 1142524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162686 h 1520187"/>
                    <a:gd name="connsiteX107" fmla="*/ 463732 w 1984332"/>
                    <a:gd name="connsiteY107" fmla="*/ 1236614 h 1520187"/>
                    <a:gd name="connsiteX108" fmla="*/ 463732 w 1984332"/>
                    <a:gd name="connsiteY108" fmla="*/ 1236614 h 1520187"/>
                    <a:gd name="connsiteX109" fmla="*/ 477173 w 1984332"/>
                    <a:gd name="connsiteY109" fmla="*/ 1263497 h 1520187"/>
                    <a:gd name="connsiteX110" fmla="*/ 544381 w 1984332"/>
                    <a:gd name="connsiteY110" fmla="*/ 1364308 h 1520187"/>
                    <a:gd name="connsiteX111" fmla="*/ 510777 w 1984332"/>
                    <a:gd name="connsiteY111" fmla="*/ 1444957 h 1520187"/>
                    <a:gd name="connsiteX112" fmla="*/ 423407 w 1984332"/>
                    <a:gd name="connsiteY112" fmla="*/ 1478561 h 1520187"/>
                    <a:gd name="connsiteX113" fmla="*/ 423407 w 1984332"/>
                    <a:gd name="connsiteY113" fmla="*/ 1478561 h 1520187"/>
                    <a:gd name="connsiteX114" fmla="*/ 342758 w 1984332"/>
                    <a:gd name="connsiteY114" fmla="*/ 1444957 h 1520187"/>
                    <a:gd name="connsiteX115" fmla="*/ 309154 w 1984332"/>
                    <a:gd name="connsiteY115" fmla="*/ 1364308 h 1520187"/>
                    <a:gd name="connsiteX116" fmla="*/ 383083 w 1984332"/>
                    <a:gd name="connsiteY116" fmla="*/ 1256777 h 1520187"/>
                    <a:gd name="connsiteX117" fmla="*/ 396524 w 1984332"/>
                    <a:gd name="connsiteY117" fmla="*/ 1236614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96524 w 1984332"/>
                    <a:gd name="connsiteY120" fmla="*/ 1162686 h 1520187"/>
                    <a:gd name="connsiteX121" fmla="*/ 376362 w 1984332"/>
                    <a:gd name="connsiteY121" fmla="*/ 1142524 h 1520187"/>
                    <a:gd name="connsiteX122" fmla="*/ 376362 w 1984332"/>
                    <a:gd name="connsiteY122" fmla="*/ 1142524 h 1520187"/>
                    <a:gd name="connsiteX123" fmla="*/ 40324 w 1984332"/>
                    <a:gd name="connsiteY123" fmla="*/ 1142524 h 1520187"/>
                    <a:gd name="connsiteX124" fmla="*/ 40324 w 1984332"/>
                    <a:gd name="connsiteY124" fmla="*/ 833371 h 1520187"/>
                    <a:gd name="connsiteX125" fmla="*/ 80649 w 1984332"/>
                    <a:gd name="connsiteY125" fmla="*/ 833371 h 1520187"/>
                    <a:gd name="connsiteX126" fmla="*/ 221785 w 1984332"/>
                    <a:gd name="connsiteY126" fmla="*/ 920740 h 1520187"/>
                    <a:gd name="connsiteX127" fmla="*/ 221785 w 1984332"/>
                    <a:gd name="connsiteY127" fmla="*/ 920740 h 1520187"/>
                    <a:gd name="connsiteX128" fmla="*/ 376362 w 1984332"/>
                    <a:gd name="connsiteY128" fmla="*/ 766163 h 1520187"/>
                    <a:gd name="connsiteX129" fmla="*/ 221785 w 1984332"/>
                    <a:gd name="connsiteY129" fmla="*/ 604866 h 1520187"/>
                    <a:gd name="connsiteX130" fmla="*/ 221785 w 1984332"/>
                    <a:gd name="connsiteY130" fmla="*/ 604866 h 1520187"/>
                    <a:gd name="connsiteX131" fmla="*/ 87370 w 1984332"/>
                    <a:gd name="connsiteY131" fmla="*/ 678794 h 1520187"/>
                    <a:gd name="connsiteX132" fmla="*/ 40324 w 1984332"/>
                    <a:gd name="connsiteY132" fmla="*/ 678794 h 1520187"/>
                    <a:gd name="connsiteX133" fmla="*/ 40324 w 1984332"/>
                    <a:gd name="connsiteY133" fmla="*/ 376361 h 1520187"/>
                    <a:gd name="connsiteX134" fmla="*/ 369641 w 1984332"/>
                    <a:gd name="connsiteY134" fmla="*/ 376361 h 1520187"/>
                    <a:gd name="connsiteX135" fmla="*/ 383083 w 1984332"/>
                    <a:gd name="connsiteY135" fmla="*/ 369640 h 1520187"/>
                    <a:gd name="connsiteX136" fmla="*/ 389803 w 1984332"/>
                    <a:gd name="connsiteY136" fmla="*/ 356199 h 1520187"/>
                    <a:gd name="connsiteX137" fmla="*/ 389803 w 1984332"/>
                    <a:gd name="connsiteY137" fmla="*/ 275550 h 1520187"/>
                    <a:gd name="connsiteX138" fmla="*/ 376362 w 1984332"/>
                    <a:gd name="connsiteY138" fmla="*/ 255388 h 1520187"/>
                    <a:gd name="connsiteX139" fmla="*/ 309154 w 1984332"/>
                    <a:gd name="connsiteY139" fmla="*/ 154577 h 1520187"/>
                    <a:gd name="connsiteX140" fmla="*/ 423407 w 1984332"/>
                    <a:gd name="connsiteY140" fmla="*/ 40324 h 1520187"/>
                    <a:gd name="connsiteX141" fmla="*/ 504056 w 1984332"/>
                    <a:gd name="connsiteY141" fmla="*/ 73928 h 1520187"/>
                    <a:gd name="connsiteX142" fmla="*/ 537660 w 1984332"/>
                    <a:gd name="connsiteY142" fmla="*/ 154577 h 1520187"/>
                    <a:gd name="connsiteX143" fmla="*/ 470452 w 1984332"/>
                    <a:gd name="connsiteY143" fmla="*/ 262109 h 1520187"/>
                    <a:gd name="connsiteX144" fmla="*/ 457011 w 1984332"/>
                    <a:gd name="connsiteY144" fmla="*/ 282271 h 1520187"/>
                    <a:gd name="connsiteX145" fmla="*/ 457011 w 1984332"/>
                    <a:gd name="connsiteY145" fmla="*/ 362919 h 1520187"/>
                    <a:gd name="connsiteX146" fmla="*/ 477173 w 1984332"/>
                    <a:gd name="connsiteY146" fmla="*/ 383082 h 1520187"/>
                    <a:gd name="connsiteX147" fmla="*/ 477173 w 1984332"/>
                    <a:gd name="connsiteY147" fmla="*/ 383082 h 1520187"/>
                    <a:gd name="connsiteX148" fmla="*/ 806490 w 1984332"/>
                    <a:gd name="connsiteY148" fmla="*/ 383082 h 1520187"/>
                    <a:gd name="connsiteX149" fmla="*/ 806490 w 1984332"/>
                    <a:gd name="connsiteY149" fmla="*/ 631749 h 1520187"/>
                    <a:gd name="connsiteX150" fmla="*/ 806490 w 1984332"/>
                    <a:gd name="connsiteY150" fmla="*/ 685515 h 1520187"/>
                    <a:gd name="connsiteX151" fmla="*/ 766165 w 1984332"/>
                    <a:gd name="connsiteY151" fmla="*/ 685515 h 1520187"/>
                    <a:gd name="connsiteX152" fmla="*/ 631750 w 1984332"/>
                    <a:gd name="connsiteY152" fmla="*/ 604866 h 1520187"/>
                    <a:gd name="connsiteX153" fmla="*/ 631750 w 1984332"/>
                    <a:gd name="connsiteY153" fmla="*/ 604866 h 1520187"/>
                    <a:gd name="connsiteX154" fmla="*/ 517497 w 1984332"/>
                    <a:gd name="connsiteY154" fmla="*/ 651911 h 1520187"/>
                    <a:gd name="connsiteX155" fmla="*/ 470452 w 1984332"/>
                    <a:gd name="connsiteY155" fmla="*/ 759443 h 1520187"/>
                    <a:gd name="connsiteX156" fmla="*/ 517497 w 1984332"/>
                    <a:gd name="connsiteY156" fmla="*/ 866974 h 1520187"/>
                    <a:gd name="connsiteX157" fmla="*/ 625029 w 1984332"/>
                    <a:gd name="connsiteY157" fmla="*/ 914019 h 1520187"/>
                    <a:gd name="connsiteX158" fmla="*/ 625029 w 1984332"/>
                    <a:gd name="connsiteY158" fmla="*/ 914019 h 1520187"/>
                    <a:gd name="connsiteX159" fmla="*/ 766165 w 1984332"/>
                    <a:gd name="connsiteY159" fmla="*/ 826650 h 1520187"/>
                    <a:gd name="connsiteX160" fmla="*/ 799769 w 1984332"/>
                    <a:gd name="connsiteY160" fmla="*/ 826650 h 1520187"/>
                    <a:gd name="connsiteX161" fmla="*/ 799769 w 1984332"/>
                    <a:gd name="connsiteY161" fmla="*/ 1135803 h 1520187"/>
                    <a:gd name="connsiteX162" fmla="*/ 483894 w 1984332"/>
                    <a:gd name="connsiteY162" fmla="*/ 1142524 h 1520187"/>
                    <a:gd name="connsiteX163" fmla="*/ 1915413 w 1984332"/>
                    <a:gd name="connsiteY163" fmla="*/ 840091 h 1520187"/>
                    <a:gd name="connsiteX164" fmla="*/ 1834764 w 1984332"/>
                    <a:gd name="connsiteY164" fmla="*/ 873695 h 1520187"/>
                    <a:gd name="connsiteX165" fmla="*/ 1834764 w 1984332"/>
                    <a:gd name="connsiteY165" fmla="*/ 873695 h 1520187"/>
                    <a:gd name="connsiteX166" fmla="*/ 1733953 w 1984332"/>
                    <a:gd name="connsiteY166" fmla="*/ 806488 h 1520187"/>
                    <a:gd name="connsiteX167" fmla="*/ 1713790 w 1984332"/>
                    <a:gd name="connsiteY167" fmla="*/ 793046 h 1520187"/>
                    <a:gd name="connsiteX168" fmla="*/ 1713790 w 1984332"/>
                    <a:gd name="connsiteY168" fmla="*/ 793046 h 1520187"/>
                    <a:gd name="connsiteX169" fmla="*/ 1633141 w 1984332"/>
                    <a:gd name="connsiteY169" fmla="*/ 793046 h 1520187"/>
                    <a:gd name="connsiteX170" fmla="*/ 1612979 w 1984332"/>
                    <a:gd name="connsiteY170" fmla="*/ 813208 h 1520187"/>
                    <a:gd name="connsiteX171" fmla="*/ 1612979 w 1984332"/>
                    <a:gd name="connsiteY171" fmla="*/ 1142524 h 1520187"/>
                    <a:gd name="connsiteX172" fmla="*/ 1310546 w 1984332"/>
                    <a:gd name="connsiteY172" fmla="*/ 1142524 h 1520187"/>
                    <a:gd name="connsiteX173" fmla="*/ 1310546 w 1984332"/>
                    <a:gd name="connsiteY173" fmla="*/ 1102200 h 1520187"/>
                    <a:gd name="connsiteX174" fmla="*/ 1384474 w 1984332"/>
                    <a:gd name="connsiteY174" fmla="*/ 967785 h 1520187"/>
                    <a:gd name="connsiteX175" fmla="*/ 1337429 w 1984332"/>
                    <a:gd name="connsiteY175" fmla="*/ 860254 h 1520187"/>
                    <a:gd name="connsiteX176" fmla="*/ 1229897 w 1984332"/>
                    <a:gd name="connsiteY176" fmla="*/ 813208 h 1520187"/>
                    <a:gd name="connsiteX177" fmla="*/ 1229897 w 1984332"/>
                    <a:gd name="connsiteY177" fmla="*/ 813208 h 1520187"/>
                    <a:gd name="connsiteX178" fmla="*/ 1122365 w 1984332"/>
                    <a:gd name="connsiteY178" fmla="*/ 860254 h 1520187"/>
                    <a:gd name="connsiteX179" fmla="*/ 1075320 w 1984332"/>
                    <a:gd name="connsiteY179" fmla="*/ 967785 h 1520187"/>
                    <a:gd name="connsiteX180" fmla="*/ 1162689 w 1984332"/>
                    <a:gd name="connsiteY180" fmla="*/ 1108921 h 1520187"/>
                    <a:gd name="connsiteX181" fmla="*/ 1162689 w 1984332"/>
                    <a:gd name="connsiteY181" fmla="*/ 1142524 h 1520187"/>
                    <a:gd name="connsiteX182" fmla="*/ 853535 w 1984332"/>
                    <a:gd name="connsiteY182" fmla="*/ 1142524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19929 h 1520187"/>
                    <a:gd name="connsiteX185" fmla="*/ 853535 w 1984332"/>
                    <a:gd name="connsiteY185" fmla="*/ 806488 h 1520187"/>
                    <a:gd name="connsiteX186" fmla="*/ 846814 w 1984332"/>
                    <a:gd name="connsiteY186" fmla="*/ 793046 h 1520187"/>
                    <a:gd name="connsiteX187" fmla="*/ 833373 w 1984332"/>
                    <a:gd name="connsiteY187" fmla="*/ 786325 h 1520187"/>
                    <a:gd name="connsiteX188" fmla="*/ 833373 w 1984332"/>
                    <a:gd name="connsiteY188" fmla="*/ 786325 h 1520187"/>
                    <a:gd name="connsiteX189" fmla="*/ 759444 w 1984332"/>
                    <a:gd name="connsiteY189" fmla="*/ 786325 h 1520187"/>
                    <a:gd name="connsiteX190" fmla="*/ 739282 w 1984332"/>
                    <a:gd name="connsiteY190" fmla="*/ 799767 h 1520187"/>
                    <a:gd name="connsiteX191" fmla="*/ 631750 w 1984332"/>
                    <a:gd name="connsiteY191" fmla="*/ 873695 h 1520187"/>
                    <a:gd name="connsiteX192" fmla="*/ 631750 w 1984332"/>
                    <a:gd name="connsiteY192" fmla="*/ 873695 h 1520187"/>
                    <a:gd name="connsiteX193" fmla="*/ 551101 w 1984332"/>
                    <a:gd name="connsiteY193" fmla="*/ 840091 h 1520187"/>
                    <a:gd name="connsiteX194" fmla="*/ 517497 w 1984332"/>
                    <a:gd name="connsiteY194" fmla="*/ 759443 h 1520187"/>
                    <a:gd name="connsiteX195" fmla="*/ 551101 w 1984332"/>
                    <a:gd name="connsiteY195" fmla="*/ 678794 h 1520187"/>
                    <a:gd name="connsiteX196" fmla="*/ 631750 w 1984332"/>
                    <a:gd name="connsiteY196" fmla="*/ 645190 h 1520187"/>
                    <a:gd name="connsiteX197" fmla="*/ 631750 w 1984332"/>
                    <a:gd name="connsiteY197" fmla="*/ 645190 h 1520187"/>
                    <a:gd name="connsiteX198" fmla="*/ 732561 w 1984332"/>
                    <a:gd name="connsiteY198" fmla="*/ 712397 h 1520187"/>
                    <a:gd name="connsiteX199" fmla="*/ 752724 w 1984332"/>
                    <a:gd name="connsiteY199" fmla="*/ 725839 h 1520187"/>
                    <a:gd name="connsiteX200" fmla="*/ 752724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26652 w 1984332"/>
                    <a:gd name="connsiteY202" fmla="*/ 725839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0093 w 1984332"/>
                    <a:gd name="connsiteY205" fmla="*/ 719118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705677 h 1520187"/>
                    <a:gd name="connsiteX210" fmla="*/ 846814 w 1984332"/>
                    <a:gd name="connsiteY210" fmla="*/ 383082 h 1520187"/>
                    <a:gd name="connsiteX211" fmla="*/ 1155969 w 1984332"/>
                    <a:gd name="connsiteY211" fmla="*/ 383082 h 1520187"/>
                    <a:gd name="connsiteX212" fmla="*/ 1155969 w 1984332"/>
                    <a:gd name="connsiteY212" fmla="*/ 423406 h 1520187"/>
                    <a:gd name="connsiteX213" fmla="*/ 1084846 w 1984332"/>
                    <a:gd name="connsiteY213" fmla="*/ 555440 h 1520187"/>
                    <a:gd name="connsiteX214" fmla="*/ 1139409 w 1984332"/>
                    <a:gd name="connsiteY214" fmla="*/ 664773 h 1520187"/>
                    <a:gd name="connsiteX215" fmla="*/ 1241803 w 1984332"/>
                    <a:gd name="connsiteY215" fmla="*/ 712400 h 1520187"/>
                    <a:gd name="connsiteX216" fmla="*/ 1354098 w 1984332"/>
                    <a:gd name="connsiteY216" fmla="*/ 670115 h 1520187"/>
                    <a:gd name="connsiteX217" fmla="*/ 1396380 w 1984332"/>
                    <a:gd name="connsiteY217" fmla="*/ 553058 h 1520187"/>
                    <a:gd name="connsiteX218" fmla="*/ 1310546 w 1984332"/>
                    <a:gd name="connsiteY218" fmla="*/ 423406 h 1520187"/>
                    <a:gd name="connsiteX219" fmla="*/ 1310546 w 1984332"/>
                    <a:gd name="connsiteY219" fmla="*/ 376361 h 1520187"/>
                    <a:gd name="connsiteX220" fmla="*/ 1612979 w 1984332"/>
                    <a:gd name="connsiteY220" fmla="*/ 376361 h 1520187"/>
                    <a:gd name="connsiteX221" fmla="*/ 1612979 w 1984332"/>
                    <a:gd name="connsiteY221" fmla="*/ 705677 h 1520187"/>
                    <a:gd name="connsiteX222" fmla="*/ 1633141 w 1984332"/>
                    <a:gd name="connsiteY222" fmla="*/ 725839 h 1520187"/>
                    <a:gd name="connsiteX223" fmla="*/ 1633141 w 1984332"/>
                    <a:gd name="connsiteY223" fmla="*/ 725839 h 1520187"/>
                    <a:gd name="connsiteX224" fmla="*/ 1713790 w 1984332"/>
                    <a:gd name="connsiteY224" fmla="*/ 725839 h 1520187"/>
                    <a:gd name="connsiteX225" fmla="*/ 1733953 w 1984332"/>
                    <a:gd name="connsiteY225" fmla="*/ 712397 h 1520187"/>
                    <a:gd name="connsiteX226" fmla="*/ 1834764 w 1984332"/>
                    <a:gd name="connsiteY226" fmla="*/ 645190 h 1520187"/>
                    <a:gd name="connsiteX227" fmla="*/ 1834764 w 1984332"/>
                    <a:gd name="connsiteY227" fmla="*/ 645190 h 1520187"/>
                    <a:gd name="connsiteX228" fmla="*/ 1915413 w 1984332"/>
                    <a:gd name="connsiteY228" fmla="*/ 678794 h 1520187"/>
                    <a:gd name="connsiteX229" fmla="*/ 1949017 w 1984332"/>
                    <a:gd name="connsiteY229" fmla="*/ 759443 h 1520187"/>
                    <a:gd name="connsiteX230" fmla="*/ 1915413 w 1984332"/>
                    <a:gd name="connsiteY230" fmla="*/ 840091 h 1520187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81282 w 1984332"/>
                    <a:gd name="connsiteY13" fmla="*/ 442456 h 1520187"/>
                    <a:gd name="connsiteX14" fmla="*/ 1357168 w 1984332"/>
                    <a:gd name="connsiteY14" fmla="*/ 551100 h 1520187"/>
                    <a:gd name="connsiteX15" fmla="*/ 1330708 w 1984332"/>
                    <a:gd name="connsiteY15" fmla="*/ 631749 h 1520187"/>
                    <a:gd name="connsiteX16" fmla="*/ 1250059 w 1984332"/>
                    <a:gd name="connsiteY16" fmla="*/ 665352 h 1520187"/>
                    <a:gd name="connsiteX17" fmla="*/ 1135806 w 1984332"/>
                    <a:gd name="connsiteY17" fmla="*/ 551100 h 1520187"/>
                    <a:gd name="connsiteX18" fmla="*/ 1209734 w 1984332"/>
                    <a:gd name="connsiteY18" fmla="*/ 443568 h 1520187"/>
                    <a:gd name="connsiteX19" fmla="*/ 1223176 w 1984332"/>
                    <a:gd name="connsiteY19" fmla="*/ 423406 h 1520187"/>
                    <a:gd name="connsiteX20" fmla="*/ 1223176 w 1984332"/>
                    <a:gd name="connsiteY20" fmla="*/ 349478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182852 w 1984332"/>
                    <a:gd name="connsiteY23" fmla="*/ 336037 h 1520187"/>
                    <a:gd name="connsiteX24" fmla="*/ 1182852 w 1984332"/>
                    <a:gd name="connsiteY24" fmla="*/ 336037 h 1520187"/>
                    <a:gd name="connsiteX25" fmla="*/ 8266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497335 w 1984332"/>
                    <a:gd name="connsiteY28" fmla="*/ 336037 h 1520187"/>
                    <a:gd name="connsiteX29" fmla="*/ 497335 w 1984332"/>
                    <a:gd name="connsiteY29" fmla="*/ 295712 h 1520187"/>
                    <a:gd name="connsiteX30" fmla="*/ 584705 w 1984332"/>
                    <a:gd name="connsiteY30" fmla="*/ 154577 h 1520187"/>
                    <a:gd name="connsiteX31" fmla="*/ 537660 w 1984332"/>
                    <a:gd name="connsiteY31" fmla="*/ 47045 h 1520187"/>
                    <a:gd name="connsiteX32" fmla="*/ 423407 w 1984332"/>
                    <a:gd name="connsiteY32" fmla="*/ 0 h 1520187"/>
                    <a:gd name="connsiteX33" fmla="*/ 423407 w 1984332"/>
                    <a:gd name="connsiteY33" fmla="*/ 0 h 1520187"/>
                    <a:gd name="connsiteX34" fmla="*/ 268830 w 1984332"/>
                    <a:gd name="connsiteY34" fmla="*/ 154577 h 1520187"/>
                    <a:gd name="connsiteX35" fmla="*/ 349479 w 1984332"/>
                    <a:gd name="connsiteY35" fmla="*/ 288991 h 1520187"/>
                    <a:gd name="connsiteX36" fmla="*/ 349479 w 1984332"/>
                    <a:gd name="connsiteY36" fmla="*/ 329316 h 1520187"/>
                    <a:gd name="connsiteX37" fmla="*/ 20162 w 1984332"/>
                    <a:gd name="connsiteY37" fmla="*/ 336037 h 1520187"/>
                    <a:gd name="connsiteX38" fmla="*/ 0 w 1984332"/>
                    <a:gd name="connsiteY38" fmla="*/ 356199 h 1520187"/>
                    <a:gd name="connsiteX39" fmla="*/ 0 w 1984332"/>
                    <a:gd name="connsiteY39" fmla="*/ 698956 h 1520187"/>
                    <a:gd name="connsiteX40" fmla="*/ 20162 w 1984332"/>
                    <a:gd name="connsiteY40" fmla="*/ 719118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94090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120973 w 1984332"/>
                    <a:gd name="connsiteY46" fmla="*/ 705677 h 1520187"/>
                    <a:gd name="connsiteX47" fmla="*/ 221785 w 1984332"/>
                    <a:gd name="connsiteY47" fmla="*/ 638469 h 1520187"/>
                    <a:gd name="connsiteX48" fmla="*/ 221785 w 1984332"/>
                    <a:gd name="connsiteY48" fmla="*/ 638469 h 1520187"/>
                    <a:gd name="connsiteX49" fmla="*/ 336037 w 1984332"/>
                    <a:gd name="connsiteY49" fmla="*/ 752722 h 1520187"/>
                    <a:gd name="connsiteX50" fmla="*/ 221785 w 1984332"/>
                    <a:gd name="connsiteY50" fmla="*/ 873695 h 1520187"/>
                    <a:gd name="connsiteX51" fmla="*/ 221785 w 1984332"/>
                    <a:gd name="connsiteY51" fmla="*/ 873695 h 1520187"/>
                    <a:gd name="connsiteX52" fmla="*/ 114253 w 1984332"/>
                    <a:gd name="connsiteY52" fmla="*/ 799767 h 1520187"/>
                    <a:gd name="connsiteX53" fmla="*/ 94090 w 1984332"/>
                    <a:gd name="connsiteY53" fmla="*/ 786325 h 1520187"/>
                    <a:gd name="connsiteX54" fmla="*/ 20162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0 w 1984332"/>
                    <a:gd name="connsiteY59" fmla="*/ 806488 h 1520187"/>
                    <a:gd name="connsiteX60" fmla="*/ 0 w 1984332"/>
                    <a:gd name="connsiteY60" fmla="*/ 1162686 h 1520187"/>
                    <a:gd name="connsiteX61" fmla="*/ 20162 w 1984332"/>
                    <a:gd name="connsiteY61" fmla="*/ 1182849 h 1520187"/>
                    <a:gd name="connsiteX62" fmla="*/ 20162 w 1984332"/>
                    <a:gd name="connsiteY62" fmla="*/ 1182849 h 1520187"/>
                    <a:gd name="connsiteX63" fmla="*/ 356200 w 1984332"/>
                    <a:gd name="connsiteY63" fmla="*/ 1182849 h 1520187"/>
                    <a:gd name="connsiteX64" fmla="*/ 356200 w 1984332"/>
                    <a:gd name="connsiteY64" fmla="*/ 1223173 h 1520187"/>
                    <a:gd name="connsiteX65" fmla="*/ 268830 w 1984332"/>
                    <a:gd name="connsiteY65" fmla="*/ 1364308 h 1520187"/>
                    <a:gd name="connsiteX66" fmla="*/ 315875 w 1984332"/>
                    <a:gd name="connsiteY66" fmla="*/ 1471840 h 1520187"/>
                    <a:gd name="connsiteX67" fmla="*/ 423407 w 1984332"/>
                    <a:gd name="connsiteY67" fmla="*/ 1518885 h 1520187"/>
                    <a:gd name="connsiteX68" fmla="*/ 423407 w 1984332"/>
                    <a:gd name="connsiteY68" fmla="*/ 1518885 h 1520187"/>
                    <a:gd name="connsiteX69" fmla="*/ 537660 w 1984332"/>
                    <a:gd name="connsiteY69" fmla="*/ 1478561 h 1520187"/>
                    <a:gd name="connsiteX70" fmla="*/ 584705 w 1984332"/>
                    <a:gd name="connsiteY70" fmla="*/ 1371029 h 1520187"/>
                    <a:gd name="connsiteX71" fmla="*/ 510777 w 1984332"/>
                    <a:gd name="connsiteY71" fmla="*/ 1236614 h 1520187"/>
                    <a:gd name="connsiteX72" fmla="*/ 510777 w 1984332"/>
                    <a:gd name="connsiteY72" fmla="*/ 1189569 h 1520187"/>
                    <a:gd name="connsiteX73" fmla="*/ 833373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1189572 w 1984332"/>
                    <a:gd name="connsiteY76" fmla="*/ 1189569 h 1520187"/>
                    <a:gd name="connsiteX77" fmla="*/ 1203014 w 1984332"/>
                    <a:gd name="connsiteY77" fmla="*/ 1182849 h 1520187"/>
                    <a:gd name="connsiteX78" fmla="*/ 1209734 w 1984332"/>
                    <a:gd name="connsiteY78" fmla="*/ 1169407 h 1520187"/>
                    <a:gd name="connsiteX79" fmla="*/ 1209734 w 1984332"/>
                    <a:gd name="connsiteY79" fmla="*/ 1095479 h 1520187"/>
                    <a:gd name="connsiteX80" fmla="*/ 1196293 w 1984332"/>
                    <a:gd name="connsiteY80" fmla="*/ 1075317 h 1520187"/>
                    <a:gd name="connsiteX81" fmla="*/ 1122365 w 1984332"/>
                    <a:gd name="connsiteY81" fmla="*/ 967785 h 1520187"/>
                    <a:gd name="connsiteX82" fmla="*/ 1155969 w 1984332"/>
                    <a:gd name="connsiteY82" fmla="*/ 887136 h 1520187"/>
                    <a:gd name="connsiteX83" fmla="*/ 1236617 w 1984332"/>
                    <a:gd name="connsiteY83" fmla="*/ 853533 h 1520187"/>
                    <a:gd name="connsiteX84" fmla="*/ 1236617 w 1984332"/>
                    <a:gd name="connsiteY84" fmla="*/ 853533 h 1520187"/>
                    <a:gd name="connsiteX85" fmla="*/ 1317266 w 1984332"/>
                    <a:gd name="connsiteY85" fmla="*/ 887136 h 1520187"/>
                    <a:gd name="connsiteX86" fmla="*/ 1350870 w 1984332"/>
                    <a:gd name="connsiteY86" fmla="*/ 967785 h 1520187"/>
                    <a:gd name="connsiteX87" fmla="*/ 1283663 w 1984332"/>
                    <a:gd name="connsiteY87" fmla="*/ 1068596 h 1520187"/>
                    <a:gd name="connsiteX88" fmla="*/ 1270221 w 1984332"/>
                    <a:gd name="connsiteY88" fmla="*/ 1088758 h 1520187"/>
                    <a:gd name="connsiteX89" fmla="*/ 1270221 w 1984332"/>
                    <a:gd name="connsiteY89" fmla="*/ 1162686 h 1520187"/>
                    <a:gd name="connsiteX90" fmla="*/ 1276942 w 1984332"/>
                    <a:gd name="connsiteY90" fmla="*/ 1176128 h 1520187"/>
                    <a:gd name="connsiteX91" fmla="*/ 1290383 w 1984332"/>
                    <a:gd name="connsiteY91" fmla="*/ 1182849 h 1520187"/>
                    <a:gd name="connsiteX92" fmla="*/ 1290383 w 1984332"/>
                    <a:gd name="connsiteY92" fmla="*/ 1182849 h 1520187"/>
                    <a:gd name="connsiteX93" fmla="*/ 1633141 w 1984332"/>
                    <a:gd name="connsiteY93" fmla="*/ 1182849 h 1520187"/>
                    <a:gd name="connsiteX94" fmla="*/ 1653304 w 1984332"/>
                    <a:gd name="connsiteY94" fmla="*/ 1162686 h 1520187"/>
                    <a:gd name="connsiteX95" fmla="*/ 1653304 w 1984332"/>
                    <a:gd name="connsiteY95" fmla="*/ 833371 h 1520187"/>
                    <a:gd name="connsiteX96" fmla="*/ 1693628 w 1984332"/>
                    <a:gd name="connsiteY96" fmla="*/ 833371 h 1520187"/>
                    <a:gd name="connsiteX97" fmla="*/ 1828043 w 1984332"/>
                    <a:gd name="connsiteY97" fmla="*/ 914019 h 1520187"/>
                    <a:gd name="connsiteX98" fmla="*/ 1828043 w 1984332"/>
                    <a:gd name="connsiteY98" fmla="*/ 914019 h 1520187"/>
                    <a:gd name="connsiteX99" fmla="*/ 1935575 w 1984332"/>
                    <a:gd name="connsiteY99" fmla="*/ 866974 h 1520187"/>
                    <a:gd name="connsiteX100" fmla="*/ 1982620 w 1984332"/>
                    <a:gd name="connsiteY100" fmla="*/ 759443 h 1520187"/>
                    <a:gd name="connsiteX101" fmla="*/ 1949017 w 1984332"/>
                    <a:gd name="connsiteY101" fmla="*/ 645190 h 1520187"/>
                    <a:gd name="connsiteX102" fmla="*/ 483894 w 1984332"/>
                    <a:gd name="connsiteY102" fmla="*/ 1142524 h 1520187"/>
                    <a:gd name="connsiteX103" fmla="*/ 463732 w 1984332"/>
                    <a:gd name="connsiteY103" fmla="*/ 1162686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236614 h 1520187"/>
                    <a:gd name="connsiteX107" fmla="*/ 463732 w 1984332"/>
                    <a:gd name="connsiteY107" fmla="*/ 1236614 h 1520187"/>
                    <a:gd name="connsiteX108" fmla="*/ 477173 w 1984332"/>
                    <a:gd name="connsiteY108" fmla="*/ 1263497 h 1520187"/>
                    <a:gd name="connsiteX109" fmla="*/ 544381 w 1984332"/>
                    <a:gd name="connsiteY109" fmla="*/ 1364308 h 1520187"/>
                    <a:gd name="connsiteX110" fmla="*/ 510777 w 1984332"/>
                    <a:gd name="connsiteY110" fmla="*/ 1444957 h 1520187"/>
                    <a:gd name="connsiteX111" fmla="*/ 423407 w 1984332"/>
                    <a:gd name="connsiteY111" fmla="*/ 1478561 h 1520187"/>
                    <a:gd name="connsiteX112" fmla="*/ 423407 w 1984332"/>
                    <a:gd name="connsiteY112" fmla="*/ 1478561 h 1520187"/>
                    <a:gd name="connsiteX113" fmla="*/ 342758 w 1984332"/>
                    <a:gd name="connsiteY113" fmla="*/ 1444957 h 1520187"/>
                    <a:gd name="connsiteX114" fmla="*/ 309154 w 1984332"/>
                    <a:gd name="connsiteY114" fmla="*/ 1364308 h 1520187"/>
                    <a:gd name="connsiteX115" fmla="*/ 383083 w 1984332"/>
                    <a:gd name="connsiteY115" fmla="*/ 1256777 h 1520187"/>
                    <a:gd name="connsiteX116" fmla="*/ 396524 w 1984332"/>
                    <a:gd name="connsiteY116" fmla="*/ 1236614 h 1520187"/>
                    <a:gd name="connsiteX117" fmla="*/ 396524 w 1984332"/>
                    <a:gd name="connsiteY117" fmla="*/ 1162686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76362 w 1984332"/>
                    <a:gd name="connsiteY120" fmla="*/ 1142524 h 1520187"/>
                    <a:gd name="connsiteX121" fmla="*/ 376362 w 1984332"/>
                    <a:gd name="connsiteY121" fmla="*/ 1142524 h 1520187"/>
                    <a:gd name="connsiteX122" fmla="*/ 40324 w 1984332"/>
                    <a:gd name="connsiteY122" fmla="*/ 1142524 h 1520187"/>
                    <a:gd name="connsiteX123" fmla="*/ 40324 w 1984332"/>
                    <a:gd name="connsiteY123" fmla="*/ 833371 h 1520187"/>
                    <a:gd name="connsiteX124" fmla="*/ 80649 w 1984332"/>
                    <a:gd name="connsiteY124" fmla="*/ 833371 h 1520187"/>
                    <a:gd name="connsiteX125" fmla="*/ 221785 w 1984332"/>
                    <a:gd name="connsiteY125" fmla="*/ 920740 h 1520187"/>
                    <a:gd name="connsiteX126" fmla="*/ 221785 w 1984332"/>
                    <a:gd name="connsiteY126" fmla="*/ 920740 h 1520187"/>
                    <a:gd name="connsiteX127" fmla="*/ 376362 w 1984332"/>
                    <a:gd name="connsiteY127" fmla="*/ 766163 h 1520187"/>
                    <a:gd name="connsiteX128" fmla="*/ 221785 w 1984332"/>
                    <a:gd name="connsiteY128" fmla="*/ 604866 h 1520187"/>
                    <a:gd name="connsiteX129" fmla="*/ 221785 w 1984332"/>
                    <a:gd name="connsiteY129" fmla="*/ 604866 h 1520187"/>
                    <a:gd name="connsiteX130" fmla="*/ 87370 w 1984332"/>
                    <a:gd name="connsiteY130" fmla="*/ 678794 h 1520187"/>
                    <a:gd name="connsiteX131" fmla="*/ 40324 w 1984332"/>
                    <a:gd name="connsiteY131" fmla="*/ 678794 h 1520187"/>
                    <a:gd name="connsiteX132" fmla="*/ 40324 w 1984332"/>
                    <a:gd name="connsiteY132" fmla="*/ 376361 h 1520187"/>
                    <a:gd name="connsiteX133" fmla="*/ 369641 w 1984332"/>
                    <a:gd name="connsiteY133" fmla="*/ 376361 h 1520187"/>
                    <a:gd name="connsiteX134" fmla="*/ 383083 w 1984332"/>
                    <a:gd name="connsiteY134" fmla="*/ 369640 h 1520187"/>
                    <a:gd name="connsiteX135" fmla="*/ 389803 w 1984332"/>
                    <a:gd name="connsiteY135" fmla="*/ 356199 h 1520187"/>
                    <a:gd name="connsiteX136" fmla="*/ 389803 w 1984332"/>
                    <a:gd name="connsiteY136" fmla="*/ 275550 h 1520187"/>
                    <a:gd name="connsiteX137" fmla="*/ 376362 w 1984332"/>
                    <a:gd name="connsiteY137" fmla="*/ 255388 h 1520187"/>
                    <a:gd name="connsiteX138" fmla="*/ 309154 w 1984332"/>
                    <a:gd name="connsiteY138" fmla="*/ 154577 h 1520187"/>
                    <a:gd name="connsiteX139" fmla="*/ 423407 w 1984332"/>
                    <a:gd name="connsiteY139" fmla="*/ 40324 h 1520187"/>
                    <a:gd name="connsiteX140" fmla="*/ 504056 w 1984332"/>
                    <a:gd name="connsiteY140" fmla="*/ 73928 h 1520187"/>
                    <a:gd name="connsiteX141" fmla="*/ 537660 w 1984332"/>
                    <a:gd name="connsiteY141" fmla="*/ 154577 h 1520187"/>
                    <a:gd name="connsiteX142" fmla="*/ 470452 w 1984332"/>
                    <a:gd name="connsiteY142" fmla="*/ 262109 h 1520187"/>
                    <a:gd name="connsiteX143" fmla="*/ 457011 w 1984332"/>
                    <a:gd name="connsiteY143" fmla="*/ 282271 h 1520187"/>
                    <a:gd name="connsiteX144" fmla="*/ 457011 w 1984332"/>
                    <a:gd name="connsiteY144" fmla="*/ 362919 h 1520187"/>
                    <a:gd name="connsiteX145" fmla="*/ 477173 w 1984332"/>
                    <a:gd name="connsiteY145" fmla="*/ 383082 h 1520187"/>
                    <a:gd name="connsiteX146" fmla="*/ 477173 w 1984332"/>
                    <a:gd name="connsiteY146" fmla="*/ 383082 h 1520187"/>
                    <a:gd name="connsiteX147" fmla="*/ 806490 w 1984332"/>
                    <a:gd name="connsiteY147" fmla="*/ 383082 h 1520187"/>
                    <a:gd name="connsiteX148" fmla="*/ 806490 w 1984332"/>
                    <a:gd name="connsiteY148" fmla="*/ 631749 h 1520187"/>
                    <a:gd name="connsiteX149" fmla="*/ 806490 w 1984332"/>
                    <a:gd name="connsiteY149" fmla="*/ 685515 h 1520187"/>
                    <a:gd name="connsiteX150" fmla="*/ 766165 w 1984332"/>
                    <a:gd name="connsiteY150" fmla="*/ 685515 h 1520187"/>
                    <a:gd name="connsiteX151" fmla="*/ 631750 w 1984332"/>
                    <a:gd name="connsiteY151" fmla="*/ 604866 h 1520187"/>
                    <a:gd name="connsiteX152" fmla="*/ 631750 w 1984332"/>
                    <a:gd name="connsiteY152" fmla="*/ 604866 h 1520187"/>
                    <a:gd name="connsiteX153" fmla="*/ 517497 w 1984332"/>
                    <a:gd name="connsiteY153" fmla="*/ 651911 h 1520187"/>
                    <a:gd name="connsiteX154" fmla="*/ 470452 w 1984332"/>
                    <a:gd name="connsiteY154" fmla="*/ 759443 h 1520187"/>
                    <a:gd name="connsiteX155" fmla="*/ 517497 w 1984332"/>
                    <a:gd name="connsiteY155" fmla="*/ 866974 h 1520187"/>
                    <a:gd name="connsiteX156" fmla="*/ 625029 w 1984332"/>
                    <a:gd name="connsiteY156" fmla="*/ 914019 h 1520187"/>
                    <a:gd name="connsiteX157" fmla="*/ 625029 w 1984332"/>
                    <a:gd name="connsiteY157" fmla="*/ 914019 h 1520187"/>
                    <a:gd name="connsiteX158" fmla="*/ 766165 w 1984332"/>
                    <a:gd name="connsiteY158" fmla="*/ 826650 h 1520187"/>
                    <a:gd name="connsiteX159" fmla="*/ 799769 w 1984332"/>
                    <a:gd name="connsiteY159" fmla="*/ 826650 h 1520187"/>
                    <a:gd name="connsiteX160" fmla="*/ 799769 w 1984332"/>
                    <a:gd name="connsiteY160" fmla="*/ 1135803 h 1520187"/>
                    <a:gd name="connsiteX161" fmla="*/ 483894 w 1984332"/>
                    <a:gd name="connsiteY161" fmla="*/ 1142524 h 1520187"/>
                    <a:gd name="connsiteX162" fmla="*/ 1915413 w 1984332"/>
                    <a:gd name="connsiteY162" fmla="*/ 840091 h 1520187"/>
                    <a:gd name="connsiteX163" fmla="*/ 1834764 w 1984332"/>
                    <a:gd name="connsiteY163" fmla="*/ 873695 h 1520187"/>
                    <a:gd name="connsiteX164" fmla="*/ 1834764 w 1984332"/>
                    <a:gd name="connsiteY164" fmla="*/ 873695 h 1520187"/>
                    <a:gd name="connsiteX165" fmla="*/ 1733953 w 1984332"/>
                    <a:gd name="connsiteY165" fmla="*/ 806488 h 1520187"/>
                    <a:gd name="connsiteX166" fmla="*/ 1713790 w 1984332"/>
                    <a:gd name="connsiteY166" fmla="*/ 793046 h 1520187"/>
                    <a:gd name="connsiteX167" fmla="*/ 1713790 w 1984332"/>
                    <a:gd name="connsiteY167" fmla="*/ 793046 h 1520187"/>
                    <a:gd name="connsiteX168" fmla="*/ 1633141 w 1984332"/>
                    <a:gd name="connsiteY168" fmla="*/ 793046 h 1520187"/>
                    <a:gd name="connsiteX169" fmla="*/ 1612979 w 1984332"/>
                    <a:gd name="connsiteY169" fmla="*/ 813208 h 1520187"/>
                    <a:gd name="connsiteX170" fmla="*/ 1612979 w 1984332"/>
                    <a:gd name="connsiteY170" fmla="*/ 1142524 h 1520187"/>
                    <a:gd name="connsiteX171" fmla="*/ 1310546 w 1984332"/>
                    <a:gd name="connsiteY171" fmla="*/ 1142524 h 1520187"/>
                    <a:gd name="connsiteX172" fmla="*/ 1310546 w 1984332"/>
                    <a:gd name="connsiteY172" fmla="*/ 1102200 h 1520187"/>
                    <a:gd name="connsiteX173" fmla="*/ 1384474 w 1984332"/>
                    <a:gd name="connsiteY173" fmla="*/ 967785 h 1520187"/>
                    <a:gd name="connsiteX174" fmla="*/ 1337429 w 1984332"/>
                    <a:gd name="connsiteY174" fmla="*/ 860254 h 1520187"/>
                    <a:gd name="connsiteX175" fmla="*/ 1229897 w 1984332"/>
                    <a:gd name="connsiteY175" fmla="*/ 813208 h 1520187"/>
                    <a:gd name="connsiteX176" fmla="*/ 1229897 w 1984332"/>
                    <a:gd name="connsiteY176" fmla="*/ 813208 h 1520187"/>
                    <a:gd name="connsiteX177" fmla="*/ 1122365 w 1984332"/>
                    <a:gd name="connsiteY177" fmla="*/ 860254 h 1520187"/>
                    <a:gd name="connsiteX178" fmla="*/ 1075320 w 1984332"/>
                    <a:gd name="connsiteY178" fmla="*/ 967785 h 1520187"/>
                    <a:gd name="connsiteX179" fmla="*/ 1162689 w 1984332"/>
                    <a:gd name="connsiteY179" fmla="*/ 1108921 h 1520187"/>
                    <a:gd name="connsiteX180" fmla="*/ 1162689 w 1984332"/>
                    <a:gd name="connsiteY180" fmla="*/ 1142524 h 1520187"/>
                    <a:gd name="connsiteX181" fmla="*/ 853535 w 1984332"/>
                    <a:gd name="connsiteY181" fmla="*/ 1142524 h 1520187"/>
                    <a:gd name="connsiteX182" fmla="*/ 853535 w 1984332"/>
                    <a:gd name="connsiteY182" fmla="*/ 819929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06488 h 1520187"/>
                    <a:gd name="connsiteX185" fmla="*/ 846814 w 1984332"/>
                    <a:gd name="connsiteY185" fmla="*/ 793046 h 1520187"/>
                    <a:gd name="connsiteX186" fmla="*/ 833373 w 1984332"/>
                    <a:gd name="connsiteY186" fmla="*/ 786325 h 1520187"/>
                    <a:gd name="connsiteX187" fmla="*/ 833373 w 1984332"/>
                    <a:gd name="connsiteY187" fmla="*/ 786325 h 1520187"/>
                    <a:gd name="connsiteX188" fmla="*/ 759444 w 1984332"/>
                    <a:gd name="connsiteY188" fmla="*/ 786325 h 1520187"/>
                    <a:gd name="connsiteX189" fmla="*/ 739282 w 1984332"/>
                    <a:gd name="connsiteY189" fmla="*/ 799767 h 1520187"/>
                    <a:gd name="connsiteX190" fmla="*/ 631750 w 1984332"/>
                    <a:gd name="connsiteY190" fmla="*/ 873695 h 1520187"/>
                    <a:gd name="connsiteX191" fmla="*/ 631750 w 1984332"/>
                    <a:gd name="connsiteY191" fmla="*/ 873695 h 1520187"/>
                    <a:gd name="connsiteX192" fmla="*/ 551101 w 1984332"/>
                    <a:gd name="connsiteY192" fmla="*/ 840091 h 1520187"/>
                    <a:gd name="connsiteX193" fmla="*/ 517497 w 1984332"/>
                    <a:gd name="connsiteY193" fmla="*/ 759443 h 1520187"/>
                    <a:gd name="connsiteX194" fmla="*/ 551101 w 1984332"/>
                    <a:gd name="connsiteY194" fmla="*/ 678794 h 1520187"/>
                    <a:gd name="connsiteX195" fmla="*/ 631750 w 1984332"/>
                    <a:gd name="connsiteY195" fmla="*/ 645190 h 1520187"/>
                    <a:gd name="connsiteX196" fmla="*/ 631750 w 1984332"/>
                    <a:gd name="connsiteY196" fmla="*/ 645190 h 1520187"/>
                    <a:gd name="connsiteX197" fmla="*/ 732561 w 1984332"/>
                    <a:gd name="connsiteY197" fmla="*/ 712397 h 1520187"/>
                    <a:gd name="connsiteX198" fmla="*/ 752724 w 1984332"/>
                    <a:gd name="connsiteY198" fmla="*/ 725839 h 1520187"/>
                    <a:gd name="connsiteX199" fmla="*/ 752724 w 1984332"/>
                    <a:gd name="connsiteY199" fmla="*/ 725839 h 1520187"/>
                    <a:gd name="connsiteX200" fmla="*/ 826652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40093 w 1984332"/>
                    <a:gd name="connsiteY202" fmla="*/ 719118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6814 w 1984332"/>
                    <a:gd name="connsiteY205" fmla="*/ 705677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383082 h 1520187"/>
                    <a:gd name="connsiteX210" fmla="*/ 1155969 w 1984332"/>
                    <a:gd name="connsiteY210" fmla="*/ 383082 h 1520187"/>
                    <a:gd name="connsiteX211" fmla="*/ 1155969 w 1984332"/>
                    <a:gd name="connsiteY211" fmla="*/ 423406 h 1520187"/>
                    <a:gd name="connsiteX212" fmla="*/ 1084846 w 1984332"/>
                    <a:gd name="connsiteY212" fmla="*/ 555440 h 1520187"/>
                    <a:gd name="connsiteX213" fmla="*/ 1139409 w 1984332"/>
                    <a:gd name="connsiteY213" fmla="*/ 664773 h 1520187"/>
                    <a:gd name="connsiteX214" fmla="*/ 1241803 w 1984332"/>
                    <a:gd name="connsiteY214" fmla="*/ 712400 h 1520187"/>
                    <a:gd name="connsiteX215" fmla="*/ 1354098 w 1984332"/>
                    <a:gd name="connsiteY215" fmla="*/ 670115 h 1520187"/>
                    <a:gd name="connsiteX216" fmla="*/ 1396380 w 1984332"/>
                    <a:gd name="connsiteY216" fmla="*/ 553058 h 1520187"/>
                    <a:gd name="connsiteX217" fmla="*/ 1310546 w 1984332"/>
                    <a:gd name="connsiteY217" fmla="*/ 423406 h 1520187"/>
                    <a:gd name="connsiteX218" fmla="*/ 1310546 w 1984332"/>
                    <a:gd name="connsiteY218" fmla="*/ 376361 h 1520187"/>
                    <a:gd name="connsiteX219" fmla="*/ 1612979 w 1984332"/>
                    <a:gd name="connsiteY219" fmla="*/ 376361 h 1520187"/>
                    <a:gd name="connsiteX220" fmla="*/ 1612979 w 1984332"/>
                    <a:gd name="connsiteY220" fmla="*/ 705677 h 1520187"/>
                    <a:gd name="connsiteX221" fmla="*/ 1633141 w 1984332"/>
                    <a:gd name="connsiteY221" fmla="*/ 725839 h 1520187"/>
                    <a:gd name="connsiteX222" fmla="*/ 1633141 w 1984332"/>
                    <a:gd name="connsiteY222" fmla="*/ 725839 h 1520187"/>
                    <a:gd name="connsiteX223" fmla="*/ 1713790 w 1984332"/>
                    <a:gd name="connsiteY223" fmla="*/ 725839 h 1520187"/>
                    <a:gd name="connsiteX224" fmla="*/ 1733953 w 1984332"/>
                    <a:gd name="connsiteY224" fmla="*/ 712397 h 1520187"/>
                    <a:gd name="connsiteX225" fmla="*/ 1834764 w 1984332"/>
                    <a:gd name="connsiteY225" fmla="*/ 645190 h 1520187"/>
                    <a:gd name="connsiteX226" fmla="*/ 1834764 w 1984332"/>
                    <a:gd name="connsiteY226" fmla="*/ 645190 h 1520187"/>
                    <a:gd name="connsiteX227" fmla="*/ 1915413 w 1984332"/>
                    <a:gd name="connsiteY227" fmla="*/ 678794 h 1520187"/>
                    <a:gd name="connsiteX228" fmla="*/ 1949017 w 1984332"/>
                    <a:gd name="connsiteY228" fmla="*/ 759443 h 1520187"/>
                    <a:gd name="connsiteX229" fmla="*/ 1915413 w 1984332"/>
                    <a:gd name="connsiteY229" fmla="*/ 840091 h 1520187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88425 w 1984332"/>
                    <a:gd name="connsiteY13" fmla="*/ 449600 h 1520187"/>
                    <a:gd name="connsiteX14" fmla="*/ 1357168 w 1984332"/>
                    <a:gd name="connsiteY14" fmla="*/ 551100 h 1520187"/>
                    <a:gd name="connsiteX15" fmla="*/ 1330708 w 1984332"/>
                    <a:gd name="connsiteY15" fmla="*/ 631749 h 1520187"/>
                    <a:gd name="connsiteX16" fmla="*/ 1250059 w 1984332"/>
                    <a:gd name="connsiteY16" fmla="*/ 665352 h 1520187"/>
                    <a:gd name="connsiteX17" fmla="*/ 1135806 w 1984332"/>
                    <a:gd name="connsiteY17" fmla="*/ 551100 h 1520187"/>
                    <a:gd name="connsiteX18" fmla="*/ 1209734 w 1984332"/>
                    <a:gd name="connsiteY18" fmla="*/ 443568 h 1520187"/>
                    <a:gd name="connsiteX19" fmla="*/ 1223176 w 1984332"/>
                    <a:gd name="connsiteY19" fmla="*/ 423406 h 1520187"/>
                    <a:gd name="connsiteX20" fmla="*/ 1223176 w 1984332"/>
                    <a:gd name="connsiteY20" fmla="*/ 349478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182852 w 1984332"/>
                    <a:gd name="connsiteY23" fmla="*/ 336037 h 1520187"/>
                    <a:gd name="connsiteX24" fmla="*/ 1182852 w 1984332"/>
                    <a:gd name="connsiteY24" fmla="*/ 336037 h 1520187"/>
                    <a:gd name="connsiteX25" fmla="*/ 8266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497335 w 1984332"/>
                    <a:gd name="connsiteY28" fmla="*/ 336037 h 1520187"/>
                    <a:gd name="connsiteX29" fmla="*/ 497335 w 1984332"/>
                    <a:gd name="connsiteY29" fmla="*/ 295712 h 1520187"/>
                    <a:gd name="connsiteX30" fmla="*/ 584705 w 1984332"/>
                    <a:gd name="connsiteY30" fmla="*/ 154577 h 1520187"/>
                    <a:gd name="connsiteX31" fmla="*/ 537660 w 1984332"/>
                    <a:gd name="connsiteY31" fmla="*/ 47045 h 1520187"/>
                    <a:gd name="connsiteX32" fmla="*/ 423407 w 1984332"/>
                    <a:gd name="connsiteY32" fmla="*/ 0 h 1520187"/>
                    <a:gd name="connsiteX33" fmla="*/ 423407 w 1984332"/>
                    <a:gd name="connsiteY33" fmla="*/ 0 h 1520187"/>
                    <a:gd name="connsiteX34" fmla="*/ 268830 w 1984332"/>
                    <a:gd name="connsiteY34" fmla="*/ 154577 h 1520187"/>
                    <a:gd name="connsiteX35" fmla="*/ 349479 w 1984332"/>
                    <a:gd name="connsiteY35" fmla="*/ 288991 h 1520187"/>
                    <a:gd name="connsiteX36" fmla="*/ 349479 w 1984332"/>
                    <a:gd name="connsiteY36" fmla="*/ 329316 h 1520187"/>
                    <a:gd name="connsiteX37" fmla="*/ 20162 w 1984332"/>
                    <a:gd name="connsiteY37" fmla="*/ 336037 h 1520187"/>
                    <a:gd name="connsiteX38" fmla="*/ 0 w 1984332"/>
                    <a:gd name="connsiteY38" fmla="*/ 356199 h 1520187"/>
                    <a:gd name="connsiteX39" fmla="*/ 0 w 1984332"/>
                    <a:gd name="connsiteY39" fmla="*/ 698956 h 1520187"/>
                    <a:gd name="connsiteX40" fmla="*/ 20162 w 1984332"/>
                    <a:gd name="connsiteY40" fmla="*/ 719118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94090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120973 w 1984332"/>
                    <a:gd name="connsiteY46" fmla="*/ 705677 h 1520187"/>
                    <a:gd name="connsiteX47" fmla="*/ 221785 w 1984332"/>
                    <a:gd name="connsiteY47" fmla="*/ 638469 h 1520187"/>
                    <a:gd name="connsiteX48" fmla="*/ 221785 w 1984332"/>
                    <a:gd name="connsiteY48" fmla="*/ 638469 h 1520187"/>
                    <a:gd name="connsiteX49" fmla="*/ 336037 w 1984332"/>
                    <a:gd name="connsiteY49" fmla="*/ 752722 h 1520187"/>
                    <a:gd name="connsiteX50" fmla="*/ 221785 w 1984332"/>
                    <a:gd name="connsiteY50" fmla="*/ 873695 h 1520187"/>
                    <a:gd name="connsiteX51" fmla="*/ 221785 w 1984332"/>
                    <a:gd name="connsiteY51" fmla="*/ 873695 h 1520187"/>
                    <a:gd name="connsiteX52" fmla="*/ 114253 w 1984332"/>
                    <a:gd name="connsiteY52" fmla="*/ 799767 h 1520187"/>
                    <a:gd name="connsiteX53" fmla="*/ 94090 w 1984332"/>
                    <a:gd name="connsiteY53" fmla="*/ 786325 h 1520187"/>
                    <a:gd name="connsiteX54" fmla="*/ 20162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0 w 1984332"/>
                    <a:gd name="connsiteY59" fmla="*/ 806488 h 1520187"/>
                    <a:gd name="connsiteX60" fmla="*/ 0 w 1984332"/>
                    <a:gd name="connsiteY60" fmla="*/ 1162686 h 1520187"/>
                    <a:gd name="connsiteX61" fmla="*/ 20162 w 1984332"/>
                    <a:gd name="connsiteY61" fmla="*/ 1182849 h 1520187"/>
                    <a:gd name="connsiteX62" fmla="*/ 20162 w 1984332"/>
                    <a:gd name="connsiteY62" fmla="*/ 1182849 h 1520187"/>
                    <a:gd name="connsiteX63" fmla="*/ 356200 w 1984332"/>
                    <a:gd name="connsiteY63" fmla="*/ 1182849 h 1520187"/>
                    <a:gd name="connsiteX64" fmla="*/ 356200 w 1984332"/>
                    <a:gd name="connsiteY64" fmla="*/ 1223173 h 1520187"/>
                    <a:gd name="connsiteX65" fmla="*/ 268830 w 1984332"/>
                    <a:gd name="connsiteY65" fmla="*/ 1364308 h 1520187"/>
                    <a:gd name="connsiteX66" fmla="*/ 315875 w 1984332"/>
                    <a:gd name="connsiteY66" fmla="*/ 1471840 h 1520187"/>
                    <a:gd name="connsiteX67" fmla="*/ 423407 w 1984332"/>
                    <a:gd name="connsiteY67" fmla="*/ 1518885 h 1520187"/>
                    <a:gd name="connsiteX68" fmla="*/ 423407 w 1984332"/>
                    <a:gd name="connsiteY68" fmla="*/ 1518885 h 1520187"/>
                    <a:gd name="connsiteX69" fmla="*/ 537660 w 1984332"/>
                    <a:gd name="connsiteY69" fmla="*/ 1478561 h 1520187"/>
                    <a:gd name="connsiteX70" fmla="*/ 584705 w 1984332"/>
                    <a:gd name="connsiteY70" fmla="*/ 1371029 h 1520187"/>
                    <a:gd name="connsiteX71" fmla="*/ 510777 w 1984332"/>
                    <a:gd name="connsiteY71" fmla="*/ 1236614 h 1520187"/>
                    <a:gd name="connsiteX72" fmla="*/ 510777 w 1984332"/>
                    <a:gd name="connsiteY72" fmla="*/ 1189569 h 1520187"/>
                    <a:gd name="connsiteX73" fmla="*/ 833373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1189572 w 1984332"/>
                    <a:gd name="connsiteY76" fmla="*/ 1189569 h 1520187"/>
                    <a:gd name="connsiteX77" fmla="*/ 1203014 w 1984332"/>
                    <a:gd name="connsiteY77" fmla="*/ 1182849 h 1520187"/>
                    <a:gd name="connsiteX78" fmla="*/ 1209734 w 1984332"/>
                    <a:gd name="connsiteY78" fmla="*/ 1169407 h 1520187"/>
                    <a:gd name="connsiteX79" fmla="*/ 1209734 w 1984332"/>
                    <a:gd name="connsiteY79" fmla="*/ 1095479 h 1520187"/>
                    <a:gd name="connsiteX80" fmla="*/ 1196293 w 1984332"/>
                    <a:gd name="connsiteY80" fmla="*/ 1075317 h 1520187"/>
                    <a:gd name="connsiteX81" fmla="*/ 1122365 w 1984332"/>
                    <a:gd name="connsiteY81" fmla="*/ 967785 h 1520187"/>
                    <a:gd name="connsiteX82" fmla="*/ 1155969 w 1984332"/>
                    <a:gd name="connsiteY82" fmla="*/ 887136 h 1520187"/>
                    <a:gd name="connsiteX83" fmla="*/ 1236617 w 1984332"/>
                    <a:gd name="connsiteY83" fmla="*/ 853533 h 1520187"/>
                    <a:gd name="connsiteX84" fmla="*/ 1236617 w 1984332"/>
                    <a:gd name="connsiteY84" fmla="*/ 853533 h 1520187"/>
                    <a:gd name="connsiteX85" fmla="*/ 1317266 w 1984332"/>
                    <a:gd name="connsiteY85" fmla="*/ 887136 h 1520187"/>
                    <a:gd name="connsiteX86" fmla="*/ 1350870 w 1984332"/>
                    <a:gd name="connsiteY86" fmla="*/ 967785 h 1520187"/>
                    <a:gd name="connsiteX87" fmla="*/ 1283663 w 1984332"/>
                    <a:gd name="connsiteY87" fmla="*/ 1068596 h 1520187"/>
                    <a:gd name="connsiteX88" fmla="*/ 1270221 w 1984332"/>
                    <a:gd name="connsiteY88" fmla="*/ 1088758 h 1520187"/>
                    <a:gd name="connsiteX89" fmla="*/ 1270221 w 1984332"/>
                    <a:gd name="connsiteY89" fmla="*/ 1162686 h 1520187"/>
                    <a:gd name="connsiteX90" fmla="*/ 1276942 w 1984332"/>
                    <a:gd name="connsiteY90" fmla="*/ 1176128 h 1520187"/>
                    <a:gd name="connsiteX91" fmla="*/ 1290383 w 1984332"/>
                    <a:gd name="connsiteY91" fmla="*/ 1182849 h 1520187"/>
                    <a:gd name="connsiteX92" fmla="*/ 1290383 w 1984332"/>
                    <a:gd name="connsiteY92" fmla="*/ 1182849 h 1520187"/>
                    <a:gd name="connsiteX93" fmla="*/ 1633141 w 1984332"/>
                    <a:gd name="connsiteY93" fmla="*/ 1182849 h 1520187"/>
                    <a:gd name="connsiteX94" fmla="*/ 1653304 w 1984332"/>
                    <a:gd name="connsiteY94" fmla="*/ 1162686 h 1520187"/>
                    <a:gd name="connsiteX95" fmla="*/ 1653304 w 1984332"/>
                    <a:gd name="connsiteY95" fmla="*/ 833371 h 1520187"/>
                    <a:gd name="connsiteX96" fmla="*/ 1693628 w 1984332"/>
                    <a:gd name="connsiteY96" fmla="*/ 833371 h 1520187"/>
                    <a:gd name="connsiteX97" fmla="*/ 1828043 w 1984332"/>
                    <a:gd name="connsiteY97" fmla="*/ 914019 h 1520187"/>
                    <a:gd name="connsiteX98" fmla="*/ 1828043 w 1984332"/>
                    <a:gd name="connsiteY98" fmla="*/ 914019 h 1520187"/>
                    <a:gd name="connsiteX99" fmla="*/ 1935575 w 1984332"/>
                    <a:gd name="connsiteY99" fmla="*/ 866974 h 1520187"/>
                    <a:gd name="connsiteX100" fmla="*/ 1982620 w 1984332"/>
                    <a:gd name="connsiteY100" fmla="*/ 759443 h 1520187"/>
                    <a:gd name="connsiteX101" fmla="*/ 1949017 w 1984332"/>
                    <a:gd name="connsiteY101" fmla="*/ 645190 h 1520187"/>
                    <a:gd name="connsiteX102" fmla="*/ 483894 w 1984332"/>
                    <a:gd name="connsiteY102" fmla="*/ 1142524 h 1520187"/>
                    <a:gd name="connsiteX103" fmla="*/ 463732 w 1984332"/>
                    <a:gd name="connsiteY103" fmla="*/ 1162686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236614 h 1520187"/>
                    <a:gd name="connsiteX107" fmla="*/ 463732 w 1984332"/>
                    <a:gd name="connsiteY107" fmla="*/ 1236614 h 1520187"/>
                    <a:gd name="connsiteX108" fmla="*/ 477173 w 1984332"/>
                    <a:gd name="connsiteY108" fmla="*/ 1263497 h 1520187"/>
                    <a:gd name="connsiteX109" fmla="*/ 544381 w 1984332"/>
                    <a:gd name="connsiteY109" fmla="*/ 1364308 h 1520187"/>
                    <a:gd name="connsiteX110" fmla="*/ 510777 w 1984332"/>
                    <a:gd name="connsiteY110" fmla="*/ 1444957 h 1520187"/>
                    <a:gd name="connsiteX111" fmla="*/ 423407 w 1984332"/>
                    <a:gd name="connsiteY111" fmla="*/ 1478561 h 1520187"/>
                    <a:gd name="connsiteX112" fmla="*/ 423407 w 1984332"/>
                    <a:gd name="connsiteY112" fmla="*/ 1478561 h 1520187"/>
                    <a:gd name="connsiteX113" fmla="*/ 342758 w 1984332"/>
                    <a:gd name="connsiteY113" fmla="*/ 1444957 h 1520187"/>
                    <a:gd name="connsiteX114" fmla="*/ 309154 w 1984332"/>
                    <a:gd name="connsiteY114" fmla="*/ 1364308 h 1520187"/>
                    <a:gd name="connsiteX115" fmla="*/ 383083 w 1984332"/>
                    <a:gd name="connsiteY115" fmla="*/ 1256777 h 1520187"/>
                    <a:gd name="connsiteX116" fmla="*/ 396524 w 1984332"/>
                    <a:gd name="connsiteY116" fmla="*/ 1236614 h 1520187"/>
                    <a:gd name="connsiteX117" fmla="*/ 396524 w 1984332"/>
                    <a:gd name="connsiteY117" fmla="*/ 1162686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76362 w 1984332"/>
                    <a:gd name="connsiteY120" fmla="*/ 1142524 h 1520187"/>
                    <a:gd name="connsiteX121" fmla="*/ 376362 w 1984332"/>
                    <a:gd name="connsiteY121" fmla="*/ 1142524 h 1520187"/>
                    <a:gd name="connsiteX122" fmla="*/ 40324 w 1984332"/>
                    <a:gd name="connsiteY122" fmla="*/ 1142524 h 1520187"/>
                    <a:gd name="connsiteX123" fmla="*/ 40324 w 1984332"/>
                    <a:gd name="connsiteY123" fmla="*/ 833371 h 1520187"/>
                    <a:gd name="connsiteX124" fmla="*/ 80649 w 1984332"/>
                    <a:gd name="connsiteY124" fmla="*/ 833371 h 1520187"/>
                    <a:gd name="connsiteX125" fmla="*/ 221785 w 1984332"/>
                    <a:gd name="connsiteY125" fmla="*/ 920740 h 1520187"/>
                    <a:gd name="connsiteX126" fmla="*/ 221785 w 1984332"/>
                    <a:gd name="connsiteY126" fmla="*/ 920740 h 1520187"/>
                    <a:gd name="connsiteX127" fmla="*/ 376362 w 1984332"/>
                    <a:gd name="connsiteY127" fmla="*/ 766163 h 1520187"/>
                    <a:gd name="connsiteX128" fmla="*/ 221785 w 1984332"/>
                    <a:gd name="connsiteY128" fmla="*/ 604866 h 1520187"/>
                    <a:gd name="connsiteX129" fmla="*/ 221785 w 1984332"/>
                    <a:gd name="connsiteY129" fmla="*/ 604866 h 1520187"/>
                    <a:gd name="connsiteX130" fmla="*/ 87370 w 1984332"/>
                    <a:gd name="connsiteY130" fmla="*/ 678794 h 1520187"/>
                    <a:gd name="connsiteX131" fmla="*/ 40324 w 1984332"/>
                    <a:gd name="connsiteY131" fmla="*/ 678794 h 1520187"/>
                    <a:gd name="connsiteX132" fmla="*/ 40324 w 1984332"/>
                    <a:gd name="connsiteY132" fmla="*/ 376361 h 1520187"/>
                    <a:gd name="connsiteX133" fmla="*/ 369641 w 1984332"/>
                    <a:gd name="connsiteY133" fmla="*/ 376361 h 1520187"/>
                    <a:gd name="connsiteX134" fmla="*/ 383083 w 1984332"/>
                    <a:gd name="connsiteY134" fmla="*/ 369640 h 1520187"/>
                    <a:gd name="connsiteX135" fmla="*/ 389803 w 1984332"/>
                    <a:gd name="connsiteY135" fmla="*/ 356199 h 1520187"/>
                    <a:gd name="connsiteX136" fmla="*/ 389803 w 1984332"/>
                    <a:gd name="connsiteY136" fmla="*/ 275550 h 1520187"/>
                    <a:gd name="connsiteX137" fmla="*/ 376362 w 1984332"/>
                    <a:gd name="connsiteY137" fmla="*/ 255388 h 1520187"/>
                    <a:gd name="connsiteX138" fmla="*/ 309154 w 1984332"/>
                    <a:gd name="connsiteY138" fmla="*/ 154577 h 1520187"/>
                    <a:gd name="connsiteX139" fmla="*/ 423407 w 1984332"/>
                    <a:gd name="connsiteY139" fmla="*/ 40324 h 1520187"/>
                    <a:gd name="connsiteX140" fmla="*/ 504056 w 1984332"/>
                    <a:gd name="connsiteY140" fmla="*/ 73928 h 1520187"/>
                    <a:gd name="connsiteX141" fmla="*/ 537660 w 1984332"/>
                    <a:gd name="connsiteY141" fmla="*/ 154577 h 1520187"/>
                    <a:gd name="connsiteX142" fmla="*/ 470452 w 1984332"/>
                    <a:gd name="connsiteY142" fmla="*/ 262109 h 1520187"/>
                    <a:gd name="connsiteX143" fmla="*/ 457011 w 1984332"/>
                    <a:gd name="connsiteY143" fmla="*/ 282271 h 1520187"/>
                    <a:gd name="connsiteX144" fmla="*/ 457011 w 1984332"/>
                    <a:gd name="connsiteY144" fmla="*/ 362919 h 1520187"/>
                    <a:gd name="connsiteX145" fmla="*/ 477173 w 1984332"/>
                    <a:gd name="connsiteY145" fmla="*/ 383082 h 1520187"/>
                    <a:gd name="connsiteX146" fmla="*/ 477173 w 1984332"/>
                    <a:gd name="connsiteY146" fmla="*/ 383082 h 1520187"/>
                    <a:gd name="connsiteX147" fmla="*/ 806490 w 1984332"/>
                    <a:gd name="connsiteY147" fmla="*/ 383082 h 1520187"/>
                    <a:gd name="connsiteX148" fmla="*/ 806490 w 1984332"/>
                    <a:gd name="connsiteY148" fmla="*/ 631749 h 1520187"/>
                    <a:gd name="connsiteX149" fmla="*/ 806490 w 1984332"/>
                    <a:gd name="connsiteY149" fmla="*/ 685515 h 1520187"/>
                    <a:gd name="connsiteX150" fmla="*/ 766165 w 1984332"/>
                    <a:gd name="connsiteY150" fmla="*/ 685515 h 1520187"/>
                    <a:gd name="connsiteX151" fmla="*/ 631750 w 1984332"/>
                    <a:gd name="connsiteY151" fmla="*/ 604866 h 1520187"/>
                    <a:gd name="connsiteX152" fmla="*/ 631750 w 1984332"/>
                    <a:gd name="connsiteY152" fmla="*/ 604866 h 1520187"/>
                    <a:gd name="connsiteX153" fmla="*/ 517497 w 1984332"/>
                    <a:gd name="connsiteY153" fmla="*/ 651911 h 1520187"/>
                    <a:gd name="connsiteX154" fmla="*/ 470452 w 1984332"/>
                    <a:gd name="connsiteY154" fmla="*/ 759443 h 1520187"/>
                    <a:gd name="connsiteX155" fmla="*/ 517497 w 1984332"/>
                    <a:gd name="connsiteY155" fmla="*/ 866974 h 1520187"/>
                    <a:gd name="connsiteX156" fmla="*/ 625029 w 1984332"/>
                    <a:gd name="connsiteY156" fmla="*/ 914019 h 1520187"/>
                    <a:gd name="connsiteX157" fmla="*/ 625029 w 1984332"/>
                    <a:gd name="connsiteY157" fmla="*/ 914019 h 1520187"/>
                    <a:gd name="connsiteX158" fmla="*/ 766165 w 1984332"/>
                    <a:gd name="connsiteY158" fmla="*/ 826650 h 1520187"/>
                    <a:gd name="connsiteX159" fmla="*/ 799769 w 1984332"/>
                    <a:gd name="connsiteY159" fmla="*/ 826650 h 1520187"/>
                    <a:gd name="connsiteX160" fmla="*/ 799769 w 1984332"/>
                    <a:gd name="connsiteY160" fmla="*/ 1135803 h 1520187"/>
                    <a:gd name="connsiteX161" fmla="*/ 483894 w 1984332"/>
                    <a:gd name="connsiteY161" fmla="*/ 1142524 h 1520187"/>
                    <a:gd name="connsiteX162" fmla="*/ 1915413 w 1984332"/>
                    <a:gd name="connsiteY162" fmla="*/ 840091 h 1520187"/>
                    <a:gd name="connsiteX163" fmla="*/ 1834764 w 1984332"/>
                    <a:gd name="connsiteY163" fmla="*/ 873695 h 1520187"/>
                    <a:gd name="connsiteX164" fmla="*/ 1834764 w 1984332"/>
                    <a:gd name="connsiteY164" fmla="*/ 873695 h 1520187"/>
                    <a:gd name="connsiteX165" fmla="*/ 1733953 w 1984332"/>
                    <a:gd name="connsiteY165" fmla="*/ 806488 h 1520187"/>
                    <a:gd name="connsiteX166" fmla="*/ 1713790 w 1984332"/>
                    <a:gd name="connsiteY166" fmla="*/ 793046 h 1520187"/>
                    <a:gd name="connsiteX167" fmla="*/ 1713790 w 1984332"/>
                    <a:gd name="connsiteY167" fmla="*/ 793046 h 1520187"/>
                    <a:gd name="connsiteX168" fmla="*/ 1633141 w 1984332"/>
                    <a:gd name="connsiteY168" fmla="*/ 793046 h 1520187"/>
                    <a:gd name="connsiteX169" fmla="*/ 1612979 w 1984332"/>
                    <a:gd name="connsiteY169" fmla="*/ 813208 h 1520187"/>
                    <a:gd name="connsiteX170" fmla="*/ 1612979 w 1984332"/>
                    <a:gd name="connsiteY170" fmla="*/ 1142524 h 1520187"/>
                    <a:gd name="connsiteX171" fmla="*/ 1310546 w 1984332"/>
                    <a:gd name="connsiteY171" fmla="*/ 1142524 h 1520187"/>
                    <a:gd name="connsiteX172" fmla="*/ 1310546 w 1984332"/>
                    <a:gd name="connsiteY172" fmla="*/ 1102200 h 1520187"/>
                    <a:gd name="connsiteX173" fmla="*/ 1384474 w 1984332"/>
                    <a:gd name="connsiteY173" fmla="*/ 967785 h 1520187"/>
                    <a:gd name="connsiteX174" fmla="*/ 1337429 w 1984332"/>
                    <a:gd name="connsiteY174" fmla="*/ 860254 h 1520187"/>
                    <a:gd name="connsiteX175" fmla="*/ 1229897 w 1984332"/>
                    <a:gd name="connsiteY175" fmla="*/ 813208 h 1520187"/>
                    <a:gd name="connsiteX176" fmla="*/ 1229897 w 1984332"/>
                    <a:gd name="connsiteY176" fmla="*/ 813208 h 1520187"/>
                    <a:gd name="connsiteX177" fmla="*/ 1122365 w 1984332"/>
                    <a:gd name="connsiteY177" fmla="*/ 860254 h 1520187"/>
                    <a:gd name="connsiteX178" fmla="*/ 1075320 w 1984332"/>
                    <a:gd name="connsiteY178" fmla="*/ 967785 h 1520187"/>
                    <a:gd name="connsiteX179" fmla="*/ 1162689 w 1984332"/>
                    <a:gd name="connsiteY179" fmla="*/ 1108921 h 1520187"/>
                    <a:gd name="connsiteX180" fmla="*/ 1162689 w 1984332"/>
                    <a:gd name="connsiteY180" fmla="*/ 1142524 h 1520187"/>
                    <a:gd name="connsiteX181" fmla="*/ 853535 w 1984332"/>
                    <a:gd name="connsiteY181" fmla="*/ 1142524 h 1520187"/>
                    <a:gd name="connsiteX182" fmla="*/ 853535 w 1984332"/>
                    <a:gd name="connsiteY182" fmla="*/ 819929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06488 h 1520187"/>
                    <a:gd name="connsiteX185" fmla="*/ 846814 w 1984332"/>
                    <a:gd name="connsiteY185" fmla="*/ 793046 h 1520187"/>
                    <a:gd name="connsiteX186" fmla="*/ 833373 w 1984332"/>
                    <a:gd name="connsiteY186" fmla="*/ 786325 h 1520187"/>
                    <a:gd name="connsiteX187" fmla="*/ 833373 w 1984332"/>
                    <a:gd name="connsiteY187" fmla="*/ 786325 h 1520187"/>
                    <a:gd name="connsiteX188" fmla="*/ 759444 w 1984332"/>
                    <a:gd name="connsiteY188" fmla="*/ 786325 h 1520187"/>
                    <a:gd name="connsiteX189" fmla="*/ 739282 w 1984332"/>
                    <a:gd name="connsiteY189" fmla="*/ 799767 h 1520187"/>
                    <a:gd name="connsiteX190" fmla="*/ 631750 w 1984332"/>
                    <a:gd name="connsiteY190" fmla="*/ 873695 h 1520187"/>
                    <a:gd name="connsiteX191" fmla="*/ 631750 w 1984332"/>
                    <a:gd name="connsiteY191" fmla="*/ 873695 h 1520187"/>
                    <a:gd name="connsiteX192" fmla="*/ 551101 w 1984332"/>
                    <a:gd name="connsiteY192" fmla="*/ 840091 h 1520187"/>
                    <a:gd name="connsiteX193" fmla="*/ 517497 w 1984332"/>
                    <a:gd name="connsiteY193" fmla="*/ 759443 h 1520187"/>
                    <a:gd name="connsiteX194" fmla="*/ 551101 w 1984332"/>
                    <a:gd name="connsiteY194" fmla="*/ 678794 h 1520187"/>
                    <a:gd name="connsiteX195" fmla="*/ 631750 w 1984332"/>
                    <a:gd name="connsiteY195" fmla="*/ 645190 h 1520187"/>
                    <a:gd name="connsiteX196" fmla="*/ 631750 w 1984332"/>
                    <a:gd name="connsiteY196" fmla="*/ 645190 h 1520187"/>
                    <a:gd name="connsiteX197" fmla="*/ 732561 w 1984332"/>
                    <a:gd name="connsiteY197" fmla="*/ 712397 h 1520187"/>
                    <a:gd name="connsiteX198" fmla="*/ 752724 w 1984332"/>
                    <a:gd name="connsiteY198" fmla="*/ 725839 h 1520187"/>
                    <a:gd name="connsiteX199" fmla="*/ 752724 w 1984332"/>
                    <a:gd name="connsiteY199" fmla="*/ 725839 h 1520187"/>
                    <a:gd name="connsiteX200" fmla="*/ 826652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40093 w 1984332"/>
                    <a:gd name="connsiteY202" fmla="*/ 719118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6814 w 1984332"/>
                    <a:gd name="connsiteY205" fmla="*/ 705677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383082 h 1520187"/>
                    <a:gd name="connsiteX210" fmla="*/ 1155969 w 1984332"/>
                    <a:gd name="connsiteY210" fmla="*/ 383082 h 1520187"/>
                    <a:gd name="connsiteX211" fmla="*/ 1155969 w 1984332"/>
                    <a:gd name="connsiteY211" fmla="*/ 423406 h 1520187"/>
                    <a:gd name="connsiteX212" fmla="*/ 1084846 w 1984332"/>
                    <a:gd name="connsiteY212" fmla="*/ 555440 h 1520187"/>
                    <a:gd name="connsiteX213" fmla="*/ 1139409 w 1984332"/>
                    <a:gd name="connsiteY213" fmla="*/ 664773 h 1520187"/>
                    <a:gd name="connsiteX214" fmla="*/ 1241803 w 1984332"/>
                    <a:gd name="connsiteY214" fmla="*/ 712400 h 1520187"/>
                    <a:gd name="connsiteX215" fmla="*/ 1354098 w 1984332"/>
                    <a:gd name="connsiteY215" fmla="*/ 670115 h 1520187"/>
                    <a:gd name="connsiteX216" fmla="*/ 1396380 w 1984332"/>
                    <a:gd name="connsiteY216" fmla="*/ 553058 h 1520187"/>
                    <a:gd name="connsiteX217" fmla="*/ 1310546 w 1984332"/>
                    <a:gd name="connsiteY217" fmla="*/ 423406 h 1520187"/>
                    <a:gd name="connsiteX218" fmla="*/ 1310546 w 1984332"/>
                    <a:gd name="connsiteY218" fmla="*/ 376361 h 1520187"/>
                    <a:gd name="connsiteX219" fmla="*/ 1612979 w 1984332"/>
                    <a:gd name="connsiteY219" fmla="*/ 376361 h 1520187"/>
                    <a:gd name="connsiteX220" fmla="*/ 1612979 w 1984332"/>
                    <a:gd name="connsiteY220" fmla="*/ 705677 h 1520187"/>
                    <a:gd name="connsiteX221" fmla="*/ 1633141 w 1984332"/>
                    <a:gd name="connsiteY221" fmla="*/ 725839 h 1520187"/>
                    <a:gd name="connsiteX222" fmla="*/ 1633141 w 1984332"/>
                    <a:gd name="connsiteY222" fmla="*/ 725839 h 1520187"/>
                    <a:gd name="connsiteX223" fmla="*/ 1713790 w 1984332"/>
                    <a:gd name="connsiteY223" fmla="*/ 725839 h 1520187"/>
                    <a:gd name="connsiteX224" fmla="*/ 1733953 w 1984332"/>
                    <a:gd name="connsiteY224" fmla="*/ 712397 h 1520187"/>
                    <a:gd name="connsiteX225" fmla="*/ 1834764 w 1984332"/>
                    <a:gd name="connsiteY225" fmla="*/ 645190 h 1520187"/>
                    <a:gd name="connsiteX226" fmla="*/ 1834764 w 1984332"/>
                    <a:gd name="connsiteY226" fmla="*/ 645190 h 1520187"/>
                    <a:gd name="connsiteX227" fmla="*/ 1915413 w 1984332"/>
                    <a:gd name="connsiteY227" fmla="*/ 678794 h 1520187"/>
                    <a:gd name="connsiteX228" fmla="*/ 1949017 w 1984332"/>
                    <a:gd name="connsiteY228" fmla="*/ 759443 h 1520187"/>
                    <a:gd name="connsiteX229" fmla="*/ 1915413 w 1984332"/>
                    <a:gd name="connsiteY229" fmla="*/ 840091 h 1520187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88425 w 1984332"/>
                    <a:gd name="connsiteY13" fmla="*/ 449600 h 1520187"/>
                    <a:gd name="connsiteX14" fmla="*/ 1357168 w 1984332"/>
                    <a:gd name="connsiteY14" fmla="*/ 551100 h 1520187"/>
                    <a:gd name="connsiteX15" fmla="*/ 1330708 w 1984332"/>
                    <a:gd name="connsiteY15" fmla="*/ 631749 h 1520187"/>
                    <a:gd name="connsiteX16" fmla="*/ 1250059 w 1984332"/>
                    <a:gd name="connsiteY16" fmla="*/ 665352 h 1520187"/>
                    <a:gd name="connsiteX17" fmla="*/ 1135806 w 1984332"/>
                    <a:gd name="connsiteY17" fmla="*/ 551100 h 1520187"/>
                    <a:gd name="connsiteX18" fmla="*/ 1209734 w 1984332"/>
                    <a:gd name="connsiteY18" fmla="*/ 443568 h 1520187"/>
                    <a:gd name="connsiteX19" fmla="*/ 1223176 w 1984332"/>
                    <a:gd name="connsiteY19" fmla="*/ 423406 h 1520187"/>
                    <a:gd name="connsiteX20" fmla="*/ 1223176 w 1984332"/>
                    <a:gd name="connsiteY20" fmla="*/ 349478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182852 w 1984332"/>
                    <a:gd name="connsiteY23" fmla="*/ 336037 h 1520187"/>
                    <a:gd name="connsiteX24" fmla="*/ 1182852 w 1984332"/>
                    <a:gd name="connsiteY24" fmla="*/ 336037 h 1520187"/>
                    <a:gd name="connsiteX25" fmla="*/ 8266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497335 w 1984332"/>
                    <a:gd name="connsiteY28" fmla="*/ 336037 h 1520187"/>
                    <a:gd name="connsiteX29" fmla="*/ 497335 w 1984332"/>
                    <a:gd name="connsiteY29" fmla="*/ 295712 h 1520187"/>
                    <a:gd name="connsiteX30" fmla="*/ 584705 w 1984332"/>
                    <a:gd name="connsiteY30" fmla="*/ 154577 h 1520187"/>
                    <a:gd name="connsiteX31" fmla="*/ 537660 w 1984332"/>
                    <a:gd name="connsiteY31" fmla="*/ 47045 h 1520187"/>
                    <a:gd name="connsiteX32" fmla="*/ 423407 w 1984332"/>
                    <a:gd name="connsiteY32" fmla="*/ 0 h 1520187"/>
                    <a:gd name="connsiteX33" fmla="*/ 423407 w 1984332"/>
                    <a:gd name="connsiteY33" fmla="*/ 0 h 1520187"/>
                    <a:gd name="connsiteX34" fmla="*/ 268830 w 1984332"/>
                    <a:gd name="connsiteY34" fmla="*/ 154577 h 1520187"/>
                    <a:gd name="connsiteX35" fmla="*/ 349479 w 1984332"/>
                    <a:gd name="connsiteY35" fmla="*/ 288991 h 1520187"/>
                    <a:gd name="connsiteX36" fmla="*/ 349479 w 1984332"/>
                    <a:gd name="connsiteY36" fmla="*/ 329316 h 1520187"/>
                    <a:gd name="connsiteX37" fmla="*/ 20162 w 1984332"/>
                    <a:gd name="connsiteY37" fmla="*/ 336037 h 1520187"/>
                    <a:gd name="connsiteX38" fmla="*/ 0 w 1984332"/>
                    <a:gd name="connsiteY38" fmla="*/ 356199 h 1520187"/>
                    <a:gd name="connsiteX39" fmla="*/ 0 w 1984332"/>
                    <a:gd name="connsiteY39" fmla="*/ 698956 h 1520187"/>
                    <a:gd name="connsiteX40" fmla="*/ 20162 w 1984332"/>
                    <a:gd name="connsiteY40" fmla="*/ 719118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94090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120973 w 1984332"/>
                    <a:gd name="connsiteY46" fmla="*/ 705677 h 1520187"/>
                    <a:gd name="connsiteX47" fmla="*/ 221785 w 1984332"/>
                    <a:gd name="connsiteY47" fmla="*/ 638469 h 1520187"/>
                    <a:gd name="connsiteX48" fmla="*/ 221785 w 1984332"/>
                    <a:gd name="connsiteY48" fmla="*/ 638469 h 1520187"/>
                    <a:gd name="connsiteX49" fmla="*/ 336037 w 1984332"/>
                    <a:gd name="connsiteY49" fmla="*/ 752722 h 1520187"/>
                    <a:gd name="connsiteX50" fmla="*/ 221785 w 1984332"/>
                    <a:gd name="connsiteY50" fmla="*/ 873695 h 1520187"/>
                    <a:gd name="connsiteX51" fmla="*/ 221785 w 1984332"/>
                    <a:gd name="connsiteY51" fmla="*/ 873695 h 1520187"/>
                    <a:gd name="connsiteX52" fmla="*/ 114253 w 1984332"/>
                    <a:gd name="connsiteY52" fmla="*/ 799767 h 1520187"/>
                    <a:gd name="connsiteX53" fmla="*/ 94090 w 1984332"/>
                    <a:gd name="connsiteY53" fmla="*/ 786325 h 1520187"/>
                    <a:gd name="connsiteX54" fmla="*/ 20162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0 w 1984332"/>
                    <a:gd name="connsiteY59" fmla="*/ 806488 h 1520187"/>
                    <a:gd name="connsiteX60" fmla="*/ 0 w 1984332"/>
                    <a:gd name="connsiteY60" fmla="*/ 1162686 h 1520187"/>
                    <a:gd name="connsiteX61" fmla="*/ 20162 w 1984332"/>
                    <a:gd name="connsiteY61" fmla="*/ 1182849 h 1520187"/>
                    <a:gd name="connsiteX62" fmla="*/ 20162 w 1984332"/>
                    <a:gd name="connsiteY62" fmla="*/ 1182849 h 1520187"/>
                    <a:gd name="connsiteX63" fmla="*/ 356200 w 1984332"/>
                    <a:gd name="connsiteY63" fmla="*/ 1182849 h 1520187"/>
                    <a:gd name="connsiteX64" fmla="*/ 356200 w 1984332"/>
                    <a:gd name="connsiteY64" fmla="*/ 1223173 h 1520187"/>
                    <a:gd name="connsiteX65" fmla="*/ 268830 w 1984332"/>
                    <a:gd name="connsiteY65" fmla="*/ 1364308 h 1520187"/>
                    <a:gd name="connsiteX66" fmla="*/ 315875 w 1984332"/>
                    <a:gd name="connsiteY66" fmla="*/ 1471840 h 1520187"/>
                    <a:gd name="connsiteX67" fmla="*/ 423407 w 1984332"/>
                    <a:gd name="connsiteY67" fmla="*/ 1518885 h 1520187"/>
                    <a:gd name="connsiteX68" fmla="*/ 423407 w 1984332"/>
                    <a:gd name="connsiteY68" fmla="*/ 1518885 h 1520187"/>
                    <a:gd name="connsiteX69" fmla="*/ 537660 w 1984332"/>
                    <a:gd name="connsiteY69" fmla="*/ 1478561 h 1520187"/>
                    <a:gd name="connsiteX70" fmla="*/ 584705 w 1984332"/>
                    <a:gd name="connsiteY70" fmla="*/ 1371029 h 1520187"/>
                    <a:gd name="connsiteX71" fmla="*/ 510777 w 1984332"/>
                    <a:gd name="connsiteY71" fmla="*/ 1236614 h 1520187"/>
                    <a:gd name="connsiteX72" fmla="*/ 510777 w 1984332"/>
                    <a:gd name="connsiteY72" fmla="*/ 1189569 h 1520187"/>
                    <a:gd name="connsiteX73" fmla="*/ 833373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1189572 w 1984332"/>
                    <a:gd name="connsiteY76" fmla="*/ 1189569 h 1520187"/>
                    <a:gd name="connsiteX77" fmla="*/ 1203014 w 1984332"/>
                    <a:gd name="connsiteY77" fmla="*/ 1182849 h 1520187"/>
                    <a:gd name="connsiteX78" fmla="*/ 1209734 w 1984332"/>
                    <a:gd name="connsiteY78" fmla="*/ 1169407 h 1520187"/>
                    <a:gd name="connsiteX79" fmla="*/ 1209734 w 1984332"/>
                    <a:gd name="connsiteY79" fmla="*/ 1095479 h 1520187"/>
                    <a:gd name="connsiteX80" fmla="*/ 1196293 w 1984332"/>
                    <a:gd name="connsiteY80" fmla="*/ 1075317 h 1520187"/>
                    <a:gd name="connsiteX81" fmla="*/ 1122365 w 1984332"/>
                    <a:gd name="connsiteY81" fmla="*/ 967785 h 1520187"/>
                    <a:gd name="connsiteX82" fmla="*/ 1155969 w 1984332"/>
                    <a:gd name="connsiteY82" fmla="*/ 887136 h 1520187"/>
                    <a:gd name="connsiteX83" fmla="*/ 1236617 w 1984332"/>
                    <a:gd name="connsiteY83" fmla="*/ 853533 h 1520187"/>
                    <a:gd name="connsiteX84" fmla="*/ 1236617 w 1984332"/>
                    <a:gd name="connsiteY84" fmla="*/ 853533 h 1520187"/>
                    <a:gd name="connsiteX85" fmla="*/ 1317266 w 1984332"/>
                    <a:gd name="connsiteY85" fmla="*/ 887136 h 1520187"/>
                    <a:gd name="connsiteX86" fmla="*/ 1350870 w 1984332"/>
                    <a:gd name="connsiteY86" fmla="*/ 967785 h 1520187"/>
                    <a:gd name="connsiteX87" fmla="*/ 1283663 w 1984332"/>
                    <a:gd name="connsiteY87" fmla="*/ 1068596 h 1520187"/>
                    <a:gd name="connsiteX88" fmla="*/ 1270221 w 1984332"/>
                    <a:gd name="connsiteY88" fmla="*/ 1088758 h 1520187"/>
                    <a:gd name="connsiteX89" fmla="*/ 1270221 w 1984332"/>
                    <a:gd name="connsiteY89" fmla="*/ 1162686 h 1520187"/>
                    <a:gd name="connsiteX90" fmla="*/ 1276942 w 1984332"/>
                    <a:gd name="connsiteY90" fmla="*/ 1176128 h 1520187"/>
                    <a:gd name="connsiteX91" fmla="*/ 1290383 w 1984332"/>
                    <a:gd name="connsiteY91" fmla="*/ 1182849 h 1520187"/>
                    <a:gd name="connsiteX92" fmla="*/ 1290383 w 1984332"/>
                    <a:gd name="connsiteY92" fmla="*/ 1182849 h 1520187"/>
                    <a:gd name="connsiteX93" fmla="*/ 1633141 w 1984332"/>
                    <a:gd name="connsiteY93" fmla="*/ 1182849 h 1520187"/>
                    <a:gd name="connsiteX94" fmla="*/ 1653304 w 1984332"/>
                    <a:gd name="connsiteY94" fmla="*/ 1162686 h 1520187"/>
                    <a:gd name="connsiteX95" fmla="*/ 1653304 w 1984332"/>
                    <a:gd name="connsiteY95" fmla="*/ 833371 h 1520187"/>
                    <a:gd name="connsiteX96" fmla="*/ 1693628 w 1984332"/>
                    <a:gd name="connsiteY96" fmla="*/ 833371 h 1520187"/>
                    <a:gd name="connsiteX97" fmla="*/ 1828043 w 1984332"/>
                    <a:gd name="connsiteY97" fmla="*/ 914019 h 1520187"/>
                    <a:gd name="connsiteX98" fmla="*/ 1828043 w 1984332"/>
                    <a:gd name="connsiteY98" fmla="*/ 914019 h 1520187"/>
                    <a:gd name="connsiteX99" fmla="*/ 1935575 w 1984332"/>
                    <a:gd name="connsiteY99" fmla="*/ 866974 h 1520187"/>
                    <a:gd name="connsiteX100" fmla="*/ 1982620 w 1984332"/>
                    <a:gd name="connsiteY100" fmla="*/ 759443 h 1520187"/>
                    <a:gd name="connsiteX101" fmla="*/ 1949017 w 1984332"/>
                    <a:gd name="connsiteY101" fmla="*/ 645190 h 1520187"/>
                    <a:gd name="connsiteX102" fmla="*/ 483894 w 1984332"/>
                    <a:gd name="connsiteY102" fmla="*/ 1142524 h 1520187"/>
                    <a:gd name="connsiteX103" fmla="*/ 463732 w 1984332"/>
                    <a:gd name="connsiteY103" fmla="*/ 1162686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236614 h 1520187"/>
                    <a:gd name="connsiteX107" fmla="*/ 463732 w 1984332"/>
                    <a:gd name="connsiteY107" fmla="*/ 1236614 h 1520187"/>
                    <a:gd name="connsiteX108" fmla="*/ 477173 w 1984332"/>
                    <a:gd name="connsiteY108" fmla="*/ 1263497 h 1520187"/>
                    <a:gd name="connsiteX109" fmla="*/ 544381 w 1984332"/>
                    <a:gd name="connsiteY109" fmla="*/ 1364308 h 1520187"/>
                    <a:gd name="connsiteX110" fmla="*/ 510777 w 1984332"/>
                    <a:gd name="connsiteY110" fmla="*/ 1444957 h 1520187"/>
                    <a:gd name="connsiteX111" fmla="*/ 423407 w 1984332"/>
                    <a:gd name="connsiteY111" fmla="*/ 1478561 h 1520187"/>
                    <a:gd name="connsiteX112" fmla="*/ 423407 w 1984332"/>
                    <a:gd name="connsiteY112" fmla="*/ 1478561 h 1520187"/>
                    <a:gd name="connsiteX113" fmla="*/ 342758 w 1984332"/>
                    <a:gd name="connsiteY113" fmla="*/ 1444957 h 1520187"/>
                    <a:gd name="connsiteX114" fmla="*/ 309154 w 1984332"/>
                    <a:gd name="connsiteY114" fmla="*/ 1364308 h 1520187"/>
                    <a:gd name="connsiteX115" fmla="*/ 383083 w 1984332"/>
                    <a:gd name="connsiteY115" fmla="*/ 1256777 h 1520187"/>
                    <a:gd name="connsiteX116" fmla="*/ 396524 w 1984332"/>
                    <a:gd name="connsiteY116" fmla="*/ 1236614 h 1520187"/>
                    <a:gd name="connsiteX117" fmla="*/ 396524 w 1984332"/>
                    <a:gd name="connsiteY117" fmla="*/ 1162686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76362 w 1984332"/>
                    <a:gd name="connsiteY120" fmla="*/ 1142524 h 1520187"/>
                    <a:gd name="connsiteX121" fmla="*/ 376362 w 1984332"/>
                    <a:gd name="connsiteY121" fmla="*/ 1142524 h 1520187"/>
                    <a:gd name="connsiteX122" fmla="*/ 40324 w 1984332"/>
                    <a:gd name="connsiteY122" fmla="*/ 1142524 h 1520187"/>
                    <a:gd name="connsiteX123" fmla="*/ 40324 w 1984332"/>
                    <a:gd name="connsiteY123" fmla="*/ 833371 h 1520187"/>
                    <a:gd name="connsiteX124" fmla="*/ 80649 w 1984332"/>
                    <a:gd name="connsiteY124" fmla="*/ 833371 h 1520187"/>
                    <a:gd name="connsiteX125" fmla="*/ 221785 w 1984332"/>
                    <a:gd name="connsiteY125" fmla="*/ 920740 h 1520187"/>
                    <a:gd name="connsiteX126" fmla="*/ 221785 w 1984332"/>
                    <a:gd name="connsiteY126" fmla="*/ 920740 h 1520187"/>
                    <a:gd name="connsiteX127" fmla="*/ 376362 w 1984332"/>
                    <a:gd name="connsiteY127" fmla="*/ 766163 h 1520187"/>
                    <a:gd name="connsiteX128" fmla="*/ 221785 w 1984332"/>
                    <a:gd name="connsiteY128" fmla="*/ 604866 h 1520187"/>
                    <a:gd name="connsiteX129" fmla="*/ 221785 w 1984332"/>
                    <a:gd name="connsiteY129" fmla="*/ 604866 h 1520187"/>
                    <a:gd name="connsiteX130" fmla="*/ 87370 w 1984332"/>
                    <a:gd name="connsiteY130" fmla="*/ 678794 h 1520187"/>
                    <a:gd name="connsiteX131" fmla="*/ 40324 w 1984332"/>
                    <a:gd name="connsiteY131" fmla="*/ 678794 h 1520187"/>
                    <a:gd name="connsiteX132" fmla="*/ 40324 w 1984332"/>
                    <a:gd name="connsiteY132" fmla="*/ 376361 h 1520187"/>
                    <a:gd name="connsiteX133" fmla="*/ 369641 w 1984332"/>
                    <a:gd name="connsiteY133" fmla="*/ 376361 h 1520187"/>
                    <a:gd name="connsiteX134" fmla="*/ 383083 w 1984332"/>
                    <a:gd name="connsiteY134" fmla="*/ 369640 h 1520187"/>
                    <a:gd name="connsiteX135" fmla="*/ 389803 w 1984332"/>
                    <a:gd name="connsiteY135" fmla="*/ 356199 h 1520187"/>
                    <a:gd name="connsiteX136" fmla="*/ 389803 w 1984332"/>
                    <a:gd name="connsiteY136" fmla="*/ 275550 h 1520187"/>
                    <a:gd name="connsiteX137" fmla="*/ 376362 w 1984332"/>
                    <a:gd name="connsiteY137" fmla="*/ 255388 h 1520187"/>
                    <a:gd name="connsiteX138" fmla="*/ 309154 w 1984332"/>
                    <a:gd name="connsiteY138" fmla="*/ 154577 h 1520187"/>
                    <a:gd name="connsiteX139" fmla="*/ 423407 w 1984332"/>
                    <a:gd name="connsiteY139" fmla="*/ 40324 h 1520187"/>
                    <a:gd name="connsiteX140" fmla="*/ 504056 w 1984332"/>
                    <a:gd name="connsiteY140" fmla="*/ 73928 h 1520187"/>
                    <a:gd name="connsiteX141" fmla="*/ 537660 w 1984332"/>
                    <a:gd name="connsiteY141" fmla="*/ 154577 h 1520187"/>
                    <a:gd name="connsiteX142" fmla="*/ 470452 w 1984332"/>
                    <a:gd name="connsiteY142" fmla="*/ 262109 h 1520187"/>
                    <a:gd name="connsiteX143" fmla="*/ 457011 w 1984332"/>
                    <a:gd name="connsiteY143" fmla="*/ 282271 h 1520187"/>
                    <a:gd name="connsiteX144" fmla="*/ 457011 w 1984332"/>
                    <a:gd name="connsiteY144" fmla="*/ 362919 h 1520187"/>
                    <a:gd name="connsiteX145" fmla="*/ 477173 w 1984332"/>
                    <a:gd name="connsiteY145" fmla="*/ 383082 h 1520187"/>
                    <a:gd name="connsiteX146" fmla="*/ 477173 w 1984332"/>
                    <a:gd name="connsiteY146" fmla="*/ 383082 h 1520187"/>
                    <a:gd name="connsiteX147" fmla="*/ 806490 w 1984332"/>
                    <a:gd name="connsiteY147" fmla="*/ 383082 h 1520187"/>
                    <a:gd name="connsiteX148" fmla="*/ 806490 w 1984332"/>
                    <a:gd name="connsiteY148" fmla="*/ 631749 h 1520187"/>
                    <a:gd name="connsiteX149" fmla="*/ 806490 w 1984332"/>
                    <a:gd name="connsiteY149" fmla="*/ 685515 h 1520187"/>
                    <a:gd name="connsiteX150" fmla="*/ 766165 w 1984332"/>
                    <a:gd name="connsiteY150" fmla="*/ 685515 h 1520187"/>
                    <a:gd name="connsiteX151" fmla="*/ 631750 w 1984332"/>
                    <a:gd name="connsiteY151" fmla="*/ 604866 h 1520187"/>
                    <a:gd name="connsiteX152" fmla="*/ 631750 w 1984332"/>
                    <a:gd name="connsiteY152" fmla="*/ 604866 h 1520187"/>
                    <a:gd name="connsiteX153" fmla="*/ 517497 w 1984332"/>
                    <a:gd name="connsiteY153" fmla="*/ 651911 h 1520187"/>
                    <a:gd name="connsiteX154" fmla="*/ 470452 w 1984332"/>
                    <a:gd name="connsiteY154" fmla="*/ 759443 h 1520187"/>
                    <a:gd name="connsiteX155" fmla="*/ 517497 w 1984332"/>
                    <a:gd name="connsiteY155" fmla="*/ 866974 h 1520187"/>
                    <a:gd name="connsiteX156" fmla="*/ 625029 w 1984332"/>
                    <a:gd name="connsiteY156" fmla="*/ 914019 h 1520187"/>
                    <a:gd name="connsiteX157" fmla="*/ 625029 w 1984332"/>
                    <a:gd name="connsiteY157" fmla="*/ 914019 h 1520187"/>
                    <a:gd name="connsiteX158" fmla="*/ 766165 w 1984332"/>
                    <a:gd name="connsiteY158" fmla="*/ 826650 h 1520187"/>
                    <a:gd name="connsiteX159" fmla="*/ 799769 w 1984332"/>
                    <a:gd name="connsiteY159" fmla="*/ 826650 h 1520187"/>
                    <a:gd name="connsiteX160" fmla="*/ 799769 w 1984332"/>
                    <a:gd name="connsiteY160" fmla="*/ 1135803 h 1520187"/>
                    <a:gd name="connsiteX161" fmla="*/ 483894 w 1984332"/>
                    <a:gd name="connsiteY161" fmla="*/ 1142524 h 1520187"/>
                    <a:gd name="connsiteX162" fmla="*/ 1915413 w 1984332"/>
                    <a:gd name="connsiteY162" fmla="*/ 840091 h 1520187"/>
                    <a:gd name="connsiteX163" fmla="*/ 1834764 w 1984332"/>
                    <a:gd name="connsiteY163" fmla="*/ 873695 h 1520187"/>
                    <a:gd name="connsiteX164" fmla="*/ 1834764 w 1984332"/>
                    <a:gd name="connsiteY164" fmla="*/ 873695 h 1520187"/>
                    <a:gd name="connsiteX165" fmla="*/ 1733953 w 1984332"/>
                    <a:gd name="connsiteY165" fmla="*/ 806488 h 1520187"/>
                    <a:gd name="connsiteX166" fmla="*/ 1713790 w 1984332"/>
                    <a:gd name="connsiteY166" fmla="*/ 793046 h 1520187"/>
                    <a:gd name="connsiteX167" fmla="*/ 1713790 w 1984332"/>
                    <a:gd name="connsiteY167" fmla="*/ 793046 h 1520187"/>
                    <a:gd name="connsiteX168" fmla="*/ 1633141 w 1984332"/>
                    <a:gd name="connsiteY168" fmla="*/ 793046 h 1520187"/>
                    <a:gd name="connsiteX169" fmla="*/ 1612979 w 1984332"/>
                    <a:gd name="connsiteY169" fmla="*/ 813208 h 1520187"/>
                    <a:gd name="connsiteX170" fmla="*/ 1612979 w 1984332"/>
                    <a:gd name="connsiteY170" fmla="*/ 1142524 h 1520187"/>
                    <a:gd name="connsiteX171" fmla="*/ 1310546 w 1984332"/>
                    <a:gd name="connsiteY171" fmla="*/ 1142524 h 1520187"/>
                    <a:gd name="connsiteX172" fmla="*/ 1310546 w 1984332"/>
                    <a:gd name="connsiteY172" fmla="*/ 1102200 h 1520187"/>
                    <a:gd name="connsiteX173" fmla="*/ 1384474 w 1984332"/>
                    <a:gd name="connsiteY173" fmla="*/ 967785 h 1520187"/>
                    <a:gd name="connsiteX174" fmla="*/ 1337429 w 1984332"/>
                    <a:gd name="connsiteY174" fmla="*/ 860254 h 1520187"/>
                    <a:gd name="connsiteX175" fmla="*/ 1229897 w 1984332"/>
                    <a:gd name="connsiteY175" fmla="*/ 813208 h 1520187"/>
                    <a:gd name="connsiteX176" fmla="*/ 1229897 w 1984332"/>
                    <a:gd name="connsiteY176" fmla="*/ 813208 h 1520187"/>
                    <a:gd name="connsiteX177" fmla="*/ 1122365 w 1984332"/>
                    <a:gd name="connsiteY177" fmla="*/ 860254 h 1520187"/>
                    <a:gd name="connsiteX178" fmla="*/ 1075320 w 1984332"/>
                    <a:gd name="connsiteY178" fmla="*/ 967785 h 1520187"/>
                    <a:gd name="connsiteX179" fmla="*/ 1162689 w 1984332"/>
                    <a:gd name="connsiteY179" fmla="*/ 1108921 h 1520187"/>
                    <a:gd name="connsiteX180" fmla="*/ 1162689 w 1984332"/>
                    <a:gd name="connsiteY180" fmla="*/ 1142524 h 1520187"/>
                    <a:gd name="connsiteX181" fmla="*/ 853535 w 1984332"/>
                    <a:gd name="connsiteY181" fmla="*/ 1142524 h 1520187"/>
                    <a:gd name="connsiteX182" fmla="*/ 853535 w 1984332"/>
                    <a:gd name="connsiteY182" fmla="*/ 819929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06488 h 1520187"/>
                    <a:gd name="connsiteX185" fmla="*/ 846814 w 1984332"/>
                    <a:gd name="connsiteY185" fmla="*/ 793046 h 1520187"/>
                    <a:gd name="connsiteX186" fmla="*/ 833373 w 1984332"/>
                    <a:gd name="connsiteY186" fmla="*/ 786325 h 1520187"/>
                    <a:gd name="connsiteX187" fmla="*/ 833373 w 1984332"/>
                    <a:gd name="connsiteY187" fmla="*/ 786325 h 1520187"/>
                    <a:gd name="connsiteX188" fmla="*/ 759444 w 1984332"/>
                    <a:gd name="connsiteY188" fmla="*/ 786325 h 1520187"/>
                    <a:gd name="connsiteX189" fmla="*/ 739282 w 1984332"/>
                    <a:gd name="connsiteY189" fmla="*/ 799767 h 1520187"/>
                    <a:gd name="connsiteX190" fmla="*/ 631750 w 1984332"/>
                    <a:gd name="connsiteY190" fmla="*/ 873695 h 1520187"/>
                    <a:gd name="connsiteX191" fmla="*/ 631750 w 1984332"/>
                    <a:gd name="connsiteY191" fmla="*/ 873695 h 1520187"/>
                    <a:gd name="connsiteX192" fmla="*/ 551101 w 1984332"/>
                    <a:gd name="connsiteY192" fmla="*/ 840091 h 1520187"/>
                    <a:gd name="connsiteX193" fmla="*/ 517497 w 1984332"/>
                    <a:gd name="connsiteY193" fmla="*/ 759443 h 1520187"/>
                    <a:gd name="connsiteX194" fmla="*/ 551101 w 1984332"/>
                    <a:gd name="connsiteY194" fmla="*/ 678794 h 1520187"/>
                    <a:gd name="connsiteX195" fmla="*/ 631750 w 1984332"/>
                    <a:gd name="connsiteY195" fmla="*/ 645190 h 1520187"/>
                    <a:gd name="connsiteX196" fmla="*/ 631750 w 1984332"/>
                    <a:gd name="connsiteY196" fmla="*/ 645190 h 1520187"/>
                    <a:gd name="connsiteX197" fmla="*/ 732561 w 1984332"/>
                    <a:gd name="connsiteY197" fmla="*/ 712397 h 1520187"/>
                    <a:gd name="connsiteX198" fmla="*/ 752724 w 1984332"/>
                    <a:gd name="connsiteY198" fmla="*/ 725839 h 1520187"/>
                    <a:gd name="connsiteX199" fmla="*/ 752724 w 1984332"/>
                    <a:gd name="connsiteY199" fmla="*/ 725839 h 1520187"/>
                    <a:gd name="connsiteX200" fmla="*/ 826652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40093 w 1984332"/>
                    <a:gd name="connsiteY202" fmla="*/ 719118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6814 w 1984332"/>
                    <a:gd name="connsiteY205" fmla="*/ 705677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383082 h 1520187"/>
                    <a:gd name="connsiteX210" fmla="*/ 1155969 w 1984332"/>
                    <a:gd name="connsiteY210" fmla="*/ 383082 h 1520187"/>
                    <a:gd name="connsiteX211" fmla="*/ 1155969 w 1984332"/>
                    <a:gd name="connsiteY211" fmla="*/ 423406 h 1520187"/>
                    <a:gd name="connsiteX212" fmla="*/ 1084846 w 1984332"/>
                    <a:gd name="connsiteY212" fmla="*/ 555440 h 1520187"/>
                    <a:gd name="connsiteX213" fmla="*/ 1139409 w 1984332"/>
                    <a:gd name="connsiteY213" fmla="*/ 664773 h 1520187"/>
                    <a:gd name="connsiteX214" fmla="*/ 1241803 w 1984332"/>
                    <a:gd name="connsiteY214" fmla="*/ 712400 h 1520187"/>
                    <a:gd name="connsiteX215" fmla="*/ 1354098 w 1984332"/>
                    <a:gd name="connsiteY215" fmla="*/ 670115 h 1520187"/>
                    <a:gd name="connsiteX216" fmla="*/ 1396380 w 1984332"/>
                    <a:gd name="connsiteY216" fmla="*/ 553058 h 1520187"/>
                    <a:gd name="connsiteX217" fmla="*/ 1310546 w 1984332"/>
                    <a:gd name="connsiteY217" fmla="*/ 423406 h 1520187"/>
                    <a:gd name="connsiteX218" fmla="*/ 1310546 w 1984332"/>
                    <a:gd name="connsiteY218" fmla="*/ 376361 h 1520187"/>
                    <a:gd name="connsiteX219" fmla="*/ 1612979 w 1984332"/>
                    <a:gd name="connsiteY219" fmla="*/ 376361 h 1520187"/>
                    <a:gd name="connsiteX220" fmla="*/ 1612979 w 1984332"/>
                    <a:gd name="connsiteY220" fmla="*/ 705677 h 1520187"/>
                    <a:gd name="connsiteX221" fmla="*/ 1633141 w 1984332"/>
                    <a:gd name="connsiteY221" fmla="*/ 725839 h 1520187"/>
                    <a:gd name="connsiteX222" fmla="*/ 1633141 w 1984332"/>
                    <a:gd name="connsiteY222" fmla="*/ 725839 h 1520187"/>
                    <a:gd name="connsiteX223" fmla="*/ 1713790 w 1984332"/>
                    <a:gd name="connsiteY223" fmla="*/ 725839 h 1520187"/>
                    <a:gd name="connsiteX224" fmla="*/ 1733953 w 1984332"/>
                    <a:gd name="connsiteY224" fmla="*/ 712397 h 1520187"/>
                    <a:gd name="connsiteX225" fmla="*/ 1834764 w 1984332"/>
                    <a:gd name="connsiteY225" fmla="*/ 645190 h 1520187"/>
                    <a:gd name="connsiteX226" fmla="*/ 1834764 w 1984332"/>
                    <a:gd name="connsiteY226" fmla="*/ 645190 h 1520187"/>
                    <a:gd name="connsiteX227" fmla="*/ 1915413 w 1984332"/>
                    <a:gd name="connsiteY227" fmla="*/ 678794 h 1520187"/>
                    <a:gd name="connsiteX228" fmla="*/ 1949017 w 1984332"/>
                    <a:gd name="connsiteY228" fmla="*/ 759443 h 1520187"/>
                    <a:gd name="connsiteX229" fmla="*/ 1915413 w 1984332"/>
                    <a:gd name="connsiteY229" fmla="*/ 840091 h 1520187"/>
                    <a:gd name="connsiteX0" fmla="*/ 1949017 w 1984332"/>
                    <a:gd name="connsiteY0" fmla="*/ 645190 h 1520187"/>
                    <a:gd name="connsiteX1" fmla="*/ 1841485 w 1984332"/>
                    <a:gd name="connsiteY1" fmla="*/ 598145 h 1520187"/>
                    <a:gd name="connsiteX2" fmla="*/ 1841485 w 1984332"/>
                    <a:gd name="connsiteY2" fmla="*/ 598145 h 1520187"/>
                    <a:gd name="connsiteX3" fmla="*/ 1707070 w 1984332"/>
                    <a:gd name="connsiteY3" fmla="*/ 678794 h 1520187"/>
                    <a:gd name="connsiteX4" fmla="*/ 1666745 w 1984332"/>
                    <a:gd name="connsiteY4" fmla="*/ 678794 h 1520187"/>
                    <a:gd name="connsiteX5" fmla="*/ 1666745 w 1984332"/>
                    <a:gd name="connsiteY5" fmla="*/ 349478 h 1520187"/>
                    <a:gd name="connsiteX6" fmla="*/ 1646583 w 1984332"/>
                    <a:gd name="connsiteY6" fmla="*/ 329316 h 1520187"/>
                    <a:gd name="connsiteX7" fmla="*/ 1646583 w 1984332"/>
                    <a:gd name="connsiteY7" fmla="*/ 329316 h 1520187"/>
                    <a:gd name="connsiteX8" fmla="*/ 1303825 w 1984332"/>
                    <a:gd name="connsiteY8" fmla="*/ 329316 h 1520187"/>
                    <a:gd name="connsiteX9" fmla="*/ 1283663 w 1984332"/>
                    <a:gd name="connsiteY9" fmla="*/ 349478 h 1520187"/>
                    <a:gd name="connsiteX10" fmla="*/ 1283663 w 1984332"/>
                    <a:gd name="connsiteY10" fmla="*/ 349478 h 1520187"/>
                    <a:gd name="connsiteX11" fmla="*/ 1283663 w 1984332"/>
                    <a:gd name="connsiteY11" fmla="*/ 349478 h 1520187"/>
                    <a:gd name="connsiteX12" fmla="*/ 1283663 w 1984332"/>
                    <a:gd name="connsiteY12" fmla="*/ 423406 h 1520187"/>
                    <a:gd name="connsiteX13" fmla="*/ 1288425 w 1984332"/>
                    <a:gd name="connsiteY13" fmla="*/ 449600 h 1520187"/>
                    <a:gd name="connsiteX14" fmla="*/ 1357168 w 1984332"/>
                    <a:gd name="connsiteY14" fmla="*/ 551100 h 1520187"/>
                    <a:gd name="connsiteX15" fmla="*/ 1330708 w 1984332"/>
                    <a:gd name="connsiteY15" fmla="*/ 631749 h 1520187"/>
                    <a:gd name="connsiteX16" fmla="*/ 1250059 w 1984332"/>
                    <a:gd name="connsiteY16" fmla="*/ 665352 h 1520187"/>
                    <a:gd name="connsiteX17" fmla="*/ 1135806 w 1984332"/>
                    <a:gd name="connsiteY17" fmla="*/ 551100 h 1520187"/>
                    <a:gd name="connsiteX18" fmla="*/ 1209734 w 1984332"/>
                    <a:gd name="connsiteY18" fmla="*/ 443568 h 1520187"/>
                    <a:gd name="connsiteX19" fmla="*/ 1223176 w 1984332"/>
                    <a:gd name="connsiteY19" fmla="*/ 423406 h 1520187"/>
                    <a:gd name="connsiteX20" fmla="*/ 1223176 w 1984332"/>
                    <a:gd name="connsiteY20" fmla="*/ 349478 h 1520187"/>
                    <a:gd name="connsiteX21" fmla="*/ 1223176 w 1984332"/>
                    <a:gd name="connsiteY21" fmla="*/ 349478 h 1520187"/>
                    <a:gd name="connsiteX22" fmla="*/ 1223176 w 1984332"/>
                    <a:gd name="connsiteY22" fmla="*/ 349478 h 1520187"/>
                    <a:gd name="connsiteX23" fmla="*/ 1182852 w 1984332"/>
                    <a:gd name="connsiteY23" fmla="*/ 336037 h 1520187"/>
                    <a:gd name="connsiteX24" fmla="*/ 1182852 w 1984332"/>
                    <a:gd name="connsiteY24" fmla="*/ 336037 h 1520187"/>
                    <a:gd name="connsiteX25" fmla="*/ 826652 w 1984332"/>
                    <a:gd name="connsiteY25" fmla="*/ 336037 h 1520187"/>
                    <a:gd name="connsiteX26" fmla="*/ 826652 w 1984332"/>
                    <a:gd name="connsiteY26" fmla="*/ 336037 h 1520187"/>
                    <a:gd name="connsiteX27" fmla="*/ 826652 w 1984332"/>
                    <a:gd name="connsiteY27" fmla="*/ 336037 h 1520187"/>
                    <a:gd name="connsiteX28" fmla="*/ 497335 w 1984332"/>
                    <a:gd name="connsiteY28" fmla="*/ 336037 h 1520187"/>
                    <a:gd name="connsiteX29" fmla="*/ 497335 w 1984332"/>
                    <a:gd name="connsiteY29" fmla="*/ 295712 h 1520187"/>
                    <a:gd name="connsiteX30" fmla="*/ 584705 w 1984332"/>
                    <a:gd name="connsiteY30" fmla="*/ 154577 h 1520187"/>
                    <a:gd name="connsiteX31" fmla="*/ 537660 w 1984332"/>
                    <a:gd name="connsiteY31" fmla="*/ 47045 h 1520187"/>
                    <a:gd name="connsiteX32" fmla="*/ 423407 w 1984332"/>
                    <a:gd name="connsiteY32" fmla="*/ 0 h 1520187"/>
                    <a:gd name="connsiteX33" fmla="*/ 423407 w 1984332"/>
                    <a:gd name="connsiteY33" fmla="*/ 0 h 1520187"/>
                    <a:gd name="connsiteX34" fmla="*/ 268830 w 1984332"/>
                    <a:gd name="connsiteY34" fmla="*/ 154577 h 1520187"/>
                    <a:gd name="connsiteX35" fmla="*/ 349479 w 1984332"/>
                    <a:gd name="connsiteY35" fmla="*/ 288991 h 1520187"/>
                    <a:gd name="connsiteX36" fmla="*/ 349479 w 1984332"/>
                    <a:gd name="connsiteY36" fmla="*/ 329316 h 1520187"/>
                    <a:gd name="connsiteX37" fmla="*/ 20162 w 1984332"/>
                    <a:gd name="connsiteY37" fmla="*/ 336037 h 1520187"/>
                    <a:gd name="connsiteX38" fmla="*/ 0 w 1984332"/>
                    <a:gd name="connsiteY38" fmla="*/ 356199 h 1520187"/>
                    <a:gd name="connsiteX39" fmla="*/ 0 w 1984332"/>
                    <a:gd name="connsiteY39" fmla="*/ 698956 h 1520187"/>
                    <a:gd name="connsiteX40" fmla="*/ 20162 w 1984332"/>
                    <a:gd name="connsiteY40" fmla="*/ 719118 h 1520187"/>
                    <a:gd name="connsiteX41" fmla="*/ 20162 w 1984332"/>
                    <a:gd name="connsiteY41" fmla="*/ 719118 h 1520187"/>
                    <a:gd name="connsiteX42" fmla="*/ 20162 w 1984332"/>
                    <a:gd name="connsiteY42" fmla="*/ 719118 h 1520187"/>
                    <a:gd name="connsiteX43" fmla="*/ 20162 w 1984332"/>
                    <a:gd name="connsiteY43" fmla="*/ 719118 h 1520187"/>
                    <a:gd name="connsiteX44" fmla="*/ 94090 w 1984332"/>
                    <a:gd name="connsiteY44" fmla="*/ 719118 h 1520187"/>
                    <a:gd name="connsiteX45" fmla="*/ 94090 w 1984332"/>
                    <a:gd name="connsiteY45" fmla="*/ 719118 h 1520187"/>
                    <a:gd name="connsiteX46" fmla="*/ 120973 w 1984332"/>
                    <a:gd name="connsiteY46" fmla="*/ 705677 h 1520187"/>
                    <a:gd name="connsiteX47" fmla="*/ 221785 w 1984332"/>
                    <a:gd name="connsiteY47" fmla="*/ 638469 h 1520187"/>
                    <a:gd name="connsiteX48" fmla="*/ 221785 w 1984332"/>
                    <a:gd name="connsiteY48" fmla="*/ 638469 h 1520187"/>
                    <a:gd name="connsiteX49" fmla="*/ 336037 w 1984332"/>
                    <a:gd name="connsiteY49" fmla="*/ 752722 h 1520187"/>
                    <a:gd name="connsiteX50" fmla="*/ 221785 w 1984332"/>
                    <a:gd name="connsiteY50" fmla="*/ 873695 h 1520187"/>
                    <a:gd name="connsiteX51" fmla="*/ 221785 w 1984332"/>
                    <a:gd name="connsiteY51" fmla="*/ 873695 h 1520187"/>
                    <a:gd name="connsiteX52" fmla="*/ 114253 w 1984332"/>
                    <a:gd name="connsiteY52" fmla="*/ 799767 h 1520187"/>
                    <a:gd name="connsiteX53" fmla="*/ 94090 w 1984332"/>
                    <a:gd name="connsiteY53" fmla="*/ 786325 h 1520187"/>
                    <a:gd name="connsiteX54" fmla="*/ 20162 w 1984332"/>
                    <a:gd name="connsiteY54" fmla="*/ 786325 h 1520187"/>
                    <a:gd name="connsiteX55" fmla="*/ 20162 w 1984332"/>
                    <a:gd name="connsiteY55" fmla="*/ 786325 h 1520187"/>
                    <a:gd name="connsiteX56" fmla="*/ 20162 w 1984332"/>
                    <a:gd name="connsiteY56" fmla="*/ 786325 h 1520187"/>
                    <a:gd name="connsiteX57" fmla="*/ 20162 w 1984332"/>
                    <a:gd name="connsiteY57" fmla="*/ 786325 h 1520187"/>
                    <a:gd name="connsiteX58" fmla="*/ 20162 w 1984332"/>
                    <a:gd name="connsiteY58" fmla="*/ 786325 h 1520187"/>
                    <a:gd name="connsiteX59" fmla="*/ 0 w 1984332"/>
                    <a:gd name="connsiteY59" fmla="*/ 806488 h 1520187"/>
                    <a:gd name="connsiteX60" fmla="*/ 0 w 1984332"/>
                    <a:gd name="connsiteY60" fmla="*/ 1162686 h 1520187"/>
                    <a:gd name="connsiteX61" fmla="*/ 20162 w 1984332"/>
                    <a:gd name="connsiteY61" fmla="*/ 1182849 h 1520187"/>
                    <a:gd name="connsiteX62" fmla="*/ 20162 w 1984332"/>
                    <a:gd name="connsiteY62" fmla="*/ 1182849 h 1520187"/>
                    <a:gd name="connsiteX63" fmla="*/ 356200 w 1984332"/>
                    <a:gd name="connsiteY63" fmla="*/ 1182849 h 1520187"/>
                    <a:gd name="connsiteX64" fmla="*/ 356200 w 1984332"/>
                    <a:gd name="connsiteY64" fmla="*/ 1223173 h 1520187"/>
                    <a:gd name="connsiteX65" fmla="*/ 268830 w 1984332"/>
                    <a:gd name="connsiteY65" fmla="*/ 1364308 h 1520187"/>
                    <a:gd name="connsiteX66" fmla="*/ 315875 w 1984332"/>
                    <a:gd name="connsiteY66" fmla="*/ 1471840 h 1520187"/>
                    <a:gd name="connsiteX67" fmla="*/ 423407 w 1984332"/>
                    <a:gd name="connsiteY67" fmla="*/ 1518885 h 1520187"/>
                    <a:gd name="connsiteX68" fmla="*/ 423407 w 1984332"/>
                    <a:gd name="connsiteY68" fmla="*/ 1518885 h 1520187"/>
                    <a:gd name="connsiteX69" fmla="*/ 537660 w 1984332"/>
                    <a:gd name="connsiteY69" fmla="*/ 1478561 h 1520187"/>
                    <a:gd name="connsiteX70" fmla="*/ 584705 w 1984332"/>
                    <a:gd name="connsiteY70" fmla="*/ 1371029 h 1520187"/>
                    <a:gd name="connsiteX71" fmla="*/ 510777 w 1984332"/>
                    <a:gd name="connsiteY71" fmla="*/ 1236614 h 1520187"/>
                    <a:gd name="connsiteX72" fmla="*/ 510777 w 1984332"/>
                    <a:gd name="connsiteY72" fmla="*/ 1189569 h 1520187"/>
                    <a:gd name="connsiteX73" fmla="*/ 833373 w 1984332"/>
                    <a:gd name="connsiteY73" fmla="*/ 1189569 h 1520187"/>
                    <a:gd name="connsiteX74" fmla="*/ 833373 w 1984332"/>
                    <a:gd name="connsiteY74" fmla="*/ 1189569 h 1520187"/>
                    <a:gd name="connsiteX75" fmla="*/ 833373 w 1984332"/>
                    <a:gd name="connsiteY75" fmla="*/ 1189569 h 1520187"/>
                    <a:gd name="connsiteX76" fmla="*/ 1189572 w 1984332"/>
                    <a:gd name="connsiteY76" fmla="*/ 1189569 h 1520187"/>
                    <a:gd name="connsiteX77" fmla="*/ 1203014 w 1984332"/>
                    <a:gd name="connsiteY77" fmla="*/ 1182849 h 1520187"/>
                    <a:gd name="connsiteX78" fmla="*/ 1209734 w 1984332"/>
                    <a:gd name="connsiteY78" fmla="*/ 1169407 h 1520187"/>
                    <a:gd name="connsiteX79" fmla="*/ 1209734 w 1984332"/>
                    <a:gd name="connsiteY79" fmla="*/ 1095479 h 1520187"/>
                    <a:gd name="connsiteX80" fmla="*/ 1196293 w 1984332"/>
                    <a:gd name="connsiteY80" fmla="*/ 1075317 h 1520187"/>
                    <a:gd name="connsiteX81" fmla="*/ 1122365 w 1984332"/>
                    <a:gd name="connsiteY81" fmla="*/ 967785 h 1520187"/>
                    <a:gd name="connsiteX82" fmla="*/ 1155969 w 1984332"/>
                    <a:gd name="connsiteY82" fmla="*/ 887136 h 1520187"/>
                    <a:gd name="connsiteX83" fmla="*/ 1236617 w 1984332"/>
                    <a:gd name="connsiteY83" fmla="*/ 853533 h 1520187"/>
                    <a:gd name="connsiteX84" fmla="*/ 1236617 w 1984332"/>
                    <a:gd name="connsiteY84" fmla="*/ 853533 h 1520187"/>
                    <a:gd name="connsiteX85" fmla="*/ 1317266 w 1984332"/>
                    <a:gd name="connsiteY85" fmla="*/ 887136 h 1520187"/>
                    <a:gd name="connsiteX86" fmla="*/ 1350870 w 1984332"/>
                    <a:gd name="connsiteY86" fmla="*/ 967785 h 1520187"/>
                    <a:gd name="connsiteX87" fmla="*/ 1283663 w 1984332"/>
                    <a:gd name="connsiteY87" fmla="*/ 1068596 h 1520187"/>
                    <a:gd name="connsiteX88" fmla="*/ 1270221 w 1984332"/>
                    <a:gd name="connsiteY88" fmla="*/ 1088758 h 1520187"/>
                    <a:gd name="connsiteX89" fmla="*/ 1270221 w 1984332"/>
                    <a:gd name="connsiteY89" fmla="*/ 1162686 h 1520187"/>
                    <a:gd name="connsiteX90" fmla="*/ 1276942 w 1984332"/>
                    <a:gd name="connsiteY90" fmla="*/ 1176128 h 1520187"/>
                    <a:gd name="connsiteX91" fmla="*/ 1290383 w 1984332"/>
                    <a:gd name="connsiteY91" fmla="*/ 1182849 h 1520187"/>
                    <a:gd name="connsiteX92" fmla="*/ 1290383 w 1984332"/>
                    <a:gd name="connsiteY92" fmla="*/ 1182849 h 1520187"/>
                    <a:gd name="connsiteX93" fmla="*/ 1633141 w 1984332"/>
                    <a:gd name="connsiteY93" fmla="*/ 1182849 h 1520187"/>
                    <a:gd name="connsiteX94" fmla="*/ 1653304 w 1984332"/>
                    <a:gd name="connsiteY94" fmla="*/ 1162686 h 1520187"/>
                    <a:gd name="connsiteX95" fmla="*/ 1653304 w 1984332"/>
                    <a:gd name="connsiteY95" fmla="*/ 833371 h 1520187"/>
                    <a:gd name="connsiteX96" fmla="*/ 1693628 w 1984332"/>
                    <a:gd name="connsiteY96" fmla="*/ 833371 h 1520187"/>
                    <a:gd name="connsiteX97" fmla="*/ 1828043 w 1984332"/>
                    <a:gd name="connsiteY97" fmla="*/ 914019 h 1520187"/>
                    <a:gd name="connsiteX98" fmla="*/ 1828043 w 1984332"/>
                    <a:gd name="connsiteY98" fmla="*/ 914019 h 1520187"/>
                    <a:gd name="connsiteX99" fmla="*/ 1935575 w 1984332"/>
                    <a:gd name="connsiteY99" fmla="*/ 866974 h 1520187"/>
                    <a:gd name="connsiteX100" fmla="*/ 1982620 w 1984332"/>
                    <a:gd name="connsiteY100" fmla="*/ 759443 h 1520187"/>
                    <a:gd name="connsiteX101" fmla="*/ 1949017 w 1984332"/>
                    <a:gd name="connsiteY101" fmla="*/ 645190 h 1520187"/>
                    <a:gd name="connsiteX102" fmla="*/ 483894 w 1984332"/>
                    <a:gd name="connsiteY102" fmla="*/ 1142524 h 1520187"/>
                    <a:gd name="connsiteX103" fmla="*/ 463732 w 1984332"/>
                    <a:gd name="connsiteY103" fmla="*/ 1162686 h 1520187"/>
                    <a:gd name="connsiteX104" fmla="*/ 463732 w 1984332"/>
                    <a:gd name="connsiteY104" fmla="*/ 1162686 h 1520187"/>
                    <a:gd name="connsiteX105" fmla="*/ 463732 w 1984332"/>
                    <a:gd name="connsiteY105" fmla="*/ 1162686 h 1520187"/>
                    <a:gd name="connsiteX106" fmla="*/ 463732 w 1984332"/>
                    <a:gd name="connsiteY106" fmla="*/ 1236614 h 1520187"/>
                    <a:gd name="connsiteX107" fmla="*/ 463732 w 1984332"/>
                    <a:gd name="connsiteY107" fmla="*/ 1236614 h 1520187"/>
                    <a:gd name="connsiteX108" fmla="*/ 477173 w 1984332"/>
                    <a:gd name="connsiteY108" fmla="*/ 1263497 h 1520187"/>
                    <a:gd name="connsiteX109" fmla="*/ 544381 w 1984332"/>
                    <a:gd name="connsiteY109" fmla="*/ 1364308 h 1520187"/>
                    <a:gd name="connsiteX110" fmla="*/ 510777 w 1984332"/>
                    <a:gd name="connsiteY110" fmla="*/ 1444957 h 1520187"/>
                    <a:gd name="connsiteX111" fmla="*/ 423407 w 1984332"/>
                    <a:gd name="connsiteY111" fmla="*/ 1478561 h 1520187"/>
                    <a:gd name="connsiteX112" fmla="*/ 423407 w 1984332"/>
                    <a:gd name="connsiteY112" fmla="*/ 1478561 h 1520187"/>
                    <a:gd name="connsiteX113" fmla="*/ 342758 w 1984332"/>
                    <a:gd name="connsiteY113" fmla="*/ 1444957 h 1520187"/>
                    <a:gd name="connsiteX114" fmla="*/ 309154 w 1984332"/>
                    <a:gd name="connsiteY114" fmla="*/ 1364308 h 1520187"/>
                    <a:gd name="connsiteX115" fmla="*/ 383083 w 1984332"/>
                    <a:gd name="connsiteY115" fmla="*/ 1256777 h 1520187"/>
                    <a:gd name="connsiteX116" fmla="*/ 396524 w 1984332"/>
                    <a:gd name="connsiteY116" fmla="*/ 1236614 h 1520187"/>
                    <a:gd name="connsiteX117" fmla="*/ 396524 w 1984332"/>
                    <a:gd name="connsiteY117" fmla="*/ 1162686 h 1520187"/>
                    <a:gd name="connsiteX118" fmla="*/ 396524 w 1984332"/>
                    <a:gd name="connsiteY118" fmla="*/ 1162686 h 1520187"/>
                    <a:gd name="connsiteX119" fmla="*/ 396524 w 1984332"/>
                    <a:gd name="connsiteY119" fmla="*/ 1162686 h 1520187"/>
                    <a:gd name="connsiteX120" fmla="*/ 376362 w 1984332"/>
                    <a:gd name="connsiteY120" fmla="*/ 1142524 h 1520187"/>
                    <a:gd name="connsiteX121" fmla="*/ 376362 w 1984332"/>
                    <a:gd name="connsiteY121" fmla="*/ 1142524 h 1520187"/>
                    <a:gd name="connsiteX122" fmla="*/ 40324 w 1984332"/>
                    <a:gd name="connsiteY122" fmla="*/ 1142524 h 1520187"/>
                    <a:gd name="connsiteX123" fmla="*/ 40324 w 1984332"/>
                    <a:gd name="connsiteY123" fmla="*/ 833371 h 1520187"/>
                    <a:gd name="connsiteX124" fmla="*/ 80649 w 1984332"/>
                    <a:gd name="connsiteY124" fmla="*/ 833371 h 1520187"/>
                    <a:gd name="connsiteX125" fmla="*/ 221785 w 1984332"/>
                    <a:gd name="connsiteY125" fmla="*/ 920740 h 1520187"/>
                    <a:gd name="connsiteX126" fmla="*/ 221785 w 1984332"/>
                    <a:gd name="connsiteY126" fmla="*/ 920740 h 1520187"/>
                    <a:gd name="connsiteX127" fmla="*/ 376362 w 1984332"/>
                    <a:gd name="connsiteY127" fmla="*/ 766163 h 1520187"/>
                    <a:gd name="connsiteX128" fmla="*/ 221785 w 1984332"/>
                    <a:gd name="connsiteY128" fmla="*/ 604866 h 1520187"/>
                    <a:gd name="connsiteX129" fmla="*/ 221785 w 1984332"/>
                    <a:gd name="connsiteY129" fmla="*/ 604866 h 1520187"/>
                    <a:gd name="connsiteX130" fmla="*/ 87370 w 1984332"/>
                    <a:gd name="connsiteY130" fmla="*/ 678794 h 1520187"/>
                    <a:gd name="connsiteX131" fmla="*/ 40324 w 1984332"/>
                    <a:gd name="connsiteY131" fmla="*/ 678794 h 1520187"/>
                    <a:gd name="connsiteX132" fmla="*/ 40324 w 1984332"/>
                    <a:gd name="connsiteY132" fmla="*/ 376361 h 1520187"/>
                    <a:gd name="connsiteX133" fmla="*/ 369641 w 1984332"/>
                    <a:gd name="connsiteY133" fmla="*/ 376361 h 1520187"/>
                    <a:gd name="connsiteX134" fmla="*/ 383083 w 1984332"/>
                    <a:gd name="connsiteY134" fmla="*/ 369640 h 1520187"/>
                    <a:gd name="connsiteX135" fmla="*/ 389803 w 1984332"/>
                    <a:gd name="connsiteY135" fmla="*/ 356199 h 1520187"/>
                    <a:gd name="connsiteX136" fmla="*/ 389803 w 1984332"/>
                    <a:gd name="connsiteY136" fmla="*/ 275550 h 1520187"/>
                    <a:gd name="connsiteX137" fmla="*/ 376362 w 1984332"/>
                    <a:gd name="connsiteY137" fmla="*/ 255388 h 1520187"/>
                    <a:gd name="connsiteX138" fmla="*/ 309154 w 1984332"/>
                    <a:gd name="connsiteY138" fmla="*/ 154577 h 1520187"/>
                    <a:gd name="connsiteX139" fmla="*/ 423407 w 1984332"/>
                    <a:gd name="connsiteY139" fmla="*/ 40324 h 1520187"/>
                    <a:gd name="connsiteX140" fmla="*/ 504056 w 1984332"/>
                    <a:gd name="connsiteY140" fmla="*/ 73928 h 1520187"/>
                    <a:gd name="connsiteX141" fmla="*/ 537660 w 1984332"/>
                    <a:gd name="connsiteY141" fmla="*/ 154577 h 1520187"/>
                    <a:gd name="connsiteX142" fmla="*/ 470452 w 1984332"/>
                    <a:gd name="connsiteY142" fmla="*/ 262109 h 1520187"/>
                    <a:gd name="connsiteX143" fmla="*/ 457011 w 1984332"/>
                    <a:gd name="connsiteY143" fmla="*/ 282271 h 1520187"/>
                    <a:gd name="connsiteX144" fmla="*/ 457011 w 1984332"/>
                    <a:gd name="connsiteY144" fmla="*/ 362919 h 1520187"/>
                    <a:gd name="connsiteX145" fmla="*/ 477173 w 1984332"/>
                    <a:gd name="connsiteY145" fmla="*/ 383082 h 1520187"/>
                    <a:gd name="connsiteX146" fmla="*/ 477173 w 1984332"/>
                    <a:gd name="connsiteY146" fmla="*/ 383082 h 1520187"/>
                    <a:gd name="connsiteX147" fmla="*/ 806490 w 1984332"/>
                    <a:gd name="connsiteY147" fmla="*/ 383082 h 1520187"/>
                    <a:gd name="connsiteX148" fmla="*/ 806490 w 1984332"/>
                    <a:gd name="connsiteY148" fmla="*/ 631749 h 1520187"/>
                    <a:gd name="connsiteX149" fmla="*/ 806490 w 1984332"/>
                    <a:gd name="connsiteY149" fmla="*/ 685515 h 1520187"/>
                    <a:gd name="connsiteX150" fmla="*/ 766165 w 1984332"/>
                    <a:gd name="connsiteY150" fmla="*/ 685515 h 1520187"/>
                    <a:gd name="connsiteX151" fmla="*/ 631750 w 1984332"/>
                    <a:gd name="connsiteY151" fmla="*/ 604866 h 1520187"/>
                    <a:gd name="connsiteX152" fmla="*/ 631750 w 1984332"/>
                    <a:gd name="connsiteY152" fmla="*/ 604866 h 1520187"/>
                    <a:gd name="connsiteX153" fmla="*/ 517497 w 1984332"/>
                    <a:gd name="connsiteY153" fmla="*/ 651911 h 1520187"/>
                    <a:gd name="connsiteX154" fmla="*/ 470452 w 1984332"/>
                    <a:gd name="connsiteY154" fmla="*/ 759443 h 1520187"/>
                    <a:gd name="connsiteX155" fmla="*/ 517497 w 1984332"/>
                    <a:gd name="connsiteY155" fmla="*/ 866974 h 1520187"/>
                    <a:gd name="connsiteX156" fmla="*/ 625029 w 1984332"/>
                    <a:gd name="connsiteY156" fmla="*/ 914019 h 1520187"/>
                    <a:gd name="connsiteX157" fmla="*/ 625029 w 1984332"/>
                    <a:gd name="connsiteY157" fmla="*/ 914019 h 1520187"/>
                    <a:gd name="connsiteX158" fmla="*/ 766165 w 1984332"/>
                    <a:gd name="connsiteY158" fmla="*/ 826650 h 1520187"/>
                    <a:gd name="connsiteX159" fmla="*/ 799769 w 1984332"/>
                    <a:gd name="connsiteY159" fmla="*/ 826650 h 1520187"/>
                    <a:gd name="connsiteX160" fmla="*/ 799769 w 1984332"/>
                    <a:gd name="connsiteY160" fmla="*/ 1135803 h 1520187"/>
                    <a:gd name="connsiteX161" fmla="*/ 483894 w 1984332"/>
                    <a:gd name="connsiteY161" fmla="*/ 1142524 h 1520187"/>
                    <a:gd name="connsiteX162" fmla="*/ 1915413 w 1984332"/>
                    <a:gd name="connsiteY162" fmla="*/ 840091 h 1520187"/>
                    <a:gd name="connsiteX163" fmla="*/ 1834764 w 1984332"/>
                    <a:gd name="connsiteY163" fmla="*/ 873695 h 1520187"/>
                    <a:gd name="connsiteX164" fmla="*/ 1834764 w 1984332"/>
                    <a:gd name="connsiteY164" fmla="*/ 873695 h 1520187"/>
                    <a:gd name="connsiteX165" fmla="*/ 1733953 w 1984332"/>
                    <a:gd name="connsiteY165" fmla="*/ 806488 h 1520187"/>
                    <a:gd name="connsiteX166" fmla="*/ 1713790 w 1984332"/>
                    <a:gd name="connsiteY166" fmla="*/ 793046 h 1520187"/>
                    <a:gd name="connsiteX167" fmla="*/ 1713790 w 1984332"/>
                    <a:gd name="connsiteY167" fmla="*/ 793046 h 1520187"/>
                    <a:gd name="connsiteX168" fmla="*/ 1633141 w 1984332"/>
                    <a:gd name="connsiteY168" fmla="*/ 793046 h 1520187"/>
                    <a:gd name="connsiteX169" fmla="*/ 1612979 w 1984332"/>
                    <a:gd name="connsiteY169" fmla="*/ 813208 h 1520187"/>
                    <a:gd name="connsiteX170" fmla="*/ 1612979 w 1984332"/>
                    <a:gd name="connsiteY170" fmla="*/ 1142524 h 1520187"/>
                    <a:gd name="connsiteX171" fmla="*/ 1310546 w 1984332"/>
                    <a:gd name="connsiteY171" fmla="*/ 1142524 h 1520187"/>
                    <a:gd name="connsiteX172" fmla="*/ 1310546 w 1984332"/>
                    <a:gd name="connsiteY172" fmla="*/ 1102200 h 1520187"/>
                    <a:gd name="connsiteX173" fmla="*/ 1384474 w 1984332"/>
                    <a:gd name="connsiteY173" fmla="*/ 967785 h 1520187"/>
                    <a:gd name="connsiteX174" fmla="*/ 1337429 w 1984332"/>
                    <a:gd name="connsiteY174" fmla="*/ 860254 h 1520187"/>
                    <a:gd name="connsiteX175" fmla="*/ 1229897 w 1984332"/>
                    <a:gd name="connsiteY175" fmla="*/ 813208 h 1520187"/>
                    <a:gd name="connsiteX176" fmla="*/ 1229897 w 1984332"/>
                    <a:gd name="connsiteY176" fmla="*/ 813208 h 1520187"/>
                    <a:gd name="connsiteX177" fmla="*/ 1122365 w 1984332"/>
                    <a:gd name="connsiteY177" fmla="*/ 860254 h 1520187"/>
                    <a:gd name="connsiteX178" fmla="*/ 1075320 w 1984332"/>
                    <a:gd name="connsiteY178" fmla="*/ 967785 h 1520187"/>
                    <a:gd name="connsiteX179" fmla="*/ 1162689 w 1984332"/>
                    <a:gd name="connsiteY179" fmla="*/ 1108921 h 1520187"/>
                    <a:gd name="connsiteX180" fmla="*/ 1162689 w 1984332"/>
                    <a:gd name="connsiteY180" fmla="*/ 1142524 h 1520187"/>
                    <a:gd name="connsiteX181" fmla="*/ 853535 w 1984332"/>
                    <a:gd name="connsiteY181" fmla="*/ 1142524 h 1520187"/>
                    <a:gd name="connsiteX182" fmla="*/ 853535 w 1984332"/>
                    <a:gd name="connsiteY182" fmla="*/ 819929 h 1520187"/>
                    <a:gd name="connsiteX183" fmla="*/ 853535 w 1984332"/>
                    <a:gd name="connsiteY183" fmla="*/ 819929 h 1520187"/>
                    <a:gd name="connsiteX184" fmla="*/ 853535 w 1984332"/>
                    <a:gd name="connsiteY184" fmla="*/ 806488 h 1520187"/>
                    <a:gd name="connsiteX185" fmla="*/ 846814 w 1984332"/>
                    <a:gd name="connsiteY185" fmla="*/ 793046 h 1520187"/>
                    <a:gd name="connsiteX186" fmla="*/ 833373 w 1984332"/>
                    <a:gd name="connsiteY186" fmla="*/ 786325 h 1520187"/>
                    <a:gd name="connsiteX187" fmla="*/ 833373 w 1984332"/>
                    <a:gd name="connsiteY187" fmla="*/ 786325 h 1520187"/>
                    <a:gd name="connsiteX188" fmla="*/ 759444 w 1984332"/>
                    <a:gd name="connsiteY188" fmla="*/ 786325 h 1520187"/>
                    <a:gd name="connsiteX189" fmla="*/ 739282 w 1984332"/>
                    <a:gd name="connsiteY189" fmla="*/ 799767 h 1520187"/>
                    <a:gd name="connsiteX190" fmla="*/ 631750 w 1984332"/>
                    <a:gd name="connsiteY190" fmla="*/ 873695 h 1520187"/>
                    <a:gd name="connsiteX191" fmla="*/ 631750 w 1984332"/>
                    <a:gd name="connsiteY191" fmla="*/ 873695 h 1520187"/>
                    <a:gd name="connsiteX192" fmla="*/ 551101 w 1984332"/>
                    <a:gd name="connsiteY192" fmla="*/ 840091 h 1520187"/>
                    <a:gd name="connsiteX193" fmla="*/ 517497 w 1984332"/>
                    <a:gd name="connsiteY193" fmla="*/ 759443 h 1520187"/>
                    <a:gd name="connsiteX194" fmla="*/ 551101 w 1984332"/>
                    <a:gd name="connsiteY194" fmla="*/ 678794 h 1520187"/>
                    <a:gd name="connsiteX195" fmla="*/ 631750 w 1984332"/>
                    <a:gd name="connsiteY195" fmla="*/ 645190 h 1520187"/>
                    <a:gd name="connsiteX196" fmla="*/ 631750 w 1984332"/>
                    <a:gd name="connsiteY196" fmla="*/ 645190 h 1520187"/>
                    <a:gd name="connsiteX197" fmla="*/ 732561 w 1984332"/>
                    <a:gd name="connsiteY197" fmla="*/ 712397 h 1520187"/>
                    <a:gd name="connsiteX198" fmla="*/ 752724 w 1984332"/>
                    <a:gd name="connsiteY198" fmla="*/ 725839 h 1520187"/>
                    <a:gd name="connsiteX199" fmla="*/ 752724 w 1984332"/>
                    <a:gd name="connsiteY199" fmla="*/ 725839 h 1520187"/>
                    <a:gd name="connsiteX200" fmla="*/ 826652 w 1984332"/>
                    <a:gd name="connsiteY200" fmla="*/ 725839 h 1520187"/>
                    <a:gd name="connsiteX201" fmla="*/ 826652 w 1984332"/>
                    <a:gd name="connsiteY201" fmla="*/ 725839 h 1520187"/>
                    <a:gd name="connsiteX202" fmla="*/ 840093 w 1984332"/>
                    <a:gd name="connsiteY202" fmla="*/ 719118 h 1520187"/>
                    <a:gd name="connsiteX203" fmla="*/ 840093 w 1984332"/>
                    <a:gd name="connsiteY203" fmla="*/ 719118 h 1520187"/>
                    <a:gd name="connsiteX204" fmla="*/ 840093 w 1984332"/>
                    <a:gd name="connsiteY204" fmla="*/ 719118 h 1520187"/>
                    <a:gd name="connsiteX205" fmla="*/ 846814 w 1984332"/>
                    <a:gd name="connsiteY205" fmla="*/ 705677 h 1520187"/>
                    <a:gd name="connsiteX206" fmla="*/ 846814 w 1984332"/>
                    <a:gd name="connsiteY206" fmla="*/ 705677 h 1520187"/>
                    <a:gd name="connsiteX207" fmla="*/ 846814 w 1984332"/>
                    <a:gd name="connsiteY207" fmla="*/ 705677 h 1520187"/>
                    <a:gd name="connsiteX208" fmla="*/ 846814 w 1984332"/>
                    <a:gd name="connsiteY208" fmla="*/ 705677 h 1520187"/>
                    <a:gd name="connsiteX209" fmla="*/ 846814 w 1984332"/>
                    <a:gd name="connsiteY209" fmla="*/ 383082 h 1520187"/>
                    <a:gd name="connsiteX210" fmla="*/ 1155969 w 1984332"/>
                    <a:gd name="connsiteY210" fmla="*/ 383082 h 1520187"/>
                    <a:gd name="connsiteX211" fmla="*/ 1155969 w 1984332"/>
                    <a:gd name="connsiteY211" fmla="*/ 423406 h 1520187"/>
                    <a:gd name="connsiteX212" fmla="*/ 1084846 w 1984332"/>
                    <a:gd name="connsiteY212" fmla="*/ 555440 h 1520187"/>
                    <a:gd name="connsiteX213" fmla="*/ 1139409 w 1984332"/>
                    <a:gd name="connsiteY213" fmla="*/ 664773 h 1520187"/>
                    <a:gd name="connsiteX214" fmla="*/ 1241803 w 1984332"/>
                    <a:gd name="connsiteY214" fmla="*/ 712400 h 1520187"/>
                    <a:gd name="connsiteX215" fmla="*/ 1354098 w 1984332"/>
                    <a:gd name="connsiteY215" fmla="*/ 670115 h 1520187"/>
                    <a:gd name="connsiteX216" fmla="*/ 1396380 w 1984332"/>
                    <a:gd name="connsiteY216" fmla="*/ 553058 h 1520187"/>
                    <a:gd name="connsiteX217" fmla="*/ 1310546 w 1984332"/>
                    <a:gd name="connsiteY217" fmla="*/ 423406 h 1520187"/>
                    <a:gd name="connsiteX218" fmla="*/ 1310546 w 1984332"/>
                    <a:gd name="connsiteY218" fmla="*/ 376361 h 1520187"/>
                    <a:gd name="connsiteX219" fmla="*/ 1612979 w 1984332"/>
                    <a:gd name="connsiteY219" fmla="*/ 376361 h 1520187"/>
                    <a:gd name="connsiteX220" fmla="*/ 1612979 w 1984332"/>
                    <a:gd name="connsiteY220" fmla="*/ 705677 h 1520187"/>
                    <a:gd name="connsiteX221" fmla="*/ 1633141 w 1984332"/>
                    <a:gd name="connsiteY221" fmla="*/ 725839 h 1520187"/>
                    <a:gd name="connsiteX222" fmla="*/ 1633141 w 1984332"/>
                    <a:gd name="connsiteY222" fmla="*/ 725839 h 1520187"/>
                    <a:gd name="connsiteX223" fmla="*/ 1713790 w 1984332"/>
                    <a:gd name="connsiteY223" fmla="*/ 725839 h 1520187"/>
                    <a:gd name="connsiteX224" fmla="*/ 1733953 w 1984332"/>
                    <a:gd name="connsiteY224" fmla="*/ 712397 h 1520187"/>
                    <a:gd name="connsiteX225" fmla="*/ 1834764 w 1984332"/>
                    <a:gd name="connsiteY225" fmla="*/ 645190 h 1520187"/>
                    <a:gd name="connsiteX226" fmla="*/ 1834764 w 1984332"/>
                    <a:gd name="connsiteY226" fmla="*/ 645190 h 1520187"/>
                    <a:gd name="connsiteX227" fmla="*/ 1915413 w 1984332"/>
                    <a:gd name="connsiteY227" fmla="*/ 678794 h 1520187"/>
                    <a:gd name="connsiteX228" fmla="*/ 1949017 w 1984332"/>
                    <a:gd name="connsiteY228" fmla="*/ 759443 h 1520187"/>
                    <a:gd name="connsiteX229" fmla="*/ 1915413 w 1984332"/>
                    <a:gd name="connsiteY229" fmla="*/ 840091 h 15201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</a:cxnLst>
                  <a:rect l="l" t="t" r="r" b="b"/>
                  <a:pathLst>
                    <a:path w="1984332" h="1520187">
                      <a:moveTo>
                        <a:pt x="1949017" y="645190"/>
                      </a:moveTo>
                      <a:cubicBezTo>
                        <a:pt x="1922134" y="618307"/>
                        <a:pt x="1881809" y="598145"/>
                        <a:pt x="1841485" y="598145"/>
                      </a:cubicBezTo>
                      <a:lnTo>
                        <a:pt x="1841485" y="598145"/>
                      </a:lnTo>
                      <a:cubicBezTo>
                        <a:pt x="1780998" y="598145"/>
                        <a:pt x="1733953" y="631749"/>
                        <a:pt x="1707070" y="678794"/>
                      </a:cubicBezTo>
                      <a:lnTo>
                        <a:pt x="1666745" y="678794"/>
                      </a:lnTo>
                      <a:lnTo>
                        <a:pt x="1666745" y="349478"/>
                      </a:lnTo>
                      <a:cubicBezTo>
                        <a:pt x="1666745" y="336037"/>
                        <a:pt x="1660025" y="329316"/>
                        <a:pt x="1646583" y="329316"/>
                      </a:cubicBezTo>
                      <a:lnTo>
                        <a:pt x="1646583" y="329316"/>
                      </a:lnTo>
                      <a:lnTo>
                        <a:pt x="1303825" y="329316"/>
                      </a:lnTo>
                      <a:cubicBezTo>
                        <a:pt x="1290383" y="329316"/>
                        <a:pt x="1283663" y="336037"/>
                        <a:pt x="1283663" y="349478"/>
                      </a:cubicBezTo>
                      <a:lnTo>
                        <a:pt x="1283663" y="349478"/>
                      </a:lnTo>
                      <a:lnTo>
                        <a:pt x="1283663" y="349478"/>
                      </a:lnTo>
                      <a:lnTo>
                        <a:pt x="1283663" y="423406"/>
                      </a:lnTo>
                      <a:cubicBezTo>
                        <a:pt x="1282869" y="429756"/>
                        <a:pt x="1286044" y="436503"/>
                        <a:pt x="1288425" y="449600"/>
                      </a:cubicBezTo>
                      <a:cubicBezTo>
                        <a:pt x="1319726" y="473264"/>
                        <a:pt x="1350121" y="520742"/>
                        <a:pt x="1357168" y="551100"/>
                      </a:cubicBezTo>
                      <a:cubicBezTo>
                        <a:pt x="1364215" y="581458"/>
                        <a:pt x="1348559" y="612707"/>
                        <a:pt x="1330708" y="631749"/>
                      </a:cubicBezTo>
                      <a:cubicBezTo>
                        <a:pt x="1312857" y="650791"/>
                        <a:pt x="1283663" y="665352"/>
                        <a:pt x="1250059" y="665352"/>
                      </a:cubicBezTo>
                      <a:cubicBezTo>
                        <a:pt x="1189572" y="665352"/>
                        <a:pt x="1135806" y="618307"/>
                        <a:pt x="1135806" y="551100"/>
                      </a:cubicBezTo>
                      <a:cubicBezTo>
                        <a:pt x="1135806" y="504055"/>
                        <a:pt x="1162689" y="463730"/>
                        <a:pt x="1209734" y="443568"/>
                      </a:cubicBezTo>
                      <a:cubicBezTo>
                        <a:pt x="1216455" y="443568"/>
                        <a:pt x="1223176" y="430127"/>
                        <a:pt x="1223176" y="423406"/>
                      </a:cubicBezTo>
                      <a:lnTo>
                        <a:pt x="1223176" y="349478"/>
                      </a:lnTo>
                      <a:lnTo>
                        <a:pt x="1223176" y="349478"/>
                      </a:lnTo>
                      <a:lnTo>
                        <a:pt x="1223176" y="349478"/>
                      </a:lnTo>
                      <a:cubicBezTo>
                        <a:pt x="1209734" y="342757"/>
                        <a:pt x="1196293" y="336037"/>
                        <a:pt x="1182852" y="336037"/>
                      </a:cubicBezTo>
                      <a:lnTo>
                        <a:pt x="1182852" y="336037"/>
                      </a:lnTo>
                      <a:lnTo>
                        <a:pt x="826652" y="336037"/>
                      </a:lnTo>
                      <a:lnTo>
                        <a:pt x="826652" y="336037"/>
                      </a:lnTo>
                      <a:lnTo>
                        <a:pt x="826652" y="336037"/>
                      </a:lnTo>
                      <a:lnTo>
                        <a:pt x="497335" y="336037"/>
                      </a:lnTo>
                      <a:lnTo>
                        <a:pt x="497335" y="295712"/>
                      </a:lnTo>
                      <a:cubicBezTo>
                        <a:pt x="551101" y="268829"/>
                        <a:pt x="584705" y="215063"/>
                        <a:pt x="584705" y="154577"/>
                      </a:cubicBezTo>
                      <a:cubicBezTo>
                        <a:pt x="584705" y="114252"/>
                        <a:pt x="571263" y="73928"/>
                        <a:pt x="537660" y="47045"/>
                      </a:cubicBezTo>
                      <a:cubicBezTo>
                        <a:pt x="504056" y="13441"/>
                        <a:pt x="463732" y="0"/>
                        <a:pt x="423407" y="0"/>
                      </a:cubicBezTo>
                      <a:lnTo>
                        <a:pt x="423407" y="0"/>
                      </a:lnTo>
                      <a:cubicBezTo>
                        <a:pt x="336037" y="0"/>
                        <a:pt x="268830" y="67207"/>
                        <a:pt x="268830" y="154577"/>
                      </a:cubicBezTo>
                      <a:cubicBezTo>
                        <a:pt x="268830" y="215063"/>
                        <a:pt x="302434" y="262109"/>
                        <a:pt x="349479" y="288991"/>
                      </a:cubicBezTo>
                      <a:lnTo>
                        <a:pt x="349479" y="329316"/>
                      </a:lnTo>
                      <a:lnTo>
                        <a:pt x="20162" y="336037"/>
                      </a:lnTo>
                      <a:cubicBezTo>
                        <a:pt x="6721" y="336037"/>
                        <a:pt x="0" y="342757"/>
                        <a:pt x="0" y="356199"/>
                      </a:cubicBezTo>
                      <a:lnTo>
                        <a:pt x="0" y="698956"/>
                      </a:lnTo>
                      <a:cubicBezTo>
                        <a:pt x="0" y="712397"/>
                        <a:pt x="6721" y="719118"/>
                        <a:pt x="20162" y="719118"/>
                      </a:cubicBezTo>
                      <a:lnTo>
                        <a:pt x="20162" y="719118"/>
                      </a:lnTo>
                      <a:lnTo>
                        <a:pt x="20162" y="719118"/>
                      </a:lnTo>
                      <a:lnTo>
                        <a:pt x="20162" y="719118"/>
                      </a:lnTo>
                      <a:lnTo>
                        <a:pt x="94090" y="719118"/>
                      </a:lnTo>
                      <a:lnTo>
                        <a:pt x="94090" y="719118"/>
                      </a:lnTo>
                      <a:cubicBezTo>
                        <a:pt x="107532" y="719118"/>
                        <a:pt x="114253" y="719118"/>
                        <a:pt x="120973" y="705677"/>
                      </a:cubicBezTo>
                      <a:cubicBezTo>
                        <a:pt x="141136" y="665352"/>
                        <a:pt x="181460" y="638469"/>
                        <a:pt x="221785" y="638469"/>
                      </a:cubicBezTo>
                      <a:lnTo>
                        <a:pt x="221785" y="638469"/>
                      </a:lnTo>
                      <a:cubicBezTo>
                        <a:pt x="282271" y="638469"/>
                        <a:pt x="336037" y="685515"/>
                        <a:pt x="336037" y="752722"/>
                      </a:cubicBezTo>
                      <a:cubicBezTo>
                        <a:pt x="336037" y="819929"/>
                        <a:pt x="288992" y="873695"/>
                        <a:pt x="221785" y="873695"/>
                      </a:cubicBezTo>
                      <a:lnTo>
                        <a:pt x="221785" y="873695"/>
                      </a:lnTo>
                      <a:cubicBezTo>
                        <a:pt x="174739" y="873695"/>
                        <a:pt x="134415" y="846812"/>
                        <a:pt x="114253" y="799767"/>
                      </a:cubicBezTo>
                      <a:cubicBezTo>
                        <a:pt x="114253" y="793046"/>
                        <a:pt x="100811" y="786325"/>
                        <a:pt x="94090" y="786325"/>
                      </a:cubicBezTo>
                      <a:lnTo>
                        <a:pt x="20162" y="786325"/>
                      </a:lnTo>
                      <a:lnTo>
                        <a:pt x="20162" y="786325"/>
                      </a:lnTo>
                      <a:lnTo>
                        <a:pt x="20162" y="786325"/>
                      </a:lnTo>
                      <a:lnTo>
                        <a:pt x="20162" y="786325"/>
                      </a:lnTo>
                      <a:lnTo>
                        <a:pt x="20162" y="786325"/>
                      </a:lnTo>
                      <a:cubicBezTo>
                        <a:pt x="13441" y="786325"/>
                        <a:pt x="0" y="793046"/>
                        <a:pt x="0" y="806488"/>
                      </a:cubicBezTo>
                      <a:lnTo>
                        <a:pt x="0" y="1162686"/>
                      </a:lnTo>
                      <a:cubicBezTo>
                        <a:pt x="0" y="1176128"/>
                        <a:pt x="6721" y="1182849"/>
                        <a:pt x="20162" y="1182849"/>
                      </a:cubicBezTo>
                      <a:lnTo>
                        <a:pt x="20162" y="1182849"/>
                      </a:lnTo>
                      <a:lnTo>
                        <a:pt x="356200" y="1182849"/>
                      </a:lnTo>
                      <a:lnTo>
                        <a:pt x="356200" y="1223173"/>
                      </a:lnTo>
                      <a:cubicBezTo>
                        <a:pt x="302434" y="1250056"/>
                        <a:pt x="268830" y="1303822"/>
                        <a:pt x="268830" y="1364308"/>
                      </a:cubicBezTo>
                      <a:cubicBezTo>
                        <a:pt x="268830" y="1404633"/>
                        <a:pt x="282271" y="1444957"/>
                        <a:pt x="315875" y="1471840"/>
                      </a:cubicBezTo>
                      <a:cubicBezTo>
                        <a:pt x="342758" y="1498723"/>
                        <a:pt x="383083" y="1518885"/>
                        <a:pt x="423407" y="1518885"/>
                      </a:cubicBezTo>
                      <a:lnTo>
                        <a:pt x="423407" y="1518885"/>
                      </a:lnTo>
                      <a:cubicBezTo>
                        <a:pt x="470452" y="1525606"/>
                        <a:pt x="504056" y="1505444"/>
                        <a:pt x="537660" y="1478561"/>
                      </a:cubicBezTo>
                      <a:cubicBezTo>
                        <a:pt x="571263" y="1451678"/>
                        <a:pt x="584705" y="1411353"/>
                        <a:pt x="584705" y="1371029"/>
                      </a:cubicBezTo>
                      <a:cubicBezTo>
                        <a:pt x="584705" y="1317263"/>
                        <a:pt x="557822" y="1263497"/>
                        <a:pt x="510777" y="1236614"/>
                      </a:cubicBezTo>
                      <a:lnTo>
                        <a:pt x="510777" y="1189569"/>
                      </a:lnTo>
                      <a:lnTo>
                        <a:pt x="833373" y="1189569"/>
                      </a:lnTo>
                      <a:lnTo>
                        <a:pt x="833373" y="1189569"/>
                      </a:lnTo>
                      <a:lnTo>
                        <a:pt x="833373" y="1189569"/>
                      </a:lnTo>
                      <a:lnTo>
                        <a:pt x="1189572" y="1189569"/>
                      </a:lnTo>
                      <a:cubicBezTo>
                        <a:pt x="1196293" y="1189569"/>
                        <a:pt x="1203014" y="1189569"/>
                        <a:pt x="1203014" y="1182849"/>
                      </a:cubicBezTo>
                      <a:cubicBezTo>
                        <a:pt x="1203014" y="1176128"/>
                        <a:pt x="1209734" y="1176128"/>
                        <a:pt x="1209734" y="1169407"/>
                      </a:cubicBezTo>
                      <a:lnTo>
                        <a:pt x="1209734" y="1095479"/>
                      </a:lnTo>
                      <a:cubicBezTo>
                        <a:pt x="1209734" y="1088758"/>
                        <a:pt x="1203014" y="1075317"/>
                        <a:pt x="1196293" y="1075317"/>
                      </a:cubicBezTo>
                      <a:cubicBezTo>
                        <a:pt x="1155969" y="1061875"/>
                        <a:pt x="1122365" y="1014830"/>
                        <a:pt x="1122365" y="967785"/>
                      </a:cubicBezTo>
                      <a:cubicBezTo>
                        <a:pt x="1122365" y="940902"/>
                        <a:pt x="1135806" y="907299"/>
                        <a:pt x="1155969" y="887136"/>
                      </a:cubicBezTo>
                      <a:cubicBezTo>
                        <a:pt x="1176131" y="866974"/>
                        <a:pt x="1203014" y="853533"/>
                        <a:pt x="1236617" y="853533"/>
                      </a:cubicBezTo>
                      <a:lnTo>
                        <a:pt x="1236617" y="853533"/>
                      </a:lnTo>
                      <a:cubicBezTo>
                        <a:pt x="1263500" y="853533"/>
                        <a:pt x="1297104" y="866974"/>
                        <a:pt x="1317266" y="887136"/>
                      </a:cubicBezTo>
                      <a:cubicBezTo>
                        <a:pt x="1337429" y="907299"/>
                        <a:pt x="1350870" y="934182"/>
                        <a:pt x="1350870" y="967785"/>
                      </a:cubicBezTo>
                      <a:cubicBezTo>
                        <a:pt x="1350870" y="1008110"/>
                        <a:pt x="1323987" y="1048434"/>
                        <a:pt x="1283663" y="1068596"/>
                      </a:cubicBezTo>
                      <a:cubicBezTo>
                        <a:pt x="1276942" y="1075317"/>
                        <a:pt x="1270221" y="1082038"/>
                        <a:pt x="1270221" y="1088758"/>
                      </a:cubicBezTo>
                      <a:lnTo>
                        <a:pt x="1270221" y="1162686"/>
                      </a:lnTo>
                      <a:cubicBezTo>
                        <a:pt x="1270221" y="1169407"/>
                        <a:pt x="1270221" y="1176128"/>
                        <a:pt x="1276942" y="1176128"/>
                      </a:cubicBezTo>
                      <a:cubicBezTo>
                        <a:pt x="1283663" y="1182849"/>
                        <a:pt x="1283663" y="1182849"/>
                        <a:pt x="1290383" y="1182849"/>
                      </a:cubicBezTo>
                      <a:lnTo>
                        <a:pt x="1290383" y="1182849"/>
                      </a:lnTo>
                      <a:lnTo>
                        <a:pt x="1633141" y="1182849"/>
                      </a:lnTo>
                      <a:cubicBezTo>
                        <a:pt x="1646583" y="1182849"/>
                        <a:pt x="1653304" y="1176128"/>
                        <a:pt x="1653304" y="1162686"/>
                      </a:cubicBezTo>
                      <a:lnTo>
                        <a:pt x="1653304" y="833371"/>
                      </a:lnTo>
                      <a:lnTo>
                        <a:pt x="1693628" y="833371"/>
                      </a:lnTo>
                      <a:cubicBezTo>
                        <a:pt x="1720511" y="880416"/>
                        <a:pt x="1774277" y="914019"/>
                        <a:pt x="1828043" y="914019"/>
                      </a:cubicBezTo>
                      <a:lnTo>
                        <a:pt x="1828043" y="914019"/>
                      </a:lnTo>
                      <a:cubicBezTo>
                        <a:pt x="1868368" y="914019"/>
                        <a:pt x="1908692" y="900578"/>
                        <a:pt x="1935575" y="866974"/>
                      </a:cubicBezTo>
                      <a:cubicBezTo>
                        <a:pt x="1962458" y="840091"/>
                        <a:pt x="1982620" y="799767"/>
                        <a:pt x="1982620" y="759443"/>
                      </a:cubicBezTo>
                      <a:cubicBezTo>
                        <a:pt x="1989341" y="719118"/>
                        <a:pt x="1975900" y="678794"/>
                        <a:pt x="1949017" y="645190"/>
                      </a:cubicBezTo>
                      <a:close/>
                      <a:moveTo>
                        <a:pt x="483894" y="1142524"/>
                      </a:moveTo>
                      <a:cubicBezTo>
                        <a:pt x="470452" y="1142524"/>
                        <a:pt x="463732" y="1149245"/>
                        <a:pt x="463732" y="1162686"/>
                      </a:cubicBezTo>
                      <a:lnTo>
                        <a:pt x="463732" y="1162686"/>
                      </a:lnTo>
                      <a:lnTo>
                        <a:pt x="463732" y="1162686"/>
                      </a:lnTo>
                      <a:lnTo>
                        <a:pt x="463732" y="1236614"/>
                      </a:lnTo>
                      <a:lnTo>
                        <a:pt x="463732" y="1236614"/>
                      </a:lnTo>
                      <a:cubicBezTo>
                        <a:pt x="463732" y="1250056"/>
                        <a:pt x="463732" y="1256777"/>
                        <a:pt x="477173" y="1263497"/>
                      </a:cubicBezTo>
                      <a:cubicBezTo>
                        <a:pt x="517497" y="1283660"/>
                        <a:pt x="544381" y="1323984"/>
                        <a:pt x="544381" y="1364308"/>
                      </a:cubicBezTo>
                      <a:cubicBezTo>
                        <a:pt x="544381" y="1391191"/>
                        <a:pt x="530939" y="1424795"/>
                        <a:pt x="510777" y="1444957"/>
                      </a:cubicBezTo>
                      <a:cubicBezTo>
                        <a:pt x="483894" y="1465119"/>
                        <a:pt x="457011" y="1478561"/>
                        <a:pt x="423407" y="1478561"/>
                      </a:cubicBezTo>
                      <a:lnTo>
                        <a:pt x="423407" y="1478561"/>
                      </a:lnTo>
                      <a:cubicBezTo>
                        <a:pt x="396524" y="1478561"/>
                        <a:pt x="362920" y="1465119"/>
                        <a:pt x="342758" y="1444957"/>
                      </a:cubicBezTo>
                      <a:cubicBezTo>
                        <a:pt x="322596" y="1424795"/>
                        <a:pt x="309154" y="1397912"/>
                        <a:pt x="309154" y="1364308"/>
                      </a:cubicBezTo>
                      <a:cubicBezTo>
                        <a:pt x="309154" y="1317263"/>
                        <a:pt x="336037" y="1276939"/>
                        <a:pt x="383083" y="1256777"/>
                      </a:cubicBezTo>
                      <a:cubicBezTo>
                        <a:pt x="389803" y="1256777"/>
                        <a:pt x="396524" y="1243335"/>
                        <a:pt x="396524" y="1236614"/>
                      </a:cubicBezTo>
                      <a:lnTo>
                        <a:pt x="396524" y="1162686"/>
                      </a:lnTo>
                      <a:lnTo>
                        <a:pt x="396524" y="1162686"/>
                      </a:lnTo>
                      <a:lnTo>
                        <a:pt x="396524" y="1162686"/>
                      </a:lnTo>
                      <a:cubicBezTo>
                        <a:pt x="403245" y="1149245"/>
                        <a:pt x="389803" y="1142524"/>
                        <a:pt x="376362" y="1142524"/>
                      </a:cubicBezTo>
                      <a:lnTo>
                        <a:pt x="376362" y="1142524"/>
                      </a:lnTo>
                      <a:lnTo>
                        <a:pt x="40324" y="1142524"/>
                      </a:lnTo>
                      <a:lnTo>
                        <a:pt x="40324" y="833371"/>
                      </a:lnTo>
                      <a:lnTo>
                        <a:pt x="80649" y="833371"/>
                      </a:lnTo>
                      <a:cubicBezTo>
                        <a:pt x="107532" y="887136"/>
                        <a:pt x="161298" y="920740"/>
                        <a:pt x="221785" y="920740"/>
                      </a:cubicBezTo>
                      <a:lnTo>
                        <a:pt x="221785" y="920740"/>
                      </a:lnTo>
                      <a:cubicBezTo>
                        <a:pt x="309154" y="920740"/>
                        <a:pt x="376362" y="853533"/>
                        <a:pt x="376362" y="766163"/>
                      </a:cubicBezTo>
                      <a:cubicBezTo>
                        <a:pt x="383083" y="672073"/>
                        <a:pt x="309154" y="604866"/>
                        <a:pt x="221785" y="604866"/>
                      </a:cubicBezTo>
                      <a:lnTo>
                        <a:pt x="221785" y="604866"/>
                      </a:lnTo>
                      <a:cubicBezTo>
                        <a:pt x="168019" y="604866"/>
                        <a:pt x="114253" y="631749"/>
                        <a:pt x="87370" y="678794"/>
                      </a:cubicBezTo>
                      <a:lnTo>
                        <a:pt x="40324" y="678794"/>
                      </a:lnTo>
                      <a:lnTo>
                        <a:pt x="40324" y="376361"/>
                      </a:lnTo>
                      <a:lnTo>
                        <a:pt x="369641" y="376361"/>
                      </a:lnTo>
                      <a:cubicBezTo>
                        <a:pt x="376362" y="376361"/>
                        <a:pt x="383083" y="376361"/>
                        <a:pt x="383083" y="369640"/>
                      </a:cubicBezTo>
                      <a:cubicBezTo>
                        <a:pt x="383083" y="362919"/>
                        <a:pt x="389803" y="362919"/>
                        <a:pt x="389803" y="356199"/>
                      </a:cubicBezTo>
                      <a:lnTo>
                        <a:pt x="389803" y="275550"/>
                      </a:lnTo>
                      <a:cubicBezTo>
                        <a:pt x="389803" y="268829"/>
                        <a:pt x="383083" y="255388"/>
                        <a:pt x="376362" y="255388"/>
                      </a:cubicBezTo>
                      <a:cubicBezTo>
                        <a:pt x="336037" y="235226"/>
                        <a:pt x="309154" y="194901"/>
                        <a:pt x="309154" y="154577"/>
                      </a:cubicBezTo>
                      <a:cubicBezTo>
                        <a:pt x="309154" y="94090"/>
                        <a:pt x="356200" y="40324"/>
                        <a:pt x="423407" y="40324"/>
                      </a:cubicBezTo>
                      <a:cubicBezTo>
                        <a:pt x="457011" y="40324"/>
                        <a:pt x="483894" y="53766"/>
                        <a:pt x="504056" y="73928"/>
                      </a:cubicBezTo>
                      <a:cubicBezTo>
                        <a:pt x="524218" y="100811"/>
                        <a:pt x="537660" y="127694"/>
                        <a:pt x="537660" y="154577"/>
                      </a:cubicBezTo>
                      <a:cubicBezTo>
                        <a:pt x="537660" y="201622"/>
                        <a:pt x="510777" y="241946"/>
                        <a:pt x="470452" y="262109"/>
                      </a:cubicBezTo>
                      <a:cubicBezTo>
                        <a:pt x="457011" y="262109"/>
                        <a:pt x="457011" y="268829"/>
                        <a:pt x="457011" y="282271"/>
                      </a:cubicBezTo>
                      <a:lnTo>
                        <a:pt x="457011" y="362919"/>
                      </a:lnTo>
                      <a:cubicBezTo>
                        <a:pt x="457011" y="376361"/>
                        <a:pt x="463732" y="383082"/>
                        <a:pt x="477173" y="383082"/>
                      </a:cubicBezTo>
                      <a:lnTo>
                        <a:pt x="477173" y="383082"/>
                      </a:lnTo>
                      <a:lnTo>
                        <a:pt x="806490" y="383082"/>
                      </a:lnTo>
                      <a:lnTo>
                        <a:pt x="806490" y="631749"/>
                      </a:lnTo>
                      <a:lnTo>
                        <a:pt x="806490" y="685515"/>
                      </a:lnTo>
                      <a:lnTo>
                        <a:pt x="766165" y="685515"/>
                      </a:lnTo>
                      <a:cubicBezTo>
                        <a:pt x="739282" y="631749"/>
                        <a:pt x="685516" y="604866"/>
                        <a:pt x="631750" y="604866"/>
                      </a:cubicBezTo>
                      <a:lnTo>
                        <a:pt x="631750" y="604866"/>
                      </a:lnTo>
                      <a:cubicBezTo>
                        <a:pt x="591426" y="604866"/>
                        <a:pt x="551101" y="618307"/>
                        <a:pt x="517497" y="651911"/>
                      </a:cubicBezTo>
                      <a:cubicBezTo>
                        <a:pt x="490615" y="678794"/>
                        <a:pt x="470452" y="719118"/>
                        <a:pt x="470452" y="759443"/>
                      </a:cubicBezTo>
                      <a:cubicBezTo>
                        <a:pt x="470452" y="799767"/>
                        <a:pt x="483894" y="840091"/>
                        <a:pt x="517497" y="866974"/>
                      </a:cubicBezTo>
                      <a:cubicBezTo>
                        <a:pt x="544381" y="893857"/>
                        <a:pt x="584705" y="914019"/>
                        <a:pt x="625029" y="914019"/>
                      </a:cubicBezTo>
                      <a:lnTo>
                        <a:pt x="625029" y="914019"/>
                      </a:lnTo>
                      <a:cubicBezTo>
                        <a:pt x="685516" y="914019"/>
                        <a:pt x="739282" y="880416"/>
                        <a:pt x="766165" y="826650"/>
                      </a:cubicBezTo>
                      <a:lnTo>
                        <a:pt x="799769" y="826650"/>
                      </a:lnTo>
                      <a:lnTo>
                        <a:pt x="799769" y="1135803"/>
                      </a:lnTo>
                      <a:lnTo>
                        <a:pt x="483894" y="1142524"/>
                      </a:lnTo>
                      <a:close/>
                      <a:moveTo>
                        <a:pt x="1915413" y="840091"/>
                      </a:moveTo>
                      <a:cubicBezTo>
                        <a:pt x="1895251" y="860254"/>
                        <a:pt x="1868368" y="873695"/>
                        <a:pt x="1834764" y="873695"/>
                      </a:cubicBezTo>
                      <a:lnTo>
                        <a:pt x="1834764" y="873695"/>
                      </a:lnTo>
                      <a:cubicBezTo>
                        <a:pt x="1787719" y="873695"/>
                        <a:pt x="1747394" y="846812"/>
                        <a:pt x="1733953" y="806488"/>
                      </a:cubicBezTo>
                      <a:cubicBezTo>
                        <a:pt x="1727232" y="799767"/>
                        <a:pt x="1720511" y="793046"/>
                        <a:pt x="1713790" y="793046"/>
                      </a:cubicBezTo>
                      <a:lnTo>
                        <a:pt x="1713790" y="793046"/>
                      </a:lnTo>
                      <a:lnTo>
                        <a:pt x="1633141" y="793046"/>
                      </a:lnTo>
                      <a:cubicBezTo>
                        <a:pt x="1619700" y="793046"/>
                        <a:pt x="1612979" y="799767"/>
                        <a:pt x="1612979" y="813208"/>
                      </a:cubicBezTo>
                      <a:lnTo>
                        <a:pt x="1612979" y="1142524"/>
                      </a:lnTo>
                      <a:lnTo>
                        <a:pt x="1310546" y="1142524"/>
                      </a:lnTo>
                      <a:lnTo>
                        <a:pt x="1310546" y="1102200"/>
                      </a:lnTo>
                      <a:cubicBezTo>
                        <a:pt x="1357591" y="1075317"/>
                        <a:pt x="1384474" y="1021551"/>
                        <a:pt x="1384474" y="967785"/>
                      </a:cubicBezTo>
                      <a:cubicBezTo>
                        <a:pt x="1384474" y="927461"/>
                        <a:pt x="1371032" y="887136"/>
                        <a:pt x="1337429" y="860254"/>
                      </a:cubicBezTo>
                      <a:cubicBezTo>
                        <a:pt x="1310546" y="833371"/>
                        <a:pt x="1270221" y="813208"/>
                        <a:pt x="1229897" y="813208"/>
                      </a:cubicBezTo>
                      <a:lnTo>
                        <a:pt x="1229897" y="813208"/>
                      </a:lnTo>
                      <a:cubicBezTo>
                        <a:pt x="1189572" y="813208"/>
                        <a:pt x="1149248" y="826650"/>
                        <a:pt x="1122365" y="860254"/>
                      </a:cubicBezTo>
                      <a:cubicBezTo>
                        <a:pt x="1095482" y="887136"/>
                        <a:pt x="1075320" y="927461"/>
                        <a:pt x="1075320" y="967785"/>
                      </a:cubicBezTo>
                      <a:cubicBezTo>
                        <a:pt x="1075320" y="1028272"/>
                        <a:pt x="1108923" y="1082038"/>
                        <a:pt x="1162689" y="1108921"/>
                      </a:cubicBezTo>
                      <a:lnTo>
                        <a:pt x="1162689" y="1142524"/>
                      </a:lnTo>
                      <a:lnTo>
                        <a:pt x="853535" y="1142524"/>
                      </a:lnTo>
                      <a:lnTo>
                        <a:pt x="853535" y="819929"/>
                      </a:lnTo>
                      <a:lnTo>
                        <a:pt x="853535" y="819929"/>
                      </a:lnTo>
                      <a:lnTo>
                        <a:pt x="853535" y="806488"/>
                      </a:lnTo>
                      <a:cubicBezTo>
                        <a:pt x="853535" y="799767"/>
                        <a:pt x="853535" y="793046"/>
                        <a:pt x="846814" y="793046"/>
                      </a:cubicBezTo>
                      <a:cubicBezTo>
                        <a:pt x="840093" y="793046"/>
                        <a:pt x="840093" y="786325"/>
                        <a:pt x="833373" y="786325"/>
                      </a:cubicBezTo>
                      <a:lnTo>
                        <a:pt x="833373" y="786325"/>
                      </a:lnTo>
                      <a:lnTo>
                        <a:pt x="759444" y="786325"/>
                      </a:lnTo>
                      <a:cubicBezTo>
                        <a:pt x="752724" y="786325"/>
                        <a:pt x="739282" y="793046"/>
                        <a:pt x="739282" y="799767"/>
                      </a:cubicBezTo>
                      <a:cubicBezTo>
                        <a:pt x="725841" y="840091"/>
                        <a:pt x="678795" y="873695"/>
                        <a:pt x="631750" y="873695"/>
                      </a:cubicBezTo>
                      <a:lnTo>
                        <a:pt x="631750" y="873695"/>
                      </a:lnTo>
                      <a:cubicBezTo>
                        <a:pt x="604867" y="873695"/>
                        <a:pt x="571263" y="860254"/>
                        <a:pt x="551101" y="840091"/>
                      </a:cubicBezTo>
                      <a:cubicBezTo>
                        <a:pt x="530939" y="819929"/>
                        <a:pt x="517497" y="793046"/>
                        <a:pt x="517497" y="759443"/>
                      </a:cubicBezTo>
                      <a:cubicBezTo>
                        <a:pt x="517497" y="732560"/>
                        <a:pt x="530939" y="698956"/>
                        <a:pt x="551101" y="678794"/>
                      </a:cubicBezTo>
                      <a:cubicBezTo>
                        <a:pt x="571263" y="658632"/>
                        <a:pt x="598146" y="645190"/>
                        <a:pt x="631750" y="645190"/>
                      </a:cubicBezTo>
                      <a:lnTo>
                        <a:pt x="631750" y="645190"/>
                      </a:lnTo>
                      <a:cubicBezTo>
                        <a:pt x="672075" y="645190"/>
                        <a:pt x="712399" y="672073"/>
                        <a:pt x="732561" y="712397"/>
                      </a:cubicBezTo>
                      <a:cubicBezTo>
                        <a:pt x="739282" y="719118"/>
                        <a:pt x="746003" y="725839"/>
                        <a:pt x="752724" y="725839"/>
                      </a:cubicBezTo>
                      <a:lnTo>
                        <a:pt x="752724" y="725839"/>
                      </a:lnTo>
                      <a:lnTo>
                        <a:pt x="826652" y="725839"/>
                      </a:lnTo>
                      <a:lnTo>
                        <a:pt x="826652" y="725839"/>
                      </a:lnTo>
                      <a:cubicBezTo>
                        <a:pt x="833373" y="725839"/>
                        <a:pt x="833373" y="725839"/>
                        <a:pt x="840093" y="719118"/>
                      </a:cubicBezTo>
                      <a:lnTo>
                        <a:pt x="840093" y="719118"/>
                      </a:lnTo>
                      <a:lnTo>
                        <a:pt x="840093" y="719118"/>
                      </a:lnTo>
                      <a:cubicBezTo>
                        <a:pt x="846814" y="712397"/>
                        <a:pt x="846814" y="712397"/>
                        <a:pt x="846814" y="705677"/>
                      </a:cubicBezTo>
                      <a:lnTo>
                        <a:pt x="846814" y="705677"/>
                      </a:lnTo>
                      <a:lnTo>
                        <a:pt x="846814" y="705677"/>
                      </a:lnTo>
                      <a:lnTo>
                        <a:pt x="846814" y="705677"/>
                      </a:lnTo>
                      <a:lnTo>
                        <a:pt x="846814" y="383082"/>
                      </a:lnTo>
                      <a:lnTo>
                        <a:pt x="1155969" y="383082"/>
                      </a:lnTo>
                      <a:lnTo>
                        <a:pt x="1155969" y="423406"/>
                      </a:lnTo>
                      <a:cubicBezTo>
                        <a:pt x="1108923" y="443568"/>
                        <a:pt x="1087606" y="515212"/>
                        <a:pt x="1084846" y="555440"/>
                      </a:cubicBezTo>
                      <a:cubicBezTo>
                        <a:pt x="1082086" y="595668"/>
                        <a:pt x="1113250" y="638613"/>
                        <a:pt x="1139409" y="664773"/>
                      </a:cubicBezTo>
                      <a:cubicBezTo>
                        <a:pt x="1165568" y="690933"/>
                        <a:pt x="1206022" y="711510"/>
                        <a:pt x="1241803" y="712400"/>
                      </a:cubicBezTo>
                      <a:cubicBezTo>
                        <a:pt x="1277584" y="713290"/>
                        <a:pt x="1328335" y="696672"/>
                        <a:pt x="1354098" y="670115"/>
                      </a:cubicBezTo>
                      <a:cubicBezTo>
                        <a:pt x="1379861" y="643558"/>
                        <a:pt x="1403639" y="594176"/>
                        <a:pt x="1396380" y="553058"/>
                      </a:cubicBezTo>
                      <a:cubicBezTo>
                        <a:pt x="1389121" y="511940"/>
                        <a:pt x="1357591" y="450289"/>
                        <a:pt x="1310546" y="423406"/>
                      </a:cubicBezTo>
                      <a:lnTo>
                        <a:pt x="1310546" y="376361"/>
                      </a:lnTo>
                      <a:lnTo>
                        <a:pt x="1612979" y="376361"/>
                      </a:lnTo>
                      <a:lnTo>
                        <a:pt x="1612979" y="705677"/>
                      </a:lnTo>
                      <a:cubicBezTo>
                        <a:pt x="1612979" y="719118"/>
                        <a:pt x="1619700" y="725839"/>
                        <a:pt x="1633141" y="725839"/>
                      </a:cubicBezTo>
                      <a:lnTo>
                        <a:pt x="1633141" y="725839"/>
                      </a:lnTo>
                      <a:lnTo>
                        <a:pt x="1713790" y="725839"/>
                      </a:lnTo>
                      <a:cubicBezTo>
                        <a:pt x="1720511" y="725839"/>
                        <a:pt x="1733953" y="719118"/>
                        <a:pt x="1733953" y="712397"/>
                      </a:cubicBezTo>
                      <a:cubicBezTo>
                        <a:pt x="1754115" y="672073"/>
                        <a:pt x="1794439" y="645190"/>
                        <a:pt x="1834764" y="645190"/>
                      </a:cubicBezTo>
                      <a:lnTo>
                        <a:pt x="1834764" y="645190"/>
                      </a:lnTo>
                      <a:cubicBezTo>
                        <a:pt x="1861647" y="645190"/>
                        <a:pt x="1895251" y="658632"/>
                        <a:pt x="1915413" y="678794"/>
                      </a:cubicBezTo>
                      <a:cubicBezTo>
                        <a:pt x="1935575" y="698956"/>
                        <a:pt x="1949017" y="725839"/>
                        <a:pt x="1949017" y="759443"/>
                      </a:cubicBezTo>
                      <a:cubicBezTo>
                        <a:pt x="1949017" y="786325"/>
                        <a:pt x="1935575" y="819929"/>
                        <a:pt x="1915413" y="840091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6699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Ubuntu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92" name="Oval 191">
                <a:extLst>
                  <a:ext uri="{FF2B5EF4-FFF2-40B4-BE49-F238E27FC236}">
                    <a16:creationId xmlns:a16="http://schemas.microsoft.com/office/drawing/2014/main" id="{D9504295-B0A9-1C2B-24DF-E594F4569E73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980559" y="4031605"/>
                <a:ext cx="288032" cy="288032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6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Ubuntu"/>
                  <a:ea typeface="+mn-ea"/>
                  <a:cs typeface="+mn-cs"/>
                </a:endParaRPr>
              </a:p>
            </p:txBody>
          </p:sp>
          <p:sp>
            <p:nvSpPr>
              <p:cNvPr id="193" name="Oval 192">
                <a:extLst>
                  <a:ext uri="{FF2B5EF4-FFF2-40B4-BE49-F238E27FC236}">
                    <a16:creationId xmlns:a16="http://schemas.microsoft.com/office/drawing/2014/main" id="{3FF3A1B9-C148-298C-3DF0-AB0BDD59367D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263861" y="1829156"/>
                <a:ext cx="184067" cy="184067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6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Ubuntu"/>
                  <a:ea typeface="+mn-ea"/>
                  <a:cs typeface="+mn-cs"/>
                </a:endParaRPr>
              </a:p>
            </p:txBody>
          </p:sp>
          <p:sp>
            <p:nvSpPr>
              <p:cNvPr id="194" name="Oval 193">
                <a:extLst>
                  <a:ext uri="{FF2B5EF4-FFF2-40B4-BE49-F238E27FC236}">
                    <a16:creationId xmlns:a16="http://schemas.microsoft.com/office/drawing/2014/main" id="{2AD66ECB-F7E7-FAD8-2F5B-37C1F802A56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855085" y="1117823"/>
                <a:ext cx="412107" cy="412107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6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Ubuntu"/>
                  <a:ea typeface="+mn-ea"/>
                  <a:cs typeface="+mn-cs"/>
                </a:endParaRPr>
              </a:p>
            </p:txBody>
          </p:sp>
          <p:sp>
            <p:nvSpPr>
              <p:cNvPr id="195" name="Oval 194">
                <a:extLst>
                  <a:ext uri="{FF2B5EF4-FFF2-40B4-BE49-F238E27FC236}">
                    <a16:creationId xmlns:a16="http://schemas.microsoft.com/office/drawing/2014/main" id="{C6BA6BFF-80D4-E5F0-14F2-3B54C3FC5065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381327" y="3090168"/>
                <a:ext cx="258168" cy="258168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6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Ubuntu"/>
                  <a:ea typeface="+mn-ea"/>
                  <a:cs typeface="+mn-cs"/>
                </a:endParaRPr>
              </a:p>
            </p:txBody>
          </p:sp>
          <p:sp>
            <p:nvSpPr>
              <p:cNvPr id="196" name="Oval 195">
                <a:extLst>
                  <a:ext uri="{FF2B5EF4-FFF2-40B4-BE49-F238E27FC236}">
                    <a16:creationId xmlns:a16="http://schemas.microsoft.com/office/drawing/2014/main" id="{7144FA30-A4C4-7092-0334-C5C81B55A4B5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291727" y="1645982"/>
                <a:ext cx="268651" cy="268651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6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Ubuntu"/>
                  <a:ea typeface="+mn-ea"/>
                  <a:cs typeface="+mn-cs"/>
                </a:endParaRPr>
              </a:p>
            </p:txBody>
          </p:sp>
          <p:sp>
            <p:nvSpPr>
              <p:cNvPr id="197" name="Oval 196">
                <a:extLst>
                  <a:ext uri="{FF2B5EF4-FFF2-40B4-BE49-F238E27FC236}">
                    <a16:creationId xmlns:a16="http://schemas.microsoft.com/office/drawing/2014/main" id="{CF26A895-76DE-12D4-9FCA-C9D816B5A156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6312024" y="1151285"/>
                <a:ext cx="226843" cy="226843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6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Ubuntu"/>
                  <a:ea typeface="+mn-ea"/>
                  <a:cs typeface="+mn-cs"/>
                </a:endParaRPr>
              </a:p>
            </p:txBody>
          </p:sp>
        </p:grpSp>
        <p:sp>
          <p:nvSpPr>
            <p:cNvPr id="311" name="TextBox 310">
              <a:extLst>
                <a:ext uri="{FF2B5EF4-FFF2-40B4-BE49-F238E27FC236}">
                  <a16:creationId xmlns:a16="http://schemas.microsoft.com/office/drawing/2014/main" id="{C20A3671-A870-A7B4-31E9-C47A0C435F16}"/>
                </a:ext>
              </a:extLst>
            </p:cNvPr>
            <p:cNvSpPr txBox="1"/>
            <p:nvPr/>
          </p:nvSpPr>
          <p:spPr>
            <a:xfrm>
              <a:off x="-52054" y="4930420"/>
              <a:ext cx="2548370" cy="987786"/>
            </a:xfrm>
            <a:prstGeom prst="rect">
              <a:avLst/>
            </a:prstGeom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GB" sz="1400" b="1">
                  <a:solidFill>
                    <a:schemeClr val="accent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mprehensive Data Discovery enables impactful Data-Driven Decision Making</a:t>
              </a: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31DE3DDA-32E5-F57D-BFCF-F5AB85516A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The data analysis across 3 main areas yielded significant findings and a comprehensive representation of key data within the OECD countries</a:t>
            </a:r>
          </a:p>
        </p:txBody>
      </p:sp>
      <p:pic>
        <p:nvPicPr>
          <p:cNvPr id="18" name="Graphic 17" descr="Dance outline">
            <a:extLst>
              <a:ext uri="{FF2B5EF4-FFF2-40B4-BE49-F238E27FC236}">
                <a16:creationId xmlns:a16="http://schemas.microsoft.com/office/drawing/2014/main" id="{422850B9-8A84-ECD2-8C23-93006499977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960680" y="4142477"/>
            <a:ext cx="625324" cy="625324"/>
          </a:xfrm>
          <a:prstGeom prst="rect">
            <a:avLst/>
          </a:prstGeom>
        </p:spPr>
      </p:pic>
      <p:pic>
        <p:nvPicPr>
          <p:cNvPr id="20" name="Graphic 19" descr="Remote learning language outline">
            <a:extLst>
              <a:ext uri="{FF2B5EF4-FFF2-40B4-BE49-F238E27FC236}">
                <a16:creationId xmlns:a16="http://schemas.microsoft.com/office/drawing/2014/main" id="{38961174-3C2F-2E4D-F2C0-9992DF6FF30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932355" y="3099752"/>
            <a:ext cx="653649" cy="653649"/>
          </a:xfrm>
          <a:prstGeom prst="rect">
            <a:avLst/>
          </a:prstGeom>
        </p:spPr>
      </p:pic>
      <p:pic>
        <p:nvPicPr>
          <p:cNvPr id="22" name="Graphic 21" descr="Factory outline">
            <a:extLst>
              <a:ext uri="{FF2B5EF4-FFF2-40B4-BE49-F238E27FC236}">
                <a16:creationId xmlns:a16="http://schemas.microsoft.com/office/drawing/2014/main" id="{2F86AF0E-F4F4-9854-B441-D6D7175596F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961507" y="2055872"/>
            <a:ext cx="572474" cy="572474"/>
          </a:xfrm>
          <a:prstGeom prst="rect">
            <a:avLst/>
          </a:prstGeom>
        </p:spPr>
      </p:pic>
      <p:pic>
        <p:nvPicPr>
          <p:cNvPr id="24" name="Graphic 23" descr="Venn diagram outline">
            <a:extLst>
              <a:ext uri="{FF2B5EF4-FFF2-40B4-BE49-F238E27FC236}">
                <a16:creationId xmlns:a16="http://schemas.microsoft.com/office/drawing/2014/main" id="{98C9E88B-6D96-68C9-CDD9-0CA836442901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934954" y="5137757"/>
            <a:ext cx="615996" cy="615996"/>
          </a:xfrm>
          <a:prstGeom prst="rect">
            <a:avLst/>
          </a:prstGeom>
        </p:spPr>
      </p:pic>
      <p:sp>
        <p:nvSpPr>
          <p:cNvPr id="2" name="Text Placeholder 5">
            <a:extLst>
              <a:ext uri="{FF2B5EF4-FFF2-40B4-BE49-F238E27FC236}">
                <a16:creationId xmlns:a16="http://schemas.microsoft.com/office/drawing/2014/main" id="{7FF5D2F6-606B-72C4-B8E5-52BB763AF13C}"/>
              </a:ext>
            </a:extLst>
          </p:cNvPr>
          <p:cNvSpPr txBox="1">
            <a:spLocks/>
          </p:cNvSpPr>
          <p:nvPr/>
        </p:nvSpPr>
        <p:spPr>
          <a:xfrm>
            <a:off x="426720" y="1306286"/>
            <a:ext cx="11382375" cy="506559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2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Conclusion</a:t>
            </a:r>
          </a:p>
        </p:txBody>
      </p:sp>
    </p:spTree>
    <p:extLst>
      <p:ext uri="{BB962C8B-B14F-4D97-AF65-F5344CB8AC3E}">
        <p14:creationId xmlns:p14="http://schemas.microsoft.com/office/powerpoint/2010/main" val="228049422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0EA6B0E-0645-193E-FA74-0A204BBCAE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3213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01" imgH="502" progId="TCLayout.ActiveDocument.1">
                  <p:embed/>
                </p:oleObj>
              </mc:Choice>
              <mc:Fallback>
                <p:oleObj name="think-cell Slide" r:id="rId3" imgW="501" imgH="502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0EA6B0E-0645-193E-FA74-0A204BBCAE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FBFED8D-6F52-76E1-F389-73CF04E112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5FC67E-E9DB-4ACE-B3DB-64B7A5397B4F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B5DC49D-055B-FEC5-D101-3C15B6370F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Thank you!</a:t>
            </a:r>
            <a:endParaRPr lang="en-GB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541113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20006D-B575-BC89-EDC2-BE603634F2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D66BDAD-707E-ACCB-696F-88E42D770F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01" imgH="502" progId="TCLayout.ActiveDocument.1">
                  <p:embed/>
                </p:oleObj>
              </mc:Choice>
              <mc:Fallback>
                <p:oleObj name="think-cell Slide" r:id="rId3" imgW="501" imgH="502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D66BDAD-707E-ACCB-696F-88E42D770F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BEB1B7B-98D5-45A0-B01F-317087D9B3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5FC67E-E9DB-4ACE-B3DB-64B7A5397B4F}" type="slidenum">
              <a:rPr lang="de-DE" smtClean="0"/>
              <a:pPr/>
              <a:t>8</a:t>
            </a:fld>
            <a:endParaRPr lang="de-DE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F17AAF1-A689-0A59-3426-18590817C4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Appendix</a:t>
            </a:r>
            <a:endParaRPr lang="en-GB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896676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7312DA8-88E5-6911-1D4B-B80B89B93C6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9382" y="2422936"/>
            <a:ext cx="5637023" cy="3157200"/>
          </a:xfrm>
          <a:prstGeom prst="rect">
            <a:avLst/>
          </a:prstGeom>
        </p:spPr>
      </p:pic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78CFE8B2-31EB-D409-CC1E-14D103DBD7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307201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8CFE8B2-31EB-D409-CC1E-14D103DBD7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8BE9390-D0C8-E8CA-F07E-977B0B13B8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GB"/>
              <a:t>The dashboard provides an interactive overview of key OECD economic indicators via targeted visualization for in-depth analysis of various metric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5F5A60-61A2-6772-F72D-5374550B4C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5FC67E-E9DB-4ACE-B3DB-64B7A5397B4F}" type="slidenum">
              <a:rPr lang="de-DE" smtClean="0"/>
              <a:pPr/>
              <a:t>9</a:t>
            </a:fld>
            <a:endParaRPr lang="de-DE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F73AC2C-FFCF-54C5-7CC8-1A13D70893A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err="1"/>
              <a:t>PowerBI</a:t>
            </a:r>
            <a:r>
              <a:rPr lang="en-GB"/>
              <a:t> - Overview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5F48B10-5AF2-0FBF-50F0-C77E82DD370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/>
              <a:t>Appendix</a:t>
            </a:r>
          </a:p>
        </p:txBody>
      </p:sp>
      <p:pic>
        <p:nvPicPr>
          <p:cNvPr id="9" name="Content Placeholder 11" descr="A screenshot of a computer screen&#10;&#10;Description automatically generated">
            <a:extLst>
              <a:ext uri="{FF2B5EF4-FFF2-40B4-BE49-F238E27FC236}">
                <a16:creationId xmlns:a16="http://schemas.microsoft.com/office/drawing/2014/main" id="{9A0FD665-2292-8060-89ED-17B2D1B3844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382" y="2422936"/>
            <a:ext cx="5610923" cy="3156714"/>
          </a:xfrm>
          <a:prstGeom prst="rect">
            <a:avLst/>
          </a:prstGeom>
        </p:spPr>
      </p:pic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3FA0A8A-8092-0D06-0F3A-EDAC2A2B729D}"/>
              </a:ext>
            </a:extLst>
          </p:cNvPr>
          <p:cNvSpPr txBox="1">
            <a:spLocks/>
          </p:cNvSpPr>
          <p:nvPr/>
        </p:nvSpPr>
        <p:spPr>
          <a:xfrm>
            <a:off x="426720" y="1938103"/>
            <a:ext cx="4752523" cy="30312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 sz="1200" b="1">
                <a:solidFill>
                  <a:schemeClr val="accent1"/>
                </a:solidFill>
              </a:rPr>
              <a:t>Dashboard View 1</a:t>
            </a:r>
            <a:endParaRPr lang="en-GB" sz="1200" baseline="30000">
              <a:solidFill>
                <a:schemeClr val="accent1"/>
              </a:solidFill>
            </a:endParaRP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endParaRPr lang="en-GB" sz="1200">
              <a:solidFill>
                <a:srgbClr val="0D0D0D"/>
              </a:solidFill>
            </a:endParaRP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endParaRPr lang="en-GB" sz="1200">
              <a:solidFill>
                <a:srgbClr val="0D0D0D"/>
              </a:solidFill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pPr>
            <a:endParaRPr lang="en-GB" sz="1200">
              <a:solidFill>
                <a:srgbClr val="0D0D0D"/>
              </a:solidFill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pPr>
            <a:endParaRPr lang="en-GB" sz="1200">
              <a:solidFill>
                <a:srgbClr val="0D0D0D"/>
              </a:solidFill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en-GB" sz="120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CA6FEFB-0DE0-D6D4-31B7-FF9B047F65EB}"/>
              </a:ext>
            </a:extLst>
          </p:cNvPr>
          <p:cNvSpPr txBox="1"/>
          <p:nvPr/>
        </p:nvSpPr>
        <p:spPr>
          <a:xfrm>
            <a:off x="6514393" y="1559565"/>
            <a:ext cx="4434960" cy="1295327"/>
          </a:xfrm>
          <a:prstGeom prst="rect">
            <a:avLst/>
          </a:prstGeom>
          <a:noFill/>
        </p:spPr>
        <p:txBody>
          <a:bodyPr wrap="square" lIns="108000" tIns="108000" rIns="108000" bIns="108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300"/>
              </a:spcBef>
              <a:defRPr/>
            </a:pPr>
            <a:r>
              <a:rPr lang="en-GB" sz="1400" b="1" i="0" u="none" strike="noStrike">
                <a:solidFill>
                  <a:schemeClr val="accent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Map Visualization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OECD countries with bubble sizes representing specific metrics like GDP or population are displayed in a map format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88EFBCE-FB26-209E-2F93-DC26D38D702A}"/>
              </a:ext>
            </a:extLst>
          </p:cNvPr>
          <p:cNvSpPr txBox="1"/>
          <p:nvPr/>
        </p:nvSpPr>
        <p:spPr>
          <a:xfrm>
            <a:off x="6514393" y="2493275"/>
            <a:ext cx="4434960" cy="1295327"/>
          </a:xfrm>
          <a:prstGeom prst="rect">
            <a:avLst/>
          </a:prstGeom>
          <a:noFill/>
        </p:spPr>
        <p:txBody>
          <a:bodyPr wrap="square" lIns="108000" tIns="108000" rIns="108000" bIns="108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300"/>
              </a:spcBef>
              <a:defRPr/>
            </a:pPr>
            <a:r>
              <a:rPr lang="en-GB" sz="1400" b="1" i="0" u="none" strike="noStrike">
                <a:solidFill>
                  <a:schemeClr val="accent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Key Indicators Overview</a:t>
            </a:r>
          </a:p>
          <a:p>
            <a:pPr>
              <a:spcBef>
                <a:spcPts val="300"/>
              </a:spcBef>
              <a:defRPr/>
            </a:pPr>
            <a:r>
              <a:rPr lang="en-US" sz="140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tal OECD GDP in trillions; Average OECD GDP per capita in thousands; Total OECD Population in billions are shown as the key metrics.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7C07C61-E451-186A-B0B7-7D2ACA5BCF68}"/>
              </a:ext>
            </a:extLst>
          </p:cNvPr>
          <p:cNvSpPr txBox="1"/>
          <p:nvPr/>
        </p:nvSpPr>
        <p:spPr>
          <a:xfrm>
            <a:off x="6514393" y="3499338"/>
            <a:ext cx="4434960" cy="1510771"/>
          </a:xfrm>
          <a:prstGeom prst="rect">
            <a:avLst/>
          </a:prstGeom>
          <a:noFill/>
        </p:spPr>
        <p:txBody>
          <a:bodyPr wrap="square" lIns="108000" tIns="108000" rIns="108000" bIns="108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300"/>
              </a:spcBef>
              <a:defRPr/>
            </a:pPr>
            <a:r>
              <a:rPr lang="en-GB" sz="1400" b="1" i="0" u="none" strike="noStrike">
                <a:solidFill>
                  <a:schemeClr val="accent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Sidebar Navigation</a:t>
            </a:r>
          </a:p>
          <a:p>
            <a:pPr>
              <a:spcBef>
                <a:spcPts val="300"/>
              </a:spcBef>
              <a:defRPr/>
            </a:pPr>
            <a:r>
              <a:rPr lang="en-US" sz="140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s for navigating different data dimensions such as Overview, Economics, Employment &amp; Education, Quality of Life, Individual Outcomes, and Measures of Well-being are enabled for easy handling.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58E0C67-61EE-0B06-4C10-4D3E7D74553B}"/>
              </a:ext>
            </a:extLst>
          </p:cNvPr>
          <p:cNvSpPr txBox="1"/>
          <p:nvPr/>
        </p:nvSpPr>
        <p:spPr>
          <a:xfrm>
            <a:off x="6514393" y="4697443"/>
            <a:ext cx="4434960" cy="1510771"/>
          </a:xfrm>
          <a:prstGeom prst="rect">
            <a:avLst/>
          </a:prstGeom>
          <a:noFill/>
        </p:spPr>
        <p:txBody>
          <a:bodyPr wrap="square" lIns="108000" tIns="108000" rIns="108000" bIns="108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300"/>
              </a:spcBef>
              <a:defRPr/>
            </a:pPr>
            <a:r>
              <a:rPr lang="en-GB" sz="1400" b="1" i="0" u="none" strike="noStrike">
                <a:solidFill>
                  <a:schemeClr val="accent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Interactivity and Data Exploration</a:t>
            </a:r>
          </a:p>
          <a:p>
            <a:pPr>
              <a:spcBef>
                <a:spcPts val="300"/>
              </a:spcBef>
              <a:defRPr/>
            </a:pPr>
            <a:r>
              <a:rPr lang="en-US" sz="140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tions for clicking on map elements for more data, tab selection for varied views, and potential filtering, sorting, and detailed data pop-ups on hover are embedded.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62289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27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5&quot;&gt;&lt;elem m_fUsage=&quot;1.65610000000000012754E+00&quot;&gt;&lt;m_msothmcolidx val=&quot;0&quot;/&gt;&lt;m_rgb r=&quot;FB&quot; g=&quot;BB&quot; b=&quot;74&quot;/&gt;&lt;/elem&gt;&lt;elem m_fUsage=&quot;9.00000000000000022204E-01&quot;&gt;&lt;m_msothmcolidx val=&quot;0&quot;/&gt;&lt;m_rgb r=&quot;F2&quot; g=&quot;F2&quot; b=&quot;F2&quot;/&gt;&lt;/elem&gt;&lt;elem m_fUsage=&quot;8.10000000000000053291E-01&quot;&gt;&lt;m_msothmcolidx val=&quot;0&quot;/&gt;&lt;m_rgb r=&quot;FE&quot; g=&quot;E8&quot; b=&quot;D1&quot;/&gt;&lt;/elem&gt;&lt;elem m_fUsage=&quot;7.29000000000000092371E-01&quot;&gt;&lt;m_msothmcolidx val=&quot;0&quot;/&gt;&lt;m_rgb r=&quot;FC&quot; g=&quot;D1&quot; b=&quot;A3&quot;/&gt;&lt;/elem&gt;&lt;elem m_fUsage=&quot;5.90490000000000181402E-01&quot;&gt;&lt;m_msothmcolidx val=&quot;0&quot;/&gt;&lt;m_rgb r=&quot;E2&quot; g=&quot;C3&quot; b=&quot;FF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8">
      <a:dk1>
        <a:sysClr val="windowText" lastClr="000000"/>
      </a:dk1>
      <a:lt1>
        <a:sysClr val="window" lastClr="FFFFFF"/>
      </a:lt1>
      <a:dk2>
        <a:srgbClr val="3A3838"/>
      </a:dk2>
      <a:lt2>
        <a:srgbClr val="E7E6E6"/>
      </a:lt2>
      <a:accent1>
        <a:srgbClr val="083979"/>
      </a:accent1>
      <a:accent2>
        <a:srgbClr val="084F99"/>
      </a:accent2>
      <a:accent3>
        <a:srgbClr val="77B5D9"/>
      </a:accent3>
      <a:accent4>
        <a:srgbClr val="C9DDF0"/>
      </a:accent4>
      <a:accent5>
        <a:srgbClr val="6EBB39"/>
      </a:accent5>
      <a:accent6>
        <a:srgbClr val="A5D981"/>
      </a:accent6>
      <a:hlink>
        <a:srgbClr val="B1AEAE"/>
      </a:hlink>
      <a:folHlink>
        <a:srgbClr val="8A8686"/>
      </a:folHlink>
    </a:clrScheme>
    <a:fontScheme name="Custom 1">
      <a:majorFont>
        <a:latin typeface="Times New Roman"/>
        <a:ea typeface=""/>
        <a:cs typeface=""/>
      </a:majorFont>
      <a:minorFont>
        <a:latin typeface="Times New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anchor="ctr"/>
      <a:lstStyle>
        <a:defPPr algn="l"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78a3911e-084d-4441-95c6-84219ac3dc47">
      <Terms xmlns="http://schemas.microsoft.com/office/infopath/2007/PartnerControls"/>
    </lcf76f155ced4ddcb4097134ff3c332f>
    <TaxCatchAll xmlns="9fe362d6-ae50-4ee6-ae7e-7e9aca4ffa8b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3D1E0772DCE5B74BB5E0D99BBE55DAD4" ma:contentTypeVersion="11" ma:contentTypeDescription="Ein neues Dokument erstellen." ma:contentTypeScope="" ma:versionID="0821a41dbf804085aecde6b7340dfc2b">
  <xsd:schema xmlns:xsd="http://www.w3.org/2001/XMLSchema" xmlns:xs="http://www.w3.org/2001/XMLSchema" xmlns:p="http://schemas.microsoft.com/office/2006/metadata/properties" xmlns:ns2="78a3911e-084d-4441-95c6-84219ac3dc47" xmlns:ns3="9fe362d6-ae50-4ee6-ae7e-7e9aca4ffa8b" targetNamespace="http://schemas.microsoft.com/office/2006/metadata/properties" ma:root="true" ma:fieldsID="6c3a1dff609dfe34c589f1115cf79480" ns2:_="" ns3:_="">
    <xsd:import namespace="78a3911e-084d-4441-95c6-84219ac3dc47"/>
    <xsd:import namespace="9fe362d6-ae50-4ee6-ae7e-7e9aca4ffa8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SearchPropertie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8a3911e-084d-4441-95c6-84219ac3dc4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Bildmarkierungen" ma:readOnly="false" ma:fieldId="{5cf76f15-5ced-4ddc-b409-7134ff3c332f}" ma:taxonomyMulti="true" ma:sspId="c6159e26-e387-4955-8c38-302e604e49c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fe362d6-ae50-4ee6-ae7e-7e9aca4ffa8b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4343ae82-2ef3-464b-935a-c046918ba7ff}" ma:internalName="TaxCatchAll" ma:showField="CatchAllData" ma:web="9fe362d6-ae50-4ee6-ae7e-7e9aca4ffa8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418E9B6-F841-4000-B19D-2EFC72705298}">
  <ds:schemaRefs>
    <ds:schemaRef ds:uri="78a3911e-084d-4441-95c6-84219ac3dc47"/>
    <ds:schemaRef ds:uri="9fe362d6-ae50-4ee6-ae7e-7e9aca4ffa8b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8D953890-3A59-4E58-8A35-EFA74045F457}">
  <ds:schemaRefs>
    <ds:schemaRef ds:uri="78a3911e-084d-4441-95c6-84219ac3dc47"/>
    <ds:schemaRef ds:uri="9fe362d6-ae50-4ee6-ae7e-7e9aca4ffa8b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8099481A-4F34-4BAE-AD75-7DC30678CDA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2013 - 2022 Theme</Template>
  <Application>Microsoft Office PowerPoint</Application>
  <PresentationFormat>Widescreen</PresentationFormat>
  <Slides>13</Slides>
  <Notes>6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4" baseType="lpstr">
      <vt:lpstr>Office Theme</vt:lpstr>
      <vt:lpstr>OECD Well-Being Data</vt:lpstr>
      <vt:lpstr>Fostering a deep understanding of your dataset and extracting meaningful conclusions using Power BI's dynamic reporting features</vt:lpstr>
      <vt:lpstr>The tailored and structured data is pivotal for conducting in-depth analytical research that leads to insightful discoveries</vt:lpstr>
      <vt:lpstr>A broad-scale dataset analysis dissects 34 critical economic and well-being indicators, offering a comparative view across OECD countries</vt:lpstr>
      <vt:lpstr>By analysing and visualising the data set, a series of insightful discoveries have emerged</vt:lpstr>
      <vt:lpstr>The data analysis across 3 main areas yielded significant findings and a comprehensive representation of key data within the OECD countries</vt:lpstr>
      <vt:lpstr>Thank you!</vt:lpstr>
      <vt:lpstr>Appendix</vt:lpstr>
      <vt:lpstr>The dashboard provides an interactive overview of key OECD economic indicators via targeted visualization for in-depth analysis of various metrics</vt:lpstr>
      <vt:lpstr>The Power BI dashboard presents key aggregate economic figures alongside detailed bar charts comparing various economic indicators across OECD countries</vt:lpstr>
      <vt:lpstr>The slide juxtaposes employment earnings against education levels in OECD countries, using bar charts and statistical summaries to highlight trends</vt:lpstr>
      <vt:lpstr>Focusing on OECD countries, this slide offers a snapshot of public safety and health metrics, with interactive charts that highlight extremes in the data</vt:lpstr>
      <vt:lpstr>A detailed cross-analysis of life quality indicators reveals their positive or negative correlations with personal earnings and life expectancy in OECD nation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Ziegler, Caroline</dc:creator>
  <cp:revision>1</cp:revision>
  <cp:lastPrinted>2024-02-06T21:17:16Z</cp:lastPrinted>
  <dcterms:created xsi:type="dcterms:W3CDTF">2023-12-28T11:39:12Z</dcterms:created>
  <dcterms:modified xsi:type="dcterms:W3CDTF">2024-03-20T17:55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D1E0772DCE5B74BB5E0D99BBE55DAD4</vt:lpwstr>
  </property>
  <property fmtid="{D5CDD505-2E9C-101B-9397-08002B2CF9AE}" pid="3" name="MediaServiceImageTags">
    <vt:lpwstr/>
  </property>
</Properties>
</file>